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0.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1.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2.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3.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4.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5.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8.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8.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9.xml" ContentType="application/vnd.openxmlformats-officedocument.presentationml.notesSlide+xml"/>
  <Override PartName="/ppt/tags/tag1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19.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6.xml" ContentType="application/vnd.openxmlformats-officedocument.presentationml.notesSlide+xml"/>
  <Override PartName="/ppt/tags/tag246.xml" ContentType="application/vnd.openxmlformats-officedocument.presentationml.tags+xml"/>
  <Override PartName="/ppt/notesSlides/notesSlide27.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notesSlides/notesSlide38.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notesSlides/notesSlide39.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4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5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5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56.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57.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68.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6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1"/>
    <p:sldMasterId id="2147483686" r:id="rId2"/>
    <p:sldMasterId id="2147483698" r:id="rId3"/>
    <p:sldMasterId id="2147483708" r:id="rId4"/>
    <p:sldMasterId id="2147483734" r:id="rId5"/>
    <p:sldMasterId id="2147483746" r:id="rId6"/>
    <p:sldMasterId id="2147483759" r:id="rId7"/>
    <p:sldMasterId id="2147483820" r:id="rId8"/>
    <p:sldMasterId id="2147483831" r:id="rId9"/>
    <p:sldMasterId id="2147483843" r:id="rId10"/>
    <p:sldMasterId id="2147483863" r:id="rId11"/>
    <p:sldMasterId id="2147483872" r:id="rId12"/>
    <p:sldMasterId id="2147483882" r:id="rId13"/>
    <p:sldMasterId id="2147483894" r:id="rId14"/>
    <p:sldMasterId id="2147483907" r:id="rId15"/>
    <p:sldMasterId id="2147483920" r:id="rId16"/>
    <p:sldMasterId id="2147483933" r:id="rId17"/>
    <p:sldMasterId id="2147483946" r:id="rId18"/>
    <p:sldMasterId id="2147483954" r:id="rId19"/>
  </p:sldMasterIdLst>
  <p:notesMasterIdLst>
    <p:notesMasterId r:id="rId140"/>
  </p:notesMasterIdLst>
  <p:sldIdLst>
    <p:sldId id="280" r:id="rId20"/>
    <p:sldId id="282" r:id="rId21"/>
    <p:sldId id="286" r:id="rId22"/>
    <p:sldId id="284" r:id="rId23"/>
    <p:sldId id="285" r:id="rId24"/>
    <p:sldId id="295" r:id="rId25"/>
    <p:sldId id="401" r:id="rId26"/>
    <p:sldId id="403" r:id="rId27"/>
    <p:sldId id="404" r:id="rId28"/>
    <p:sldId id="405" r:id="rId29"/>
    <p:sldId id="406" r:id="rId30"/>
    <p:sldId id="407" r:id="rId31"/>
    <p:sldId id="456" r:id="rId32"/>
    <p:sldId id="459" r:id="rId33"/>
    <p:sldId id="460" r:id="rId34"/>
    <p:sldId id="458" r:id="rId35"/>
    <p:sldId id="461" r:id="rId36"/>
    <p:sldId id="416" r:id="rId37"/>
    <p:sldId id="418" r:id="rId38"/>
    <p:sldId id="419" r:id="rId39"/>
    <p:sldId id="420" r:id="rId40"/>
    <p:sldId id="421" r:id="rId41"/>
    <p:sldId id="422" r:id="rId42"/>
    <p:sldId id="423" r:id="rId43"/>
    <p:sldId id="424" r:id="rId44"/>
    <p:sldId id="425" r:id="rId45"/>
    <p:sldId id="428" r:id="rId46"/>
    <p:sldId id="429" r:id="rId47"/>
    <p:sldId id="430" r:id="rId48"/>
    <p:sldId id="431" r:id="rId49"/>
    <p:sldId id="432" r:id="rId50"/>
    <p:sldId id="433" r:id="rId51"/>
    <p:sldId id="434" r:id="rId52"/>
    <p:sldId id="435" r:id="rId53"/>
    <p:sldId id="442" r:id="rId54"/>
    <p:sldId id="443" r:id="rId55"/>
    <p:sldId id="444" r:id="rId56"/>
    <p:sldId id="445" r:id="rId57"/>
    <p:sldId id="446" r:id="rId58"/>
    <p:sldId id="447" r:id="rId59"/>
    <p:sldId id="449" r:id="rId60"/>
    <p:sldId id="450" r:id="rId61"/>
    <p:sldId id="451" r:id="rId62"/>
    <p:sldId id="452" r:id="rId63"/>
    <p:sldId id="462" r:id="rId64"/>
    <p:sldId id="463" r:id="rId65"/>
    <p:sldId id="464" r:id="rId66"/>
    <p:sldId id="465" r:id="rId67"/>
    <p:sldId id="466" r:id="rId68"/>
    <p:sldId id="467" r:id="rId69"/>
    <p:sldId id="468" r:id="rId70"/>
    <p:sldId id="469" r:id="rId71"/>
    <p:sldId id="470" r:id="rId72"/>
    <p:sldId id="471" r:id="rId73"/>
    <p:sldId id="494" r:id="rId74"/>
    <p:sldId id="483" r:id="rId75"/>
    <p:sldId id="485" r:id="rId76"/>
    <p:sldId id="486" r:id="rId77"/>
    <p:sldId id="487" r:id="rId78"/>
    <p:sldId id="493" r:id="rId79"/>
    <p:sldId id="488" r:id="rId80"/>
    <p:sldId id="489" r:id="rId81"/>
    <p:sldId id="495" r:id="rId82"/>
    <p:sldId id="518" r:id="rId83"/>
    <p:sldId id="588" r:id="rId84"/>
    <p:sldId id="519" r:id="rId85"/>
    <p:sldId id="520" r:id="rId86"/>
    <p:sldId id="521" r:id="rId87"/>
    <p:sldId id="547" r:id="rId88"/>
    <p:sldId id="524" r:id="rId89"/>
    <p:sldId id="525" r:id="rId90"/>
    <p:sldId id="526" r:id="rId91"/>
    <p:sldId id="589" r:id="rId92"/>
    <p:sldId id="528" r:id="rId93"/>
    <p:sldId id="529" r:id="rId94"/>
    <p:sldId id="584" r:id="rId95"/>
    <p:sldId id="585" r:id="rId96"/>
    <p:sldId id="586" r:id="rId97"/>
    <p:sldId id="548" r:id="rId98"/>
    <p:sldId id="534" r:id="rId99"/>
    <p:sldId id="535" r:id="rId100"/>
    <p:sldId id="536" r:id="rId101"/>
    <p:sldId id="537" r:id="rId102"/>
    <p:sldId id="538" r:id="rId103"/>
    <p:sldId id="539" r:id="rId104"/>
    <p:sldId id="540" r:id="rId105"/>
    <p:sldId id="541" r:id="rId106"/>
    <p:sldId id="542" r:id="rId107"/>
    <p:sldId id="549" r:id="rId108"/>
    <p:sldId id="550" r:id="rId109"/>
    <p:sldId id="551" r:id="rId110"/>
    <p:sldId id="552" r:id="rId111"/>
    <p:sldId id="553" r:id="rId112"/>
    <p:sldId id="554" r:id="rId113"/>
    <p:sldId id="555" r:id="rId114"/>
    <p:sldId id="556" r:id="rId115"/>
    <p:sldId id="557" r:id="rId116"/>
    <p:sldId id="558" r:id="rId117"/>
    <p:sldId id="559" r:id="rId118"/>
    <p:sldId id="560" r:id="rId119"/>
    <p:sldId id="561" r:id="rId120"/>
    <p:sldId id="562" r:id="rId121"/>
    <p:sldId id="563" r:id="rId122"/>
    <p:sldId id="564" r:id="rId123"/>
    <p:sldId id="565" r:id="rId124"/>
    <p:sldId id="566" r:id="rId125"/>
    <p:sldId id="567" r:id="rId126"/>
    <p:sldId id="568" r:id="rId127"/>
    <p:sldId id="570" r:id="rId128"/>
    <p:sldId id="573" r:id="rId129"/>
    <p:sldId id="574" r:id="rId130"/>
    <p:sldId id="575" r:id="rId131"/>
    <p:sldId id="587" r:id="rId132"/>
    <p:sldId id="578" r:id="rId133"/>
    <p:sldId id="579" r:id="rId134"/>
    <p:sldId id="580" r:id="rId135"/>
    <p:sldId id="581" r:id="rId136"/>
    <p:sldId id="583" r:id="rId137"/>
    <p:sldId id="302" r:id="rId138"/>
    <p:sldId id="304" r:id="rId139"/>
  </p:sldIdLst>
  <p:sldSz cx="12192000" cy="6858000"/>
  <p:notesSz cx="6858000" cy="9926638"/>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364" autoAdjust="0"/>
  </p:normalViewPr>
  <p:slideViewPr>
    <p:cSldViewPr snapToGrid="0">
      <p:cViewPr varScale="1">
        <p:scale>
          <a:sx n="73" d="100"/>
          <a:sy n="73" d="100"/>
        </p:scale>
        <p:origin x="594" y="7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63" Type="http://schemas.openxmlformats.org/officeDocument/2006/relationships/slide" Target="slides/slide44.xml"/><Relationship Id="rId84" Type="http://schemas.openxmlformats.org/officeDocument/2006/relationships/slide" Target="slides/slide65.xml"/><Relationship Id="rId138" Type="http://schemas.openxmlformats.org/officeDocument/2006/relationships/slide" Target="slides/slide119.xml"/><Relationship Id="rId107" Type="http://schemas.openxmlformats.org/officeDocument/2006/relationships/slide" Target="slides/slide88.xml"/><Relationship Id="rId11" Type="http://schemas.openxmlformats.org/officeDocument/2006/relationships/slideMaster" Target="slideMasters/slideMaster11.xml"/><Relationship Id="rId32" Type="http://schemas.openxmlformats.org/officeDocument/2006/relationships/slide" Target="slides/slide13.xml"/><Relationship Id="rId37" Type="http://schemas.openxmlformats.org/officeDocument/2006/relationships/slide" Target="slides/slide18.xml"/><Relationship Id="rId53" Type="http://schemas.openxmlformats.org/officeDocument/2006/relationships/slide" Target="slides/slide34.xml"/><Relationship Id="rId58" Type="http://schemas.openxmlformats.org/officeDocument/2006/relationships/slide" Target="slides/slide39.xml"/><Relationship Id="rId74" Type="http://schemas.openxmlformats.org/officeDocument/2006/relationships/slide" Target="slides/slide55.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28" Type="http://schemas.openxmlformats.org/officeDocument/2006/relationships/slide" Target="slides/slide109.xml"/><Relationship Id="rId144" Type="http://schemas.openxmlformats.org/officeDocument/2006/relationships/tableStyles" Target="tableStyles.xml"/><Relationship Id="rId5" Type="http://schemas.openxmlformats.org/officeDocument/2006/relationships/slideMaster" Target="slideMasters/slideMaster5.xml"/><Relationship Id="rId90" Type="http://schemas.openxmlformats.org/officeDocument/2006/relationships/slide" Target="slides/slide71.xml"/><Relationship Id="rId95" Type="http://schemas.openxmlformats.org/officeDocument/2006/relationships/slide" Target="slides/slide76.xml"/><Relationship Id="rId22" Type="http://schemas.openxmlformats.org/officeDocument/2006/relationships/slide" Target="slides/slide3.xml"/><Relationship Id="rId27" Type="http://schemas.openxmlformats.org/officeDocument/2006/relationships/slide" Target="slides/slide8.xml"/><Relationship Id="rId43" Type="http://schemas.openxmlformats.org/officeDocument/2006/relationships/slide" Target="slides/slide24.xml"/><Relationship Id="rId48" Type="http://schemas.openxmlformats.org/officeDocument/2006/relationships/slide" Target="slides/slide29.xml"/><Relationship Id="rId64" Type="http://schemas.openxmlformats.org/officeDocument/2006/relationships/slide" Target="slides/slide45.xml"/><Relationship Id="rId69" Type="http://schemas.openxmlformats.org/officeDocument/2006/relationships/slide" Target="slides/slide50.xml"/><Relationship Id="rId113" Type="http://schemas.openxmlformats.org/officeDocument/2006/relationships/slide" Target="slides/slide94.xml"/><Relationship Id="rId118" Type="http://schemas.openxmlformats.org/officeDocument/2006/relationships/slide" Target="slides/slide99.xml"/><Relationship Id="rId134" Type="http://schemas.openxmlformats.org/officeDocument/2006/relationships/slide" Target="slides/slide115.xml"/><Relationship Id="rId139" Type="http://schemas.openxmlformats.org/officeDocument/2006/relationships/slide" Target="slides/slide120.xml"/><Relationship Id="rId80" Type="http://schemas.openxmlformats.org/officeDocument/2006/relationships/slide" Target="slides/slide61.xml"/><Relationship Id="rId85" Type="http://schemas.openxmlformats.org/officeDocument/2006/relationships/slide" Target="slides/slide66.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slide" Target="slides/slide84.xml"/><Relationship Id="rId108" Type="http://schemas.openxmlformats.org/officeDocument/2006/relationships/slide" Target="slides/slide89.xml"/><Relationship Id="rId124" Type="http://schemas.openxmlformats.org/officeDocument/2006/relationships/slide" Target="slides/slide105.xml"/><Relationship Id="rId129" Type="http://schemas.openxmlformats.org/officeDocument/2006/relationships/slide" Target="slides/slide110.xml"/><Relationship Id="rId54" Type="http://schemas.openxmlformats.org/officeDocument/2006/relationships/slide" Target="slides/slide35.xml"/><Relationship Id="rId70" Type="http://schemas.openxmlformats.org/officeDocument/2006/relationships/slide" Target="slides/slide51.xml"/><Relationship Id="rId75" Type="http://schemas.openxmlformats.org/officeDocument/2006/relationships/slide" Target="slides/slide56.xml"/><Relationship Id="rId91" Type="http://schemas.openxmlformats.org/officeDocument/2006/relationships/slide" Target="slides/slide72.xml"/><Relationship Id="rId96" Type="http://schemas.openxmlformats.org/officeDocument/2006/relationships/slide" Target="slides/slide77.xml"/><Relationship Id="rId14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4.xml"/><Relationship Id="rId28" Type="http://schemas.openxmlformats.org/officeDocument/2006/relationships/slide" Target="slides/slide9.xml"/><Relationship Id="rId49" Type="http://schemas.openxmlformats.org/officeDocument/2006/relationships/slide" Target="slides/slide30.xml"/><Relationship Id="rId114" Type="http://schemas.openxmlformats.org/officeDocument/2006/relationships/slide" Target="slides/slide95.xml"/><Relationship Id="rId119" Type="http://schemas.openxmlformats.org/officeDocument/2006/relationships/slide" Target="slides/slide100.xml"/><Relationship Id="rId44" Type="http://schemas.openxmlformats.org/officeDocument/2006/relationships/slide" Target="slides/slide25.xml"/><Relationship Id="rId60" Type="http://schemas.openxmlformats.org/officeDocument/2006/relationships/slide" Target="slides/slide41.xml"/><Relationship Id="rId65" Type="http://schemas.openxmlformats.org/officeDocument/2006/relationships/slide" Target="slides/slide46.xml"/><Relationship Id="rId81" Type="http://schemas.openxmlformats.org/officeDocument/2006/relationships/slide" Target="slides/slide62.xml"/><Relationship Id="rId86" Type="http://schemas.openxmlformats.org/officeDocument/2006/relationships/slide" Target="slides/slide67.xml"/><Relationship Id="rId130" Type="http://schemas.openxmlformats.org/officeDocument/2006/relationships/slide" Target="slides/slide111.xml"/><Relationship Id="rId135" Type="http://schemas.openxmlformats.org/officeDocument/2006/relationships/slide" Target="slides/slide116.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0.xml"/><Relationship Id="rId109" Type="http://schemas.openxmlformats.org/officeDocument/2006/relationships/slide" Target="slides/slide9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04" Type="http://schemas.openxmlformats.org/officeDocument/2006/relationships/slide" Target="slides/slide85.xml"/><Relationship Id="rId120" Type="http://schemas.openxmlformats.org/officeDocument/2006/relationships/slide" Target="slides/slide101.xml"/><Relationship Id="rId125" Type="http://schemas.openxmlformats.org/officeDocument/2006/relationships/slide" Target="slides/slide106.xml"/><Relationship Id="rId141"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52.xml"/><Relationship Id="rId92" Type="http://schemas.openxmlformats.org/officeDocument/2006/relationships/slide" Target="slides/slide73.xml"/><Relationship Id="rId2" Type="http://schemas.openxmlformats.org/officeDocument/2006/relationships/slideMaster" Target="slideMasters/slideMaster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15" Type="http://schemas.openxmlformats.org/officeDocument/2006/relationships/slide" Target="slides/slide96.xml"/><Relationship Id="rId131" Type="http://schemas.openxmlformats.org/officeDocument/2006/relationships/slide" Target="slides/slide112.xml"/><Relationship Id="rId136" Type="http://schemas.openxmlformats.org/officeDocument/2006/relationships/slide" Target="slides/slide117.xml"/><Relationship Id="rId61" Type="http://schemas.openxmlformats.org/officeDocument/2006/relationships/slide" Target="slides/slide42.xml"/><Relationship Id="rId82" Type="http://schemas.openxmlformats.org/officeDocument/2006/relationships/slide" Target="slides/slide63.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26" Type="http://schemas.openxmlformats.org/officeDocument/2006/relationships/slide" Target="slides/slide107.xml"/><Relationship Id="rId8" Type="http://schemas.openxmlformats.org/officeDocument/2006/relationships/slideMaster" Target="slideMasters/slideMaster8.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slide" Target="slides/slide102.xml"/><Relationship Id="rId142" Type="http://schemas.openxmlformats.org/officeDocument/2006/relationships/viewProps" Target="viewProps.xml"/><Relationship Id="rId3" Type="http://schemas.openxmlformats.org/officeDocument/2006/relationships/slideMaster" Target="slideMasters/slideMaster3.xml"/><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 Id="rId116" Type="http://schemas.openxmlformats.org/officeDocument/2006/relationships/slide" Target="slides/slide97.xml"/><Relationship Id="rId137" Type="http://schemas.openxmlformats.org/officeDocument/2006/relationships/slide" Target="slides/slide118.xml"/><Relationship Id="rId20" Type="http://schemas.openxmlformats.org/officeDocument/2006/relationships/slide" Target="slides/slide1.xml"/><Relationship Id="rId41" Type="http://schemas.openxmlformats.org/officeDocument/2006/relationships/slide" Target="slides/slide22.xml"/><Relationship Id="rId62" Type="http://schemas.openxmlformats.org/officeDocument/2006/relationships/slide" Target="slides/slide43.xml"/><Relationship Id="rId83" Type="http://schemas.openxmlformats.org/officeDocument/2006/relationships/slide" Target="slides/slide64.xml"/><Relationship Id="rId88" Type="http://schemas.openxmlformats.org/officeDocument/2006/relationships/slide" Target="slides/slide69.xml"/><Relationship Id="rId111" Type="http://schemas.openxmlformats.org/officeDocument/2006/relationships/slide" Target="slides/slide92.xml"/><Relationship Id="rId132" Type="http://schemas.openxmlformats.org/officeDocument/2006/relationships/slide" Target="slides/slide113.xml"/><Relationship Id="rId15" Type="http://schemas.openxmlformats.org/officeDocument/2006/relationships/slideMaster" Target="slideMasters/slideMaster15.xml"/><Relationship Id="rId36" Type="http://schemas.openxmlformats.org/officeDocument/2006/relationships/slide" Target="slides/slide17.xml"/><Relationship Id="rId57" Type="http://schemas.openxmlformats.org/officeDocument/2006/relationships/slide" Target="slides/slide38.xml"/><Relationship Id="rId106" Type="http://schemas.openxmlformats.org/officeDocument/2006/relationships/slide" Target="slides/slide87.xml"/><Relationship Id="rId127" Type="http://schemas.openxmlformats.org/officeDocument/2006/relationships/slide" Target="slides/slide108.xml"/><Relationship Id="rId10" Type="http://schemas.openxmlformats.org/officeDocument/2006/relationships/slideMaster" Target="slideMasters/slideMaster10.xml"/><Relationship Id="rId31" Type="http://schemas.openxmlformats.org/officeDocument/2006/relationships/slide" Target="slides/slide12.xml"/><Relationship Id="rId52" Type="http://schemas.openxmlformats.org/officeDocument/2006/relationships/slide" Target="slides/slide33.xml"/><Relationship Id="rId73" Type="http://schemas.openxmlformats.org/officeDocument/2006/relationships/slide" Target="slides/slide54.xml"/><Relationship Id="rId78" Type="http://schemas.openxmlformats.org/officeDocument/2006/relationships/slide" Target="slides/slide59.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14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7.xml"/><Relationship Id="rId47" Type="http://schemas.openxmlformats.org/officeDocument/2006/relationships/slide" Target="slides/slide28.xml"/><Relationship Id="rId68" Type="http://schemas.openxmlformats.org/officeDocument/2006/relationships/slide" Target="slides/slide49.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slide" Target="slides/slide114.xml"/><Relationship Id="rId16" Type="http://schemas.openxmlformats.org/officeDocument/2006/relationships/slideMaster" Target="slideMasters/slideMaster16.xml"/></Relationships>
</file>

<file path=ppt/charts/_rels/chart1.xml.rels><?xml version="1.0" encoding="UTF-8" standalone="yes"?>
<Relationships xmlns="http://schemas.openxmlformats.org/package/2006/relationships"><Relationship Id="rId1" Type="http://schemas.openxmlformats.org/officeDocument/2006/relationships/oleObject" Target="file:///C:\Users\ugur.kocas\Desktop\&#214;zel%20kalem%2022.01.2018\gib%20verileriyle%20grafik.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al__ma_Sayfas_.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dLbls>
          <c:showLegendKey val="0"/>
          <c:showVal val="0"/>
          <c:showCatName val="0"/>
          <c:showSerName val="0"/>
          <c:showPercent val="0"/>
          <c:showBubbleSize val="0"/>
          <c:showLeaderLines val="0"/>
        </c:dLbls>
        <c:firstSliceAng val="280"/>
      </c:pieChart>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pieChart>
        <c:varyColors val="1"/>
        <c:ser>
          <c:idx val="0"/>
          <c:order val="0"/>
          <c:tx>
            <c:strRef>
              <c:f>Sayfa1!$B$1</c:f>
              <c:strCache>
                <c:ptCount val="1"/>
                <c:pt idx="0">
                  <c:v>Satışlar</c:v>
                </c:pt>
              </c:strCache>
            </c:strRef>
          </c:tx>
          <c:explosion val="25"/>
          <c:cat>
            <c:strRef>
              <c:f>Sayfa1!$A$2:$A$5</c:f>
              <c:strCache>
                <c:ptCount val="3"/>
                <c:pt idx="0">
                  <c:v>1. Çeyrek</c:v>
                </c:pt>
                <c:pt idx="1">
                  <c:v>2. Çeyrek</c:v>
                </c:pt>
                <c:pt idx="2">
                  <c:v>3. Çeyrek</c:v>
                </c:pt>
              </c:strCache>
            </c:strRef>
          </c:cat>
          <c:val>
            <c:numRef>
              <c:f>Sayfa1!$B$2:$B$5</c:f>
              <c:numCache>
                <c:formatCode>General</c:formatCode>
                <c:ptCount val="4"/>
                <c:pt idx="0">
                  <c:v>89.3</c:v>
                </c:pt>
                <c:pt idx="1">
                  <c:v>8.6</c:v>
                </c:pt>
                <c:pt idx="2">
                  <c:v>1.8</c:v>
                </c:pt>
              </c:numCache>
            </c:numRef>
          </c:val>
          <c:extLst>
            <c:ext xmlns:c16="http://schemas.microsoft.com/office/drawing/2014/chart" uri="{C3380CC4-5D6E-409C-BE32-E72D297353CC}">
              <c16:uniqueId val="{00000000-6F0B-4E51-951F-03C0956865A3}"/>
            </c:ext>
          </c:extLst>
        </c:ser>
        <c:dLbls>
          <c:showLegendKey val="0"/>
          <c:showVal val="0"/>
          <c:showCatName val="0"/>
          <c:showSerName val="0"/>
          <c:showPercent val="0"/>
          <c:showBubbleSize val="0"/>
          <c:showLeaderLines val="1"/>
        </c:dLbls>
        <c:firstSliceAng val="285"/>
      </c:pieChart>
    </c:plotArea>
    <c:plotVisOnly val="1"/>
    <c:dispBlanksAs val="gap"/>
    <c:showDLblsOverMax val="0"/>
  </c:chart>
  <c:txPr>
    <a:bodyPr/>
    <a:lstStyle/>
    <a:p>
      <a:pPr>
        <a:defRPr sz="1800"/>
      </a:pPr>
      <a:endParaRPr lang="tr-TR"/>
    </a:p>
  </c:txPr>
  <c:externalData r:id="rId1">
    <c:autoUpdate val="0"/>
  </c:externalData>
</c:chartSpace>
</file>

<file path=ppt/diagrams/_rels/data1.xml.rels><?xml version="1.0" encoding="UTF-8" standalone="yes"?>
<Relationships xmlns="http://schemas.openxmlformats.org/package/2006/relationships"><Relationship Id="rId1" Type="http://schemas.openxmlformats.org/officeDocument/2006/relationships/hyperlink" Target="&#350;ubat%202021%20Destek%20Kartlar&#305;.pptx" TargetMode="External"/></Relationships>
</file>

<file path=ppt/diagrams/_rels/data4.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image" Target="../media/image27.jpg"/></Relationships>
</file>

<file path=ppt/diagrams/_rels/data6.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image" Target="../media/image52.png"/><Relationship Id="rId1" Type="http://schemas.openxmlformats.org/officeDocument/2006/relationships/image" Target="../media/image51.jpg"/><Relationship Id="rId6" Type="http://schemas.openxmlformats.org/officeDocument/2006/relationships/image" Target="../media/image56.jpg"/><Relationship Id="rId5" Type="http://schemas.openxmlformats.org/officeDocument/2006/relationships/image" Target="../media/image55.png"/><Relationship Id="rId4" Type="http://schemas.openxmlformats.org/officeDocument/2006/relationships/image" Target="../media/image54.jpg"/></Relationships>
</file>

<file path=ppt/diagrams/_rels/data8.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image" Target="../media/image61.jpeg"/></Relationships>
</file>

<file path=ppt/diagrams/_rels/drawing4.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image" Target="../media/image27.jpg"/></Relationships>
</file>

<file path=ppt/diagrams/_rels/drawing6.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image" Target="../media/image52.png"/><Relationship Id="rId1" Type="http://schemas.openxmlformats.org/officeDocument/2006/relationships/image" Target="../media/image51.jpg"/><Relationship Id="rId6" Type="http://schemas.openxmlformats.org/officeDocument/2006/relationships/image" Target="../media/image56.jpg"/><Relationship Id="rId5" Type="http://schemas.openxmlformats.org/officeDocument/2006/relationships/image" Target="../media/image55.png"/><Relationship Id="rId4" Type="http://schemas.openxmlformats.org/officeDocument/2006/relationships/image" Target="../media/image54.jpg"/></Relationships>
</file>

<file path=ppt/diagrams/_rels/drawing8.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image" Target="../media/image61.jpe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5D687A-4A54-437F-8AFC-B577F356791C}" type="doc">
      <dgm:prSet loTypeId="urn:microsoft.com/office/officeart/2005/8/layout/radial5" loCatId="cycle" qsTypeId="urn:microsoft.com/office/officeart/2005/8/quickstyle/simple2" qsCatId="simple" csTypeId="urn:microsoft.com/office/officeart/2005/8/colors/colorful1" csCatId="colorful" phldr="1"/>
      <dgm:spPr/>
      <dgm:t>
        <a:bodyPr/>
        <a:lstStyle/>
        <a:p>
          <a:endParaRPr lang="tr-TR"/>
        </a:p>
      </dgm:t>
    </dgm:pt>
    <dgm:pt modelId="{9D49B4A3-6D71-4BCC-8110-2296F53EA98B}">
      <dgm:prSet phldrT="[Metin]" custT="1"/>
      <dgm:spPr>
        <a:solidFill>
          <a:schemeClr val="accent6"/>
        </a:solidFill>
      </dgm:spPr>
      <dgm:t>
        <a:bodyPr/>
        <a:lstStyle/>
        <a:p>
          <a:r>
            <a:rPr lang="tr-TR" sz="1400" b="1" dirty="0" smtClean="0"/>
            <a:t>Girişimcilik Destekleri</a:t>
          </a:r>
          <a:endParaRPr lang="tr-TR" sz="1400" b="1" dirty="0"/>
        </a:p>
      </dgm:t>
    </dgm:pt>
    <dgm:pt modelId="{A94C18FB-DE7B-45CA-9242-0C676CC50C17}" type="parTrans" cxnId="{FE0F44FA-A01F-437C-8C72-C80E0A56803D}">
      <dgm:prSet/>
      <dgm:spPr>
        <a:solidFill>
          <a:schemeClr val="accent6"/>
        </a:solidFill>
      </dgm:spPr>
      <dgm:t>
        <a:bodyPr/>
        <a:lstStyle/>
        <a:p>
          <a:endParaRPr lang="tr-TR"/>
        </a:p>
      </dgm:t>
    </dgm:pt>
    <dgm:pt modelId="{DCB8D137-4E1C-4DE4-AD22-C380211CC12D}" type="sibTrans" cxnId="{FE0F44FA-A01F-437C-8C72-C80E0A56803D}">
      <dgm:prSet/>
      <dgm:spPr/>
      <dgm:t>
        <a:bodyPr/>
        <a:lstStyle/>
        <a:p>
          <a:endParaRPr lang="tr-TR"/>
        </a:p>
      </dgm:t>
    </dgm:pt>
    <dgm:pt modelId="{281FC85C-509C-4C9C-B2B6-B920C563CED1}">
      <dgm:prSet phldrT="[Metin]" custT="1"/>
      <dgm:spPr/>
      <dgm:t>
        <a:bodyPr/>
        <a:lstStyle/>
        <a:p>
          <a:r>
            <a:rPr lang="tr-TR" sz="1400" b="1" dirty="0" smtClean="0"/>
            <a:t>İşletme Geliştirme, Büyüme ve </a:t>
          </a:r>
          <a:r>
            <a:rPr lang="tr-TR" sz="1200" b="1" dirty="0" err="1" smtClean="0"/>
            <a:t>Uluslararasılaşma</a:t>
          </a:r>
          <a:r>
            <a:rPr lang="tr-TR" sz="1200" b="1" dirty="0" smtClean="0"/>
            <a:t> </a:t>
          </a:r>
          <a:r>
            <a:rPr lang="tr-TR" sz="1400" b="1" dirty="0" smtClean="0"/>
            <a:t>Destekleri</a:t>
          </a:r>
        </a:p>
      </dgm:t>
    </dgm:pt>
    <dgm:pt modelId="{89D2B942-7BBD-4CDA-8DD9-86B976E7E5AC}" type="parTrans" cxnId="{046EA099-15AF-41E0-9D5E-F550954AAAF1}">
      <dgm:prSet/>
      <dgm:spPr/>
      <dgm:t>
        <a:bodyPr/>
        <a:lstStyle/>
        <a:p>
          <a:endParaRPr lang="tr-TR"/>
        </a:p>
      </dgm:t>
    </dgm:pt>
    <dgm:pt modelId="{19203AE8-8AB0-4D98-BF2C-6CABC987B922}" type="sibTrans" cxnId="{046EA099-15AF-41E0-9D5E-F550954AAAF1}">
      <dgm:prSet/>
      <dgm:spPr/>
      <dgm:t>
        <a:bodyPr/>
        <a:lstStyle/>
        <a:p>
          <a:endParaRPr lang="tr-TR"/>
        </a:p>
      </dgm:t>
    </dgm:pt>
    <dgm:pt modelId="{A89EB33F-DCB3-46D8-830A-BEABF6783B59}">
      <dgm:prSet phldrT="[Metin]"/>
      <dgm:spPr/>
      <dgm:t>
        <a:bodyPr/>
        <a:lstStyle/>
        <a:p>
          <a:r>
            <a:rPr lang="tr-TR" b="1" dirty="0" smtClean="0"/>
            <a:t>KOBİ Finansman Destekleri</a:t>
          </a:r>
          <a:endParaRPr lang="tr-TR" b="1" dirty="0"/>
        </a:p>
      </dgm:t>
    </dgm:pt>
    <dgm:pt modelId="{1ABD5011-632B-454A-BD44-6221D628827B}" type="parTrans" cxnId="{C199536E-4D7B-4C54-A390-860389975948}">
      <dgm:prSet/>
      <dgm:spPr/>
      <dgm:t>
        <a:bodyPr/>
        <a:lstStyle/>
        <a:p>
          <a:endParaRPr lang="tr-TR"/>
        </a:p>
      </dgm:t>
    </dgm:pt>
    <dgm:pt modelId="{34569341-5FB0-4428-87A6-0DB8CE0E6060}" type="sibTrans" cxnId="{C199536E-4D7B-4C54-A390-860389975948}">
      <dgm:prSet/>
      <dgm:spPr/>
      <dgm:t>
        <a:bodyPr/>
        <a:lstStyle/>
        <a:p>
          <a:endParaRPr lang="tr-TR"/>
        </a:p>
      </dgm:t>
    </dgm:pt>
    <dgm:pt modelId="{0CE939D7-D285-4FE5-B586-9750CBFE0DFC}">
      <dgm:prSet phldrT="[Metin]" custT="1"/>
      <dgm:spPr>
        <a:solidFill>
          <a:schemeClr val="accent2"/>
        </a:solidFill>
      </dgm:spPr>
      <dgm:t>
        <a:bodyPr/>
        <a:lstStyle/>
        <a:p>
          <a:r>
            <a:rPr lang="tr-TR" sz="1400" b="1" dirty="0" smtClean="0"/>
            <a:t>AR-GE, Teknolojik Üretim ve Yerlileştirme Destekleri</a:t>
          </a:r>
          <a:endParaRPr lang="tr-TR" sz="1400" b="1" dirty="0"/>
        </a:p>
      </dgm:t>
    </dgm:pt>
    <dgm:pt modelId="{FA3BDE31-149B-46A3-9F67-6D8CA9543518}" type="parTrans" cxnId="{2E2C4AFC-7D8D-4F34-BD7E-5C7A4C5F4953}">
      <dgm:prSet/>
      <dgm:spPr>
        <a:solidFill>
          <a:schemeClr val="accent2"/>
        </a:solidFill>
      </dgm:spPr>
      <dgm:t>
        <a:bodyPr/>
        <a:lstStyle/>
        <a:p>
          <a:endParaRPr lang="tr-TR"/>
        </a:p>
      </dgm:t>
    </dgm:pt>
    <dgm:pt modelId="{6F011498-2E4A-485A-8DF5-56C2534BC832}" type="sibTrans" cxnId="{2E2C4AFC-7D8D-4F34-BD7E-5C7A4C5F4953}">
      <dgm:prSet/>
      <dgm:spPr/>
      <dgm:t>
        <a:bodyPr/>
        <a:lstStyle/>
        <a:p>
          <a:endParaRPr lang="tr-TR"/>
        </a:p>
      </dgm:t>
    </dgm:pt>
    <dgm:pt modelId="{7258DDA5-DCA7-4546-9C88-2CB1979837CD}">
      <dgm:prSet phldrT="[Metin]" custT="1">
        <dgm:style>
          <a:lnRef idx="2">
            <a:schemeClr val="accent6"/>
          </a:lnRef>
          <a:fillRef idx="1">
            <a:schemeClr val="lt1"/>
          </a:fillRef>
          <a:effectRef idx="0">
            <a:schemeClr val="accent6"/>
          </a:effectRef>
          <a:fontRef idx="minor">
            <a:schemeClr val="dk1"/>
          </a:fontRef>
        </dgm:style>
      </dgm:prSet>
      <dgm:spPr>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tr-TR" sz="1800" b="1" dirty="0" smtClean="0">
              <a:solidFill>
                <a:schemeClr val="bg1"/>
              </a:solidFill>
              <a:effectLst/>
            </a:rPr>
            <a:t>KOSGEB DESTEK </a:t>
          </a:r>
          <a:r>
            <a:rPr lang="tr-TR" sz="1600" b="1" dirty="0" smtClean="0">
              <a:solidFill>
                <a:schemeClr val="bg1"/>
              </a:solidFill>
              <a:effectLst/>
            </a:rPr>
            <a:t>PROGRAMLARI</a:t>
          </a:r>
          <a:endParaRPr lang="tr-TR" sz="1600" b="1" dirty="0">
            <a:solidFill>
              <a:schemeClr val="bg1"/>
            </a:solidFill>
            <a:effectLst/>
          </a:endParaRPr>
        </a:p>
      </dgm:t>
      <dgm:extLst>
        <a:ext uri="{E40237B7-FDA0-4F09-8148-C483321AD2D9}">
          <dgm14:cNvPr xmlns:dgm14="http://schemas.microsoft.com/office/drawing/2010/diagram" id="0" name="">
            <a:hlinkClick xmlns:r="http://schemas.openxmlformats.org/officeDocument/2006/relationships" r:id="rId1" action="ppaction://hlinkpres?slideindex=1&amp;slidetitle="/>
          </dgm14:cNvPr>
        </a:ext>
      </dgm:extLst>
    </dgm:pt>
    <dgm:pt modelId="{13151CF6-2437-493B-8608-9227F18E7CD5}" type="sibTrans" cxnId="{91915E9C-48F0-4C7B-8A72-4E96047495B4}">
      <dgm:prSet/>
      <dgm:spPr/>
      <dgm:t>
        <a:bodyPr/>
        <a:lstStyle/>
        <a:p>
          <a:endParaRPr lang="tr-TR"/>
        </a:p>
      </dgm:t>
    </dgm:pt>
    <dgm:pt modelId="{EAB75C53-43C6-4B4A-926D-9FBEB7F856AB}" type="parTrans" cxnId="{91915E9C-48F0-4C7B-8A72-4E96047495B4}">
      <dgm:prSet/>
      <dgm:spPr/>
      <dgm:t>
        <a:bodyPr/>
        <a:lstStyle/>
        <a:p>
          <a:endParaRPr lang="tr-TR"/>
        </a:p>
      </dgm:t>
    </dgm:pt>
    <dgm:pt modelId="{35F2DDFD-21E9-4415-A0D0-274A6F62DCF8}" type="pres">
      <dgm:prSet presAssocID="{375D687A-4A54-437F-8AFC-B577F356791C}" presName="Name0" presStyleCnt="0">
        <dgm:presLayoutVars>
          <dgm:chMax val="1"/>
          <dgm:dir/>
          <dgm:animLvl val="ctr"/>
          <dgm:resizeHandles val="exact"/>
        </dgm:presLayoutVars>
      </dgm:prSet>
      <dgm:spPr/>
      <dgm:t>
        <a:bodyPr/>
        <a:lstStyle/>
        <a:p>
          <a:endParaRPr lang="tr-TR"/>
        </a:p>
      </dgm:t>
    </dgm:pt>
    <dgm:pt modelId="{9ED1E9C5-F5AD-4E85-9389-B27DB972A753}" type="pres">
      <dgm:prSet presAssocID="{7258DDA5-DCA7-4546-9C88-2CB1979837CD}" presName="centerShape" presStyleLbl="node0" presStyleIdx="0" presStyleCnt="1" custScaleX="186827" custLinFactNeighborX="-2111" custLinFactNeighborY="271"/>
      <dgm:spPr/>
      <dgm:t>
        <a:bodyPr/>
        <a:lstStyle/>
        <a:p>
          <a:endParaRPr lang="tr-TR"/>
        </a:p>
      </dgm:t>
    </dgm:pt>
    <dgm:pt modelId="{E7562023-490E-413A-9005-93EC343058FC}" type="pres">
      <dgm:prSet presAssocID="{A94C18FB-DE7B-45CA-9242-0C676CC50C17}" presName="parTrans" presStyleLbl="sibTrans2D1" presStyleIdx="0" presStyleCnt="4"/>
      <dgm:spPr/>
      <dgm:t>
        <a:bodyPr/>
        <a:lstStyle/>
        <a:p>
          <a:endParaRPr lang="tr-TR"/>
        </a:p>
      </dgm:t>
    </dgm:pt>
    <dgm:pt modelId="{0DB9F5A7-44D5-4B7C-9231-26456CFF5364}" type="pres">
      <dgm:prSet presAssocID="{A94C18FB-DE7B-45CA-9242-0C676CC50C17}" presName="connectorText" presStyleLbl="sibTrans2D1" presStyleIdx="0" presStyleCnt="4"/>
      <dgm:spPr/>
      <dgm:t>
        <a:bodyPr/>
        <a:lstStyle/>
        <a:p>
          <a:endParaRPr lang="tr-TR"/>
        </a:p>
      </dgm:t>
    </dgm:pt>
    <dgm:pt modelId="{86AB532F-BA96-4A16-97F4-0178014CAAB0}" type="pres">
      <dgm:prSet presAssocID="{9D49B4A3-6D71-4BCC-8110-2296F53EA98B}" presName="node" presStyleLbl="node1" presStyleIdx="0" presStyleCnt="4" custScaleX="131941" custScaleY="94501" custRadScaleRad="86524" custRadScaleInc="-6962">
        <dgm:presLayoutVars>
          <dgm:bulletEnabled val="1"/>
        </dgm:presLayoutVars>
      </dgm:prSet>
      <dgm:spPr/>
      <dgm:t>
        <a:bodyPr/>
        <a:lstStyle/>
        <a:p>
          <a:endParaRPr lang="tr-TR"/>
        </a:p>
      </dgm:t>
    </dgm:pt>
    <dgm:pt modelId="{BEFDBD34-4B9A-4497-BFA2-BD216AA477B8}" type="pres">
      <dgm:prSet presAssocID="{89D2B942-7BBD-4CDA-8DD9-86B976E7E5AC}" presName="parTrans" presStyleLbl="sibTrans2D1" presStyleIdx="1" presStyleCnt="4" custLinFactNeighborX="33274"/>
      <dgm:spPr/>
      <dgm:t>
        <a:bodyPr/>
        <a:lstStyle/>
        <a:p>
          <a:endParaRPr lang="tr-TR"/>
        </a:p>
      </dgm:t>
    </dgm:pt>
    <dgm:pt modelId="{6F8584D6-9911-423F-A272-0E5306EA0F35}" type="pres">
      <dgm:prSet presAssocID="{89D2B942-7BBD-4CDA-8DD9-86B976E7E5AC}" presName="connectorText" presStyleLbl="sibTrans2D1" presStyleIdx="1" presStyleCnt="4"/>
      <dgm:spPr/>
      <dgm:t>
        <a:bodyPr/>
        <a:lstStyle/>
        <a:p>
          <a:endParaRPr lang="tr-TR"/>
        </a:p>
      </dgm:t>
    </dgm:pt>
    <dgm:pt modelId="{A215D4FD-2E24-4E9E-9F1C-55C994E3C299}" type="pres">
      <dgm:prSet presAssocID="{281FC85C-509C-4C9C-B2B6-B920C563CED1}" presName="node" presStyleLbl="node1" presStyleIdx="1" presStyleCnt="4" custScaleX="165174" custScaleY="110829" custRadScaleRad="142853">
        <dgm:presLayoutVars>
          <dgm:bulletEnabled val="1"/>
        </dgm:presLayoutVars>
      </dgm:prSet>
      <dgm:spPr/>
      <dgm:t>
        <a:bodyPr/>
        <a:lstStyle/>
        <a:p>
          <a:endParaRPr lang="tr-TR"/>
        </a:p>
      </dgm:t>
    </dgm:pt>
    <dgm:pt modelId="{3E193F8C-9214-48F5-A07B-E75583E06B2D}" type="pres">
      <dgm:prSet presAssocID="{1ABD5011-632B-454A-BD44-6221D628827B}" presName="parTrans" presStyleLbl="sibTrans2D1" presStyleIdx="2" presStyleCnt="4" custLinFactNeighborX="-18938"/>
      <dgm:spPr/>
      <dgm:t>
        <a:bodyPr/>
        <a:lstStyle/>
        <a:p>
          <a:endParaRPr lang="tr-TR"/>
        </a:p>
      </dgm:t>
    </dgm:pt>
    <dgm:pt modelId="{5DBC80DB-B44C-45D0-AB5F-FA955E1C007D}" type="pres">
      <dgm:prSet presAssocID="{1ABD5011-632B-454A-BD44-6221D628827B}" presName="connectorText" presStyleLbl="sibTrans2D1" presStyleIdx="2" presStyleCnt="4"/>
      <dgm:spPr/>
      <dgm:t>
        <a:bodyPr/>
        <a:lstStyle/>
        <a:p>
          <a:endParaRPr lang="tr-TR"/>
        </a:p>
      </dgm:t>
    </dgm:pt>
    <dgm:pt modelId="{2F0D1EC9-F40E-45E2-AAE1-20B44DFD20B2}" type="pres">
      <dgm:prSet presAssocID="{A89EB33F-DCB3-46D8-830A-BEABF6783B59}" presName="node" presStyleLbl="node1" presStyleIdx="2" presStyleCnt="4" custScaleX="135804" custRadScaleRad="94660" custRadScaleInc="4397">
        <dgm:presLayoutVars>
          <dgm:bulletEnabled val="1"/>
        </dgm:presLayoutVars>
      </dgm:prSet>
      <dgm:spPr/>
      <dgm:t>
        <a:bodyPr/>
        <a:lstStyle/>
        <a:p>
          <a:endParaRPr lang="tr-TR"/>
        </a:p>
      </dgm:t>
    </dgm:pt>
    <dgm:pt modelId="{A83948E8-5CE6-4715-871F-63BDB2FED6D6}" type="pres">
      <dgm:prSet presAssocID="{FA3BDE31-149B-46A3-9F67-6D8CA9543518}" presName="parTrans" presStyleLbl="sibTrans2D1" presStyleIdx="3" presStyleCnt="4"/>
      <dgm:spPr/>
      <dgm:t>
        <a:bodyPr/>
        <a:lstStyle/>
        <a:p>
          <a:endParaRPr lang="tr-TR"/>
        </a:p>
      </dgm:t>
    </dgm:pt>
    <dgm:pt modelId="{CD12184C-AB23-43B8-9213-ADD22D47C59B}" type="pres">
      <dgm:prSet presAssocID="{FA3BDE31-149B-46A3-9F67-6D8CA9543518}" presName="connectorText" presStyleLbl="sibTrans2D1" presStyleIdx="3" presStyleCnt="4"/>
      <dgm:spPr/>
      <dgm:t>
        <a:bodyPr/>
        <a:lstStyle/>
        <a:p>
          <a:endParaRPr lang="tr-TR"/>
        </a:p>
      </dgm:t>
    </dgm:pt>
    <dgm:pt modelId="{52B8EBA5-AAF7-48CF-859F-75EE7762B26D}" type="pres">
      <dgm:prSet presAssocID="{0CE939D7-D285-4FE5-B586-9750CBFE0DFC}" presName="node" presStyleLbl="node1" presStyleIdx="3" presStyleCnt="4" custScaleX="135329" custScaleY="110829" custRadScaleRad="143809">
        <dgm:presLayoutVars>
          <dgm:bulletEnabled val="1"/>
        </dgm:presLayoutVars>
      </dgm:prSet>
      <dgm:spPr/>
      <dgm:t>
        <a:bodyPr/>
        <a:lstStyle/>
        <a:p>
          <a:endParaRPr lang="tr-TR"/>
        </a:p>
      </dgm:t>
    </dgm:pt>
  </dgm:ptLst>
  <dgm:cxnLst>
    <dgm:cxn modelId="{C199536E-4D7B-4C54-A390-860389975948}" srcId="{7258DDA5-DCA7-4546-9C88-2CB1979837CD}" destId="{A89EB33F-DCB3-46D8-830A-BEABF6783B59}" srcOrd="2" destOrd="0" parTransId="{1ABD5011-632B-454A-BD44-6221D628827B}" sibTransId="{34569341-5FB0-4428-87A6-0DB8CE0E6060}"/>
    <dgm:cxn modelId="{0B61F00A-F2E1-433E-839E-EA19E8A95AB0}" type="presOf" srcId="{1ABD5011-632B-454A-BD44-6221D628827B}" destId="{3E193F8C-9214-48F5-A07B-E75583E06B2D}" srcOrd="0" destOrd="0" presId="urn:microsoft.com/office/officeart/2005/8/layout/radial5"/>
    <dgm:cxn modelId="{0F2DBDEC-A022-4D96-A80F-D15DE3A215C5}" type="presOf" srcId="{FA3BDE31-149B-46A3-9F67-6D8CA9543518}" destId="{A83948E8-5CE6-4715-871F-63BDB2FED6D6}" srcOrd="0" destOrd="0" presId="urn:microsoft.com/office/officeart/2005/8/layout/radial5"/>
    <dgm:cxn modelId="{CB6BEC52-B747-4EDB-81BA-9E742B6A7571}" type="presOf" srcId="{A89EB33F-DCB3-46D8-830A-BEABF6783B59}" destId="{2F0D1EC9-F40E-45E2-AAE1-20B44DFD20B2}" srcOrd="0" destOrd="0" presId="urn:microsoft.com/office/officeart/2005/8/layout/radial5"/>
    <dgm:cxn modelId="{09C217FC-B473-4B32-9819-4610B99B17DE}" type="presOf" srcId="{89D2B942-7BBD-4CDA-8DD9-86B976E7E5AC}" destId="{BEFDBD34-4B9A-4497-BFA2-BD216AA477B8}" srcOrd="0" destOrd="0" presId="urn:microsoft.com/office/officeart/2005/8/layout/radial5"/>
    <dgm:cxn modelId="{C42FB319-0CDF-425A-9BD6-DF3D70D46B70}" type="presOf" srcId="{281FC85C-509C-4C9C-B2B6-B920C563CED1}" destId="{A215D4FD-2E24-4E9E-9F1C-55C994E3C299}" srcOrd="0" destOrd="0" presId="urn:microsoft.com/office/officeart/2005/8/layout/radial5"/>
    <dgm:cxn modelId="{452F307D-BE3E-459E-9396-3325EFD4E4E5}" type="presOf" srcId="{7258DDA5-DCA7-4546-9C88-2CB1979837CD}" destId="{9ED1E9C5-F5AD-4E85-9389-B27DB972A753}" srcOrd="0" destOrd="0" presId="urn:microsoft.com/office/officeart/2005/8/layout/radial5"/>
    <dgm:cxn modelId="{3198DF9A-1B6D-4032-B899-9A7990A3D3F8}" type="presOf" srcId="{1ABD5011-632B-454A-BD44-6221D628827B}" destId="{5DBC80DB-B44C-45D0-AB5F-FA955E1C007D}" srcOrd="1" destOrd="0" presId="urn:microsoft.com/office/officeart/2005/8/layout/radial5"/>
    <dgm:cxn modelId="{B7F2DF0D-32BA-4668-90E4-B1079A1594CC}" type="presOf" srcId="{FA3BDE31-149B-46A3-9F67-6D8CA9543518}" destId="{CD12184C-AB23-43B8-9213-ADD22D47C59B}" srcOrd="1" destOrd="0" presId="urn:microsoft.com/office/officeart/2005/8/layout/radial5"/>
    <dgm:cxn modelId="{31F17574-127C-474C-A387-C8E43062B6E6}" type="presOf" srcId="{A94C18FB-DE7B-45CA-9242-0C676CC50C17}" destId="{0DB9F5A7-44D5-4B7C-9231-26456CFF5364}" srcOrd="1" destOrd="0" presId="urn:microsoft.com/office/officeart/2005/8/layout/radial5"/>
    <dgm:cxn modelId="{358518B5-0692-482D-9979-988DF6C9F07F}" type="presOf" srcId="{A94C18FB-DE7B-45CA-9242-0C676CC50C17}" destId="{E7562023-490E-413A-9005-93EC343058FC}" srcOrd="0" destOrd="0" presId="urn:microsoft.com/office/officeart/2005/8/layout/radial5"/>
    <dgm:cxn modelId="{046EA099-15AF-41E0-9D5E-F550954AAAF1}" srcId="{7258DDA5-DCA7-4546-9C88-2CB1979837CD}" destId="{281FC85C-509C-4C9C-B2B6-B920C563CED1}" srcOrd="1" destOrd="0" parTransId="{89D2B942-7BBD-4CDA-8DD9-86B976E7E5AC}" sibTransId="{19203AE8-8AB0-4D98-BF2C-6CABC987B922}"/>
    <dgm:cxn modelId="{91915E9C-48F0-4C7B-8A72-4E96047495B4}" srcId="{375D687A-4A54-437F-8AFC-B577F356791C}" destId="{7258DDA5-DCA7-4546-9C88-2CB1979837CD}" srcOrd="0" destOrd="0" parTransId="{EAB75C53-43C6-4B4A-926D-9FBEB7F856AB}" sibTransId="{13151CF6-2437-493B-8608-9227F18E7CD5}"/>
    <dgm:cxn modelId="{FE0F44FA-A01F-437C-8C72-C80E0A56803D}" srcId="{7258DDA5-DCA7-4546-9C88-2CB1979837CD}" destId="{9D49B4A3-6D71-4BCC-8110-2296F53EA98B}" srcOrd="0" destOrd="0" parTransId="{A94C18FB-DE7B-45CA-9242-0C676CC50C17}" sibTransId="{DCB8D137-4E1C-4DE4-AD22-C380211CC12D}"/>
    <dgm:cxn modelId="{6BFFA84D-58B3-4F5E-91B9-4806E385FBEC}" type="presOf" srcId="{9D49B4A3-6D71-4BCC-8110-2296F53EA98B}" destId="{86AB532F-BA96-4A16-97F4-0178014CAAB0}" srcOrd="0" destOrd="0" presId="urn:microsoft.com/office/officeart/2005/8/layout/radial5"/>
    <dgm:cxn modelId="{3C3A7F6B-1C5E-4593-B44D-F980849F51C8}" type="presOf" srcId="{0CE939D7-D285-4FE5-B586-9750CBFE0DFC}" destId="{52B8EBA5-AAF7-48CF-859F-75EE7762B26D}" srcOrd="0" destOrd="0" presId="urn:microsoft.com/office/officeart/2005/8/layout/radial5"/>
    <dgm:cxn modelId="{88559D71-CFA7-43BE-A515-A817A74BCF0B}" type="presOf" srcId="{375D687A-4A54-437F-8AFC-B577F356791C}" destId="{35F2DDFD-21E9-4415-A0D0-274A6F62DCF8}" srcOrd="0" destOrd="0" presId="urn:microsoft.com/office/officeart/2005/8/layout/radial5"/>
    <dgm:cxn modelId="{2E2C4AFC-7D8D-4F34-BD7E-5C7A4C5F4953}" srcId="{7258DDA5-DCA7-4546-9C88-2CB1979837CD}" destId="{0CE939D7-D285-4FE5-B586-9750CBFE0DFC}" srcOrd="3" destOrd="0" parTransId="{FA3BDE31-149B-46A3-9F67-6D8CA9543518}" sibTransId="{6F011498-2E4A-485A-8DF5-56C2534BC832}"/>
    <dgm:cxn modelId="{B99809C9-C441-42C1-8EC1-3B942CD5C222}" type="presOf" srcId="{89D2B942-7BBD-4CDA-8DD9-86B976E7E5AC}" destId="{6F8584D6-9911-423F-A272-0E5306EA0F35}" srcOrd="1" destOrd="0" presId="urn:microsoft.com/office/officeart/2005/8/layout/radial5"/>
    <dgm:cxn modelId="{905A0DD6-B7BF-4278-9319-E44C14C57737}" type="presParOf" srcId="{35F2DDFD-21E9-4415-A0D0-274A6F62DCF8}" destId="{9ED1E9C5-F5AD-4E85-9389-B27DB972A753}" srcOrd="0" destOrd="0" presId="urn:microsoft.com/office/officeart/2005/8/layout/radial5"/>
    <dgm:cxn modelId="{1C7ADE56-51EF-450C-94D3-5A0127DEB0BE}" type="presParOf" srcId="{35F2DDFD-21E9-4415-A0D0-274A6F62DCF8}" destId="{E7562023-490E-413A-9005-93EC343058FC}" srcOrd="1" destOrd="0" presId="urn:microsoft.com/office/officeart/2005/8/layout/radial5"/>
    <dgm:cxn modelId="{8D2BA2B4-C335-46EC-BEE0-E7D0DCBCF719}" type="presParOf" srcId="{E7562023-490E-413A-9005-93EC343058FC}" destId="{0DB9F5A7-44D5-4B7C-9231-26456CFF5364}" srcOrd="0" destOrd="0" presId="urn:microsoft.com/office/officeart/2005/8/layout/radial5"/>
    <dgm:cxn modelId="{BEEDBA7A-8D7E-45B7-B27F-FF3629DE6983}" type="presParOf" srcId="{35F2DDFD-21E9-4415-A0D0-274A6F62DCF8}" destId="{86AB532F-BA96-4A16-97F4-0178014CAAB0}" srcOrd="2" destOrd="0" presId="urn:microsoft.com/office/officeart/2005/8/layout/radial5"/>
    <dgm:cxn modelId="{5AB2C9CC-D38F-45DF-A940-3FB30E7F4912}" type="presParOf" srcId="{35F2DDFD-21E9-4415-A0D0-274A6F62DCF8}" destId="{BEFDBD34-4B9A-4497-BFA2-BD216AA477B8}" srcOrd="3" destOrd="0" presId="urn:microsoft.com/office/officeart/2005/8/layout/radial5"/>
    <dgm:cxn modelId="{6FE3F01F-F72C-4F31-AAA5-8FC84E6BED68}" type="presParOf" srcId="{BEFDBD34-4B9A-4497-BFA2-BD216AA477B8}" destId="{6F8584D6-9911-423F-A272-0E5306EA0F35}" srcOrd="0" destOrd="0" presId="urn:microsoft.com/office/officeart/2005/8/layout/radial5"/>
    <dgm:cxn modelId="{A225DA98-6DD9-4577-A79F-DCD81E4B0074}" type="presParOf" srcId="{35F2DDFD-21E9-4415-A0D0-274A6F62DCF8}" destId="{A215D4FD-2E24-4E9E-9F1C-55C994E3C299}" srcOrd="4" destOrd="0" presId="urn:microsoft.com/office/officeart/2005/8/layout/radial5"/>
    <dgm:cxn modelId="{4AD76FD9-693F-4149-AB30-4CF6CA459E8F}" type="presParOf" srcId="{35F2DDFD-21E9-4415-A0D0-274A6F62DCF8}" destId="{3E193F8C-9214-48F5-A07B-E75583E06B2D}" srcOrd="5" destOrd="0" presId="urn:microsoft.com/office/officeart/2005/8/layout/radial5"/>
    <dgm:cxn modelId="{601AB9A4-5FAE-4598-A004-FCF179F49C29}" type="presParOf" srcId="{3E193F8C-9214-48F5-A07B-E75583E06B2D}" destId="{5DBC80DB-B44C-45D0-AB5F-FA955E1C007D}" srcOrd="0" destOrd="0" presId="urn:microsoft.com/office/officeart/2005/8/layout/radial5"/>
    <dgm:cxn modelId="{506F8547-4FF2-4F2C-A970-947482C8A2E4}" type="presParOf" srcId="{35F2DDFD-21E9-4415-A0D0-274A6F62DCF8}" destId="{2F0D1EC9-F40E-45E2-AAE1-20B44DFD20B2}" srcOrd="6" destOrd="0" presId="urn:microsoft.com/office/officeart/2005/8/layout/radial5"/>
    <dgm:cxn modelId="{A9FAE2B7-8EB2-49DF-9C0D-2D1A61E93DEB}" type="presParOf" srcId="{35F2DDFD-21E9-4415-A0D0-274A6F62DCF8}" destId="{A83948E8-5CE6-4715-871F-63BDB2FED6D6}" srcOrd="7" destOrd="0" presId="urn:microsoft.com/office/officeart/2005/8/layout/radial5"/>
    <dgm:cxn modelId="{A98C0001-23F2-4FED-BD9A-ED92AC57B521}" type="presParOf" srcId="{A83948E8-5CE6-4715-871F-63BDB2FED6D6}" destId="{CD12184C-AB23-43B8-9213-ADD22D47C59B}" srcOrd="0" destOrd="0" presId="urn:microsoft.com/office/officeart/2005/8/layout/radial5"/>
    <dgm:cxn modelId="{A156EDD5-4014-42B0-AA07-5C744F2EB904}" type="presParOf" srcId="{35F2DDFD-21E9-4415-A0D0-274A6F62DCF8}" destId="{52B8EBA5-AAF7-48CF-859F-75EE7762B26D}" srcOrd="8"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91B07ED-F55C-4052-8910-3C3DA28A7ABA}" type="doc">
      <dgm:prSet loTypeId="urn:microsoft.com/office/officeart/2005/8/layout/hierarchy1" loCatId="hierarchy" qsTypeId="urn:microsoft.com/office/officeart/2005/8/quickstyle/3d4" qsCatId="3D" csTypeId="urn:microsoft.com/office/officeart/2005/8/colors/accent0_1" csCatId="mainScheme" phldr="1"/>
      <dgm:spPr/>
      <dgm:t>
        <a:bodyPr/>
        <a:lstStyle/>
        <a:p>
          <a:endParaRPr lang="tr-TR"/>
        </a:p>
      </dgm:t>
    </dgm:pt>
    <dgm:pt modelId="{1C3F8EE4-F9F5-4DF5-8218-C28FFDB720E4}">
      <dgm:prSet phldrT="[Metin]" custT="1"/>
      <dgm:spPr>
        <a:solidFill>
          <a:schemeClr val="bg2">
            <a:alpha val="90000"/>
          </a:schemeClr>
        </a:solidFill>
      </dgm:spPr>
      <dgm:t>
        <a:bodyPr/>
        <a:lstStyle/>
        <a:p>
          <a:r>
            <a:rPr lang="tr-TR" sz="2800" b="1" dirty="0">
              <a:solidFill>
                <a:schemeClr val="bg1">
                  <a:lumMod val="10000"/>
                </a:schemeClr>
              </a:solidFill>
              <a:latin typeface="Calibri" pitchFamily="34" charset="0"/>
            </a:rPr>
            <a:t>Ortaklık Modelleri</a:t>
          </a:r>
        </a:p>
      </dgm:t>
    </dgm:pt>
    <dgm:pt modelId="{1EDF5F83-AD83-4699-98FF-8BEAFE5B5CDA}" type="parTrans" cxnId="{479EF2EA-A97C-49DD-A7C5-97691755A17B}">
      <dgm:prSet/>
      <dgm:spPr/>
      <dgm:t>
        <a:bodyPr/>
        <a:lstStyle/>
        <a:p>
          <a:endParaRPr lang="tr-TR" sz="1600">
            <a:latin typeface="Calibri" pitchFamily="34" charset="0"/>
          </a:endParaRPr>
        </a:p>
      </dgm:t>
    </dgm:pt>
    <dgm:pt modelId="{7DCF449B-1697-4F81-93E0-BAD4EF22DB0C}" type="sibTrans" cxnId="{479EF2EA-A97C-49DD-A7C5-97691755A17B}">
      <dgm:prSet/>
      <dgm:spPr/>
      <dgm:t>
        <a:bodyPr/>
        <a:lstStyle/>
        <a:p>
          <a:endParaRPr lang="tr-TR" sz="1600">
            <a:latin typeface="Calibri" pitchFamily="34" charset="0"/>
          </a:endParaRPr>
        </a:p>
      </dgm:t>
    </dgm:pt>
    <dgm:pt modelId="{8357043E-7C11-4F9A-B4C9-8B1C2CDCF3CB}">
      <dgm:prSet phldrT="[Metin]" custT="1"/>
      <dgm:spPr>
        <a:solidFill>
          <a:schemeClr val="bg2">
            <a:alpha val="90000"/>
          </a:schemeClr>
        </a:solidFill>
      </dgm:spPr>
      <dgm:t>
        <a:bodyPr/>
        <a:lstStyle/>
        <a:p>
          <a:r>
            <a:rPr lang="tr-TR" sz="1800" b="1" dirty="0">
              <a:solidFill>
                <a:schemeClr val="bg1">
                  <a:lumMod val="10000"/>
                </a:schemeClr>
              </a:solidFill>
              <a:latin typeface="Calibri" pitchFamily="34" charset="0"/>
            </a:rPr>
            <a:t>İşletici Kuruluş Modeli</a:t>
          </a:r>
        </a:p>
      </dgm:t>
    </dgm:pt>
    <dgm:pt modelId="{E3B3E1BD-1CA7-407F-BC62-FB0174670877}" type="parTrans" cxnId="{9B9036D9-BB62-40B1-9744-A4CE983B4CC8}">
      <dgm:prSet/>
      <dgm:spPr/>
      <dgm:t>
        <a:bodyPr/>
        <a:lstStyle/>
        <a:p>
          <a:endParaRPr lang="tr-TR" sz="1600">
            <a:latin typeface="Calibri" pitchFamily="34" charset="0"/>
          </a:endParaRPr>
        </a:p>
      </dgm:t>
    </dgm:pt>
    <dgm:pt modelId="{4960066C-40D8-475D-8124-AE4BBEBDFD62}" type="sibTrans" cxnId="{9B9036D9-BB62-40B1-9744-A4CE983B4CC8}">
      <dgm:prSet/>
      <dgm:spPr/>
      <dgm:t>
        <a:bodyPr/>
        <a:lstStyle/>
        <a:p>
          <a:endParaRPr lang="tr-TR" sz="1600">
            <a:latin typeface="Calibri" pitchFamily="34" charset="0"/>
          </a:endParaRPr>
        </a:p>
      </dgm:t>
    </dgm:pt>
    <dgm:pt modelId="{F76139CC-F6CD-486F-A898-8EBDFC0AFE1E}">
      <dgm:prSet phldrT="[Metin]" custT="1"/>
      <dgm:spPr>
        <a:solidFill>
          <a:schemeClr val="bg2">
            <a:alpha val="90000"/>
          </a:schemeClr>
        </a:solidFill>
      </dgm:spPr>
      <dgm:t>
        <a:bodyPr/>
        <a:lstStyle/>
        <a:p>
          <a:r>
            <a:rPr lang="tr-TR" sz="1800" b="1" dirty="0">
              <a:solidFill>
                <a:schemeClr val="bg1">
                  <a:lumMod val="10000"/>
                </a:schemeClr>
              </a:solidFill>
              <a:latin typeface="Calibri" pitchFamily="34" charset="0"/>
            </a:rPr>
            <a:t>Proje Ortaklığı Modeli</a:t>
          </a:r>
        </a:p>
      </dgm:t>
    </dgm:pt>
    <dgm:pt modelId="{6DA41FC3-AAC0-43A9-98FC-5BD350CC7117}" type="parTrans" cxnId="{18C24BB3-8D74-4CC7-BA0B-4FFFD937D751}">
      <dgm:prSet/>
      <dgm:spPr/>
      <dgm:t>
        <a:bodyPr/>
        <a:lstStyle/>
        <a:p>
          <a:endParaRPr lang="tr-TR" sz="1600">
            <a:latin typeface="Calibri" pitchFamily="34" charset="0"/>
          </a:endParaRPr>
        </a:p>
      </dgm:t>
    </dgm:pt>
    <dgm:pt modelId="{68E5056D-9AC6-4618-8170-DF6AB47E4A73}" type="sibTrans" cxnId="{18C24BB3-8D74-4CC7-BA0B-4FFFD937D751}">
      <dgm:prSet/>
      <dgm:spPr/>
      <dgm:t>
        <a:bodyPr/>
        <a:lstStyle/>
        <a:p>
          <a:endParaRPr lang="tr-TR" sz="1600">
            <a:latin typeface="Calibri" pitchFamily="34" charset="0"/>
          </a:endParaRPr>
        </a:p>
      </dgm:t>
    </dgm:pt>
    <dgm:pt modelId="{6DE85473-2E18-41E1-B232-9958BE5EC307}">
      <dgm:prSet phldrT="[Metin]" custT="1"/>
      <dgm:spPr>
        <a:solidFill>
          <a:schemeClr val="bg2">
            <a:alpha val="90000"/>
          </a:schemeClr>
        </a:solidFill>
      </dgm:spPr>
      <dgm:t>
        <a:bodyPr/>
        <a:lstStyle/>
        <a:p>
          <a:r>
            <a:rPr lang="tr-TR" sz="1400" dirty="0">
              <a:solidFill>
                <a:schemeClr val="bg1">
                  <a:lumMod val="10000"/>
                </a:schemeClr>
              </a:solidFill>
              <a:latin typeface="Calibri" pitchFamily="34" charset="0"/>
            </a:rPr>
            <a:t>Yatırım, mülkiyet, gelir, gider veya benzeri unsurların proje ortağı işletmeler tarafından </a:t>
          </a:r>
          <a:r>
            <a:rPr lang="tr-TR" sz="1400" b="1" u="sng" dirty="0">
              <a:solidFill>
                <a:srgbClr val="FF0000"/>
              </a:solidFill>
              <a:latin typeface="Calibri" pitchFamily="34" charset="0"/>
            </a:rPr>
            <a:t>ayrı ayrı </a:t>
          </a:r>
          <a:r>
            <a:rPr lang="tr-TR" sz="1400" dirty="0">
              <a:solidFill>
                <a:schemeClr val="bg1">
                  <a:lumMod val="10000"/>
                </a:schemeClr>
              </a:solidFill>
              <a:latin typeface="Calibri" pitchFamily="34" charset="0"/>
            </a:rPr>
            <a:t>gerçekleştirileceği modeldir.</a:t>
          </a:r>
        </a:p>
      </dgm:t>
    </dgm:pt>
    <dgm:pt modelId="{D6C8C8CB-2B17-4B5B-8401-4B764C5DC91D}" type="sibTrans" cxnId="{07C4717B-CBCA-4305-998E-607FA72ED20B}">
      <dgm:prSet/>
      <dgm:spPr/>
      <dgm:t>
        <a:bodyPr/>
        <a:lstStyle/>
        <a:p>
          <a:endParaRPr lang="tr-TR" sz="1600">
            <a:latin typeface="Calibri" pitchFamily="34" charset="0"/>
          </a:endParaRPr>
        </a:p>
      </dgm:t>
    </dgm:pt>
    <dgm:pt modelId="{16C395F8-6D82-408E-9E79-BCEF77E18C74}" type="parTrans" cxnId="{07C4717B-CBCA-4305-998E-607FA72ED20B}">
      <dgm:prSet/>
      <dgm:spPr/>
      <dgm:t>
        <a:bodyPr/>
        <a:lstStyle/>
        <a:p>
          <a:endParaRPr lang="tr-TR" sz="1600">
            <a:latin typeface="Calibri" pitchFamily="34" charset="0"/>
          </a:endParaRPr>
        </a:p>
      </dgm:t>
    </dgm:pt>
    <dgm:pt modelId="{F461FD46-71B3-4E7C-84A4-5F5D43D56E2D}">
      <dgm:prSet phldrT="[Metin]" custT="1"/>
      <dgm:spPr>
        <a:solidFill>
          <a:schemeClr val="bg2">
            <a:alpha val="90000"/>
          </a:schemeClr>
        </a:solidFill>
      </dgm:spPr>
      <dgm:t>
        <a:bodyPr/>
        <a:lstStyle/>
        <a:p>
          <a:r>
            <a:rPr lang="tr-TR" sz="1400" dirty="0">
              <a:solidFill>
                <a:schemeClr val="bg1">
                  <a:lumMod val="10000"/>
                </a:schemeClr>
              </a:solidFill>
              <a:latin typeface="Calibri" pitchFamily="34" charset="0"/>
            </a:rPr>
            <a:t>Yatırım, mülkiyet, gelir, gider veya benzeri unsurların </a:t>
          </a:r>
          <a:r>
            <a:rPr lang="tr-TR" sz="1400" b="1" u="sng" dirty="0">
              <a:solidFill>
                <a:srgbClr val="FF0000"/>
              </a:solidFill>
              <a:latin typeface="Calibri" pitchFamily="34" charset="0"/>
            </a:rPr>
            <a:t>tek bir yapı tarafından </a:t>
          </a:r>
          <a:r>
            <a:rPr lang="tr-TR" sz="1400" dirty="0">
              <a:solidFill>
                <a:schemeClr val="bg1">
                  <a:lumMod val="10000"/>
                </a:schemeClr>
              </a:solidFill>
              <a:latin typeface="Calibri" pitchFamily="34" charset="0"/>
            </a:rPr>
            <a:t>gerçekleştirileceği modeldir. </a:t>
          </a:r>
        </a:p>
        <a:p>
          <a:r>
            <a:rPr lang="tr-TR" sz="1400" dirty="0">
              <a:solidFill>
                <a:schemeClr val="bg1">
                  <a:lumMod val="10000"/>
                </a:schemeClr>
              </a:solidFill>
              <a:latin typeface="Calibri" pitchFamily="34" charset="0"/>
            </a:rPr>
            <a:t>(Limited veya A.Ş.)</a:t>
          </a:r>
        </a:p>
      </dgm:t>
    </dgm:pt>
    <dgm:pt modelId="{7488F70A-3553-4CA8-B3D9-E47562FBD7F1}" type="sibTrans" cxnId="{AF197B03-8D26-4321-984E-60465FE247BB}">
      <dgm:prSet/>
      <dgm:spPr/>
      <dgm:t>
        <a:bodyPr/>
        <a:lstStyle/>
        <a:p>
          <a:endParaRPr lang="tr-TR" sz="1600">
            <a:latin typeface="Calibri" pitchFamily="34" charset="0"/>
          </a:endParaRPr>
        </a:p>
      </dgm:t>
    </dgm:pt>
    <dgm:pt modelId="{EFE3110C-983C-4458-8FF2-DF7CEFC90E2B}" type="parTrans" cxnId="{AF197B03-8D26-4321-984E-60465FE247BB}">
      <dgm:prSet/>
      <dgm:spPr/>
      <dgm:t>
        <a:bodyPr/>
        <a:lstStyle/>
        <a:p>
          <a:endParaRPr lang="tr-TR" sz="1600">
            <a:latin typeface="Calibri" pitchFamily="34" charset="0"/>
          </a:endParaRPr>
        </a:p>
      </dgm:t>
    </dgm:pt>
    <dgm:pt modelId="{CD10369A-0C84-4CD0-99C3-B49F1BCA96CC}" type="pres">
      <dgm:prSet presAssocID="{691B07ED-F55C-4052-8910-3C3DA28A7ABA}" presName="hierChild1" presStyleCnt="0">
        <dgm:presLayoutVars>
          <dgm:chPref val="1"/>
          <dgm:dir/>
          <dgm:animOne val="branch"/>
          <dgm:animLvl val="lvl"/>
          <dgm:resizeHandles/>
        </dgm:presLayoutVars>
      </dgm:prSet>
      <dgm:spPr/>
      <dgm:t>
        <a:bodyPr/>
        <a:lstStyle/>
        <a:p>
          <a:endParaRPr lang="tr-TR"/>
        </a:p>
      </dgm:t>
    </dgm:pt>
    <dgm:pt modelId="{76D70D46-FB18-428E-888C-FF2BE691C3B3}" type="pres">
      <dgm:prSet presAssocID="{1C3F8EE4-F9F5-4DF5-8218-C28FFDB720E4}" presName="hierRoot1" presStyleCnt="0"/>
      <dgm:spPr/>
    </dgm:pt>
    <dgm:pt modelId="{BFD68C78-5758-4F5B-965B-3F0842AC5158}" type="pres">
      <dgm:prSet presAssocID="{1C3F8EE4-F9F5-4DF5-8218-C28FFDB720E4}" presName="composite" presStyleCnt="0"/>
      <dgm:spPr/>
    </dgm:pt>
    <dgm:pt modelId="{705E022E-1616-4CBB-A706-F44C85DF1A5B}" type="pres">
      <dgm:prSet presAssocID="{1C3F8EE4-F9F5-4DF5-8218-C28FFDB720E4}" presName="background" presStyleLbl="node0" presStyleIdx="0" presStyleCnt="1"/>
      <dgm:spPr>
        <a:solidFill>
          <a:srgbClr val="0066FF"/>
        </a:solidFill>
      </dgm:spPr>
    </dgm:pt>
    <dgm:pt modelId="{827C8655-FCC1-423B-AFA5-98C627DD7539}" type="pres">
      <dgm:prSet presAssocID="{1C3F8EE4-F9F5-4DF5-8218-C28FFDB720E4}" presName="text" presStyleLbl="fgAcc0" presStyleIdx="0" presStyleCnt="1" custScaleX="500650" custScaleY="67889" custLinFactNeighborX="1242" custLinFactNeighborY="1955">
        <dgm:presLayoutVars>
          <dgm:chPref val="3"/>
        </dgm:presLayoutVars>
      </dgm:prSet>
      <dgm:spPr/>
      <dgm:t>
        <a:bodyPr/>
        <a:lstStyle/>
        <a:p>
          <a:endParaRPr lang="tr-TR"/>
        </a:p>
      </dgm:t>
    </dgm:pt>
    <dgm:pt modelId="{2B69944E-B0AA-4CDE-A5B6-E9BAB77CCC0A}" type="pres">
      <dgm:prSet presAssocID="{1C3F8EE4-F9F5-4DF5-8218-C28FFDB720E4}" presName="hierChild2" presStyleCnt="0"/>
      <dgm:spPr/>
    </dgm:pt>
    <dgm:pt modelId="{B4E53DD6-BC0E-44DC-B88C-9C9146D42FFB}" type="pres">
      <dgm:prSet presAssocID="{E3B3E1BD-1CA7-407F-BC62-FB0174670877}" presName="Name10" presStyleLbl="parChTrans1D2" presStyleIdx="0" presStyleCnt="2"/>
      <dgm:spPr/>
      <dgm:t>
        <a:bodyPr/>
        <a:lstStyle/>
        <a:p>
          <a:endParaRPr lang="tr-TR"/>
        </a:p>
      </dgm:t>
    </dgm:pt>
    <dgm:pt modelId="{9DB05664-2700-4B90-81DB-4C54AF534E2C}" type="pres">
      <dgm:prSet presAssocID="{8357043E-7C11-4F9A-B4C9-8B1C2CDCF3CB}" presName="hierRoot2" presStyleCnt="0"/>
      <dgm:spPr/>
    </dgm:pt>
    <dgm:pt modelId="{68D0DF56-6326-45DE-B69A-D78CF7123B33}" type="pres">
      <dgm:prSet presAssocID="{8357043E-7C11-4F9A-B4C9-8B1C2CDCF3CB}" presName="composite2" presStyleCnt="0"/>
      <dgm:spPr/>
    </dgm:pt>
    <dgm:pt modelId="{8C332BE4-2F30-456A-894B-8671D60A3ABE}" type="pres">
      <dgm:prSet presAssocID="{8357043E-7C11-4F9A-B4C9-8B1C2CDCF3CB}" presName="background2" presStyleLbl="node2" presStyleIdx="0" presStyleCnt="2"/>
      <dgm:spPr>
        <a:solidFill>
          <a:srgbClr val="FF0000"/>
        </a:solidFill>
      </dgm:spPr>
    </dgm:pt>
    <dgm:pt modelId="{27C02C90-3903-4113-8A08-E18FD00C77CE}" type="pres">
      <dgm:prSet presAssocID="{8357043E-7C11-4F9A-B4C9-8B1C2CDCF3CB}" presName="text2" presStyleLbl="fgAcc2" presStyleIdx="0" presStyleCnt="2" custScaleX="249871">
        <dgm:presLayoutVars>
          <dgm:chPref val="3"/>
        </dgm:presLayoutVars>
      </dgm:prSet>
      <dgm:spPr/>
      <dgm:t>
        <a:bodyPr/>
        <a:lstStyle/>
        <a:p>
          <a:endParaRPr lang="tr-TR"/>
        </a:p>
      </dgm:t>
    </dgm:pt>
    <dgm:pt modelId="{137A1E4D-C7C3-4CB7-B624-AD052F5852CD}" type="pres">
      <dgm:prSet presAssocID="{8357043E-7C11-4F9A-B4C9-8B1C2CDCF3CB}" presName="hierChild3" presStyleCnt="0"/>
      <dgm:spPr/>
    </dgm:pt>
    <dgm:pt modelId="{CDFE14FE-7BA4-4CB6-81AA-CD75B347861D}" type="pres">
      <dgm:prSet presAssocID="{EFE3110C-983C-4458-8FF2-DF7CEFC90E2B}" presName="Name17" presStyleLbl="parChTrans1D3" presStyleIdx="0" presStyleCnt="2"/>
      <dgm:spPr/>
      <dgm:t>
        <a:bodyPr/>
        <a:lstStyle/>
        <a:p>
          <a:endParaRPr lang="tr-TR"/>
        </a:p>
      </dgm:t>
    </dgm:pt>
    <dgm:pt modelId="{8CACEDB4-7D83-4257-BFA6-76CC410CFC9D}" type="pres">
      <dgm:prSet presAssocID="{F461FD46-71B3-4E7C-84A4-5F5D43D56E2D}" presName="hierRoot3" presStyleCnt="0"/>
      <dgm:spPr/>
    </dgm:pt>
    <dgm:pt modelId="{83C5BD2B-C6EB-40B7-8B99-C0EF26DD2B9F}" type="pres">
      <dgm:prSet presAssocID="{F461FD46-71B3-4E7C-84A4-5F5D43D56E2D}" presName="composite3" presStyleCnt="0"/>
      <dgm:spPr/>
    </dgm:pt>
    <dgm:pt modelId="{075C3D22-86E0-4798-8B7F-331B5743B14D}" type="pres">
      <dgm:prSet presAssocID="{F461FD46-71B3-4E7C-84A4-5F5D43D56E2D}" presName="background3" presStyleLbl="node3" presStyleIdx="0" presStyleCnt="2"/>
      <dgm:spPr>
        <a:solidFill>
          <a:srgbClr val="92D050"/>
        </a:solidFill>
      </dgm:spPr>
    </dgm:pt>
    <dgm:pt modelId="{E7744BC0-5330-4517-BB88-CA4DFB2C4895}" type="pres">
      <dgm:prSet presAssocID="{F461FD46-71B3-4E7C-84A4-5F5D43D56E2D}" presName="text3" presStyleLbl="fgAcc3" presStyleIdx="0" presStyleCnt="2" custScaleX="225135" custScaleY="130424">
        <dgm:presLayoutVars>
          <dgm:chPref val="3"/>
        </dgm:presLayoutVars>
      </dgm:prSet>
      <dgm:spPr/>
      <dgm:t>
        <a:bodyPr/>
        <a:lstStyle/>
        <a:p>
          <a:endParaRPr lang="tr-TR"/>
        </a:p>
      </dgm:t>
    </dgm:pt>
    <dgm:pt modelId="{C4497537-3945-4B2F-ADD1-D1892AEA8D10}" type="pres">
      <dgm:prSet presAssocID="{F461FD46-71B3-4E7C-84A4-5F5D43D56E2D}" presName="hierChild4" presStyleCnt="0"/>
      <dgm:spPr/>
    </dgm:pt>
    <dgm:pt modelId="{8F99F025-0257-4363-A93F-1406A61E833D}" type="pres">
      <dgm:prSet presAssocID="{6DA41FC3-AAC0-43A9-98FC-5BD350CC7117}" presName="Name10" presStyleLbl="parChTrans1D2" presStyleIdx="1" presStyleCnt="2"/>
      <dgm:spPr/>
      <dgm:t>
        <a:bodyPr/>
        <a:lstStyle/>
        <a:p>
          <a:endParaRPr lang="tr-TR"/>
        </a:p>
      </dgm:t>
    </dgm:pt>
    <dgm:pt modelId="{2291F636-3AAA-4E9D-B9DF-70953516328E}" type="pres">
      <dgm:prSet presAssocID="{F76139CC-F6CD-486F-A898-8EBDFC0AFE1E}" presName="hierRoot2" presStyleCnt="0"/>
      <dgm:spPr/>
    </dgm:pt>
    <dgm:pt modelId="{F1763C74-6447-47D4-BF67-E1A88CC75CB1}" type="pres">
      <dgm:prSet presAssocID="{F76139CC-F6CD-486F-A898-8EBDFC0AFE1E}" presName="composite2" presStyleCnt="0"/>
      <dgm:spPr/>
    </dgm:pt>
    <dgm:pt modelId="{939458C0-57A4-4E14-B325-C4DCE66E6C9A}" type="pres">
      <dgm:prSet presAssocID="{F76139CC-F6CD-486F-A898-8EBDFC0AFE1E}" presName="background2" presStyleLbl="node2" presStyleIdx="1" presStyleCnt="2"/>
      <dgm:spPr>
        <a:solidFill>
          <a:srgbClr val="FF0000"/>
        </a:solidFill>
      </dgm:spPr>
    </dgm:pt>
    <dgm:pt modelId="{90D36E4E-121E-4207-BC02-3108AB2C9EF9}" type="pres">
      <dgm:prSet presAssocID="{F76139CC-F6CD-486F-A898-8EBDFC0AFE1E}" presName="text2" presStyleLbl="fgAcc2" presStyleIdx="1" presStyleCnt="2" custScaleX="247874" custLinFactNeighborX="738">
        <dgm:presLayoutVars>
          <dgm:chPref val="3"/>
        </dgm:presLayoutVars>
      </dgm:prSet>
      <dgm:spPr/>
      <dgm:t>
        <a:bodyPr/>
        <a:lstStyle/>
        <a:p>
          <a:endParaRPr lang="tr-TR"/>
        </a:p>
      </dgm:t>
    </dgm:pt>
    <dgm:pt modelId="{731EE967-A1B0-4542-8CF3-87E543DA6C92}" type="pres">
      <dgm:prSet presAssocID="{F76139CC-F6CD-486F-A898-8EBDFC0AFE1E}" presName="hierChild3" presStyleCnt="0"/>
      <dgm:spPr/>
    </dgm:pt>
    <dgm:pt modelId="{F29E5091-0376-48F7-BFE7-DA5BEB6532BD}" type="pres">
      <dgm:prSet presAssocID="{16C395F8-6D82-408E-9E79-BCEF77E18C74}" presName="Name17" presStyleLbl="parChTrans1D3" presStyleIdx="1" presStyleCnt="2"/>
      <dgm:spPr/>
      <dgm:t>
        <a:bodyPr/>
        <a:lstStyle/>
        <a:p>
          <a:endParaRPr lang="tr-TR"/>
        </a:p>
      </dgm:t>
    </dgm:pt>
    <dgm:pt modelId="{9FCCCECA-33B7-430B-B476-81380A88915A}" type="pres">
      <dgm:prSet presAssocID="{6DE85473-2E18-41E1-B232-9958BE5EC307}" presName="hierRoot3" presStyleCnt="0"/>
      <dgm:spPr/>
    </dgm:pt>
    <dgm:pt modelId="{8BF7FDF3-1C40-4989-A060-ACEE3EAC6FE7}" type="pres">
      <dgm:prSet presAssocID="{6DE85473-2E18-41E1-B232-9958BE5EC307}" presName="composite3" presStyleCnt="0"/>
      <dgm:spPr/>
    </dgm:pt>
    <dgm:pt modelId="{F7497D84-A2E5-42D0-90C0-D6DED0394FF0}" type="pres">
      <dgm:prSet presAssocID="{6DE85473-2E18-41E1-B232-9958BE5EC307}" presName="background3" presStyleLbl="node3" presStyleIdx="1" presStyleCnt="2"/>
      <dgm:spPr>
        <a:solidFill>
          <a:srgbClr val="92D050"/>
        </a:solidFill>
      </dgm:spPr>
    </dgm:pt>
    <dgm:pt modelId="{55C72D8F-08EF-404D-A145-BD472A8AA963}" type="pres">
      <dgm:prSet presAssocID="{6DE85473-2E18-41E1-B232-9958BE5EC307}" presName="text3" presStyleLbl="fgAcc3" presStyleIdx="1" presStyleCnt="2" custScaleX="220299" custScaleY="130424">
        <dgm:presLayoutVars>
          <dgm:chPref val="3"/>
        </dgm:presLayoutVars>
      </dgm:prSet>
      <dgm:spPr/>
      <dgm:t>
        <a:bodyPr/>
        <a:lstStyle/>
        <a:p>
          <a:endParaRPr lang="tr-TR"/>
        </a:p>
      </dgm:t>
    </dgm:pt>
    <dgm:pt modelId="{74FBC998-721D-4CD5-BCCA-F23657122C69}" type="pres">
      <dgm:prSet presAssocID="{6DE85473-2E18-41E1-B232-9958BE5EC307}" presName="hierChild4" presStyleCnt="0"/>
      <dgm:spPr/>
    </dgm:pt>
  </dgm:ptLst>
  <dgm:cxnLst>
    <dgm:cxn modelId="{EE170816-CEB5-47E4-A61F-441F026643F1}" type="presOf" srcId="{F461FD46-71B3-4E7C-84A4-5F5D43D56E2D}" destId="{E7744BC0-5330-4517-BB88-CA4DFB2C4895}" srcOrd="0" destOrd="0" presId="urn:microsoft.com/office/officeart/2005/8/layout/hierarchy1"/>
    <dgm:cxn modelId="{9B9036D9-BB62-40B1-9744-A4CE983B4CC8}" srcId="{1C3F8EE4-F9F5-4DF5-8218-C28FFDB720E4}" destId="{8357043E-7C11-4F9A-B4C9-8B1C2CDCF3CB}" srcOrd="0" destOrd="0" parTransId="{E3B3E1BD-1CA7-407F-BC62-FB0174670877}" sibTransId="{4960066C-40D8-475D-8124-AE4BBEBDFD62}"/>
    <dgm:cxn modelId="{AE8ED257-8FB6-488E-8639-BF8FE55CC176}" type="presOf" srcId="{EFE3110C-983C-4458-8FF2-DF7CEFC90E2B}" destId="{CDFE14FE-7BA4-4CB6-81AA-CD75B347861D}" srcOrd="0" destOrd="0" presId="urn:microsoft.com/office/officeart/2005/8/layout/hierarchy1"/>
    <dgm:cxn modelId="{AF197B03-8D26-4321-984E-60465FE247BB}" srcId="{8357043E-7C11-4F9A-B4C9-8B1C2CDCF3CB}" destId="{F461FD46-71B3-4E7C-84A4-5F5D43D56E2D}" srcOrd="0" destOrd="0" parTransId="{EFE3110C-983C-4458-8FF2-DF7CEFC90E2B}" sibTransId="{7488F70A-3553-4CA8-B3D9-E47562FBD7F1}"/>
    <dgm:cxn modelId="{18C24BB3-8D74-4CC7-BA0B-4FFFD937D751}" srcId="{1C3F8EE4-F9F5-4DF5-8218-C28FFDB720E4}" destId="{F76139CC-F6CD-486F-A898-8EBDFC0AFE1E}" srcOrd="1" destOrd="0" parTransId="{6DA41FC3-AAC0-43A9-98FC-5BD350CC7117}" sibTransId="{68E5056D-9AC6-4618-8170-DF6AB47E4A73}"/>
    <dgm:cxn modelId="{325C11A5-4DA1-47FB-8A3F-DC2AB0E9FD1C}" type="presOf" srcId="{6DE85473-2E18-41E1-B232-9958BE5EC307}" destId="{55C72D8F-08EF-404D-A145-BD472A8AA963}" srcOrd="0" destOrd="0" presId="urn:microsoft.com/office/officeart/2005/8/layout/hierarchy1"/>
    <dgm:cxn modelId="{DA4432FD-98E6-445E-B5C4-D40E23BCB37D}" type="presOf" srcId="{8357043E-7C11-4F9A-B4C9-8B1C2CDCF3CB}" destId="{27C02C90-3903-4113-8A08-E18FD00C77CE}" srcOrd="0" destOrd="0" presId="urn:microsoft.com/office/officeart/2005/8/layout/hierarchy1"/>
    <dgm:cxn modelId="{07C4717B-CBCA-4305-998E-607FA72ED20B}" srcId="{F76139CC-F6CD-486F-A898-8EBDFC0AFE1E}" destId="{6DE85473-2E18-41E1-B232-9958BE5EC307}" srcOrd="0" destOrd="0" parTransId="{16C395F8-6D82-408E-9E79-BCEF77E18C74}" sibTransId="{D6C8C8CB-2B17-4B5B-8401-4B764C5DC91D}"/>
    <dgm:cxn modelId="{BB64D14E-AC59-4D64-A9BB-D617A6235C71}" type="presOf" srcId="{16C395F8-6D82-408E-9E79-BCEF77E18C74}" destId="{F29E5091-0376-48F7-BFE7-DA5BEB6532BD}" srcOrd="0" destOrd="0" presId="urn:microsoft.com/office/officeart/2005/8/layout/hierarchy1"/>
    <dgm:cxn modelId="{A8129D6D-64F4-44D3-953A-36CB6534ABC9}" type="presOf" srcId="{E3B3E1BD-1CA7-407F-BC62-FB0174670877}" destId="{B4E53DD6-BC0E-44DC-B88C-9C9146D42FFB}" srcOrd="0" destOrd="0" presId="urn:microsoft.com/office/officeart/2005/8/layout/hierarchy1"/>
    <dgm:cxn modelId="{4E03773D-185D-4330-AABE-D85FBA8AA302}" type="presOf" srcId="{1C3F8EE4-F9F5-4DF5-8218-C28FFDB720E4}" destId="{827C8655-FCC1-423B-AFA5-98C627DD7539}" srcOrd="0" destOrd="0" presId="urn:microsoft.com/office/officeart/2005/8/layout/hierarchy1"/>
    <dgm:cxn modelId="{3C202772-FE7E-414A-87DA-D5B8AD58885F}" type="presOf" srcId="{6DA41FC3-AAC0-43A9-98FC-5BD350CC7117}" destId="{8F99F025-0257-4363-A93F-1406A61E833D}" srcOrd="0" destOrd="0" presId="urn:microsoft.com/office/officeart/2005/8/layout/hierarchy1"/>
    <dgm:cxn modelId="{479EF2EA-A97C-49DD-A7C5-97691755A17B}" srcId="{691B07ED-F55C-4052-8910-3C3DA28A7ABA}" destId="{1C3F8EE4-F9F5-4DF5-8218-C28FFDB720E4}" srcOrd="0" destOrd="0" parTransId="{1EDF5F83-AD83-4699-98FF-8BEAFE5B5CDA}" sibTransId="{7DCF449B-1697-4F81-93E0-BAD4EF22DB0C}"/>
    <dgm:cxn modelId="{3E87A898-94B0-4188-932B-FD866155CEDE}" type="presOf" srcId="{691B07ED-F55C-4052-8910-3C3DA28A7ABA}" destId="{CD10369A-0C84-4CD0-99C3-B49F1BCA96CC}" srcOrd="0" destOrd="0" presId="urn:microsoft.com/office/officeart/2005/8/layout/hierarchy1"/>
    <dgm:cxn modelId="{DBA5D65E-E669-472E-8C38-66263736CF6B}" type="presOf" srcId="{F76139CC-F6CD-486F-A898-8EBDFC0AFE1E}" destId="{90D36E4E-121E-4207-BC02-3108AB2C9EF9}" srcOrd="0" destOrd="0" presId="urn:microsoft.com/office/officeart/2005/8/layout/hierarchy1"/>
    <dgm:cxn modelId="{0C757753-A37E-45E4-AD08-468EB1066B23}" type="presParOf" srcId="{CD10369A-0C84-4CD0-99C3-B49F1BCA96CC}" destId="{76D70D46-FB18-428E-888C-FF2BE691C3B3}" srcOrd="0" destOrd="0" presId="urn:microsoft.com/office/officeart/2005/8/layout/hierarchy1"/>
    <dgm:cxn modelId="{070042A3-7447-4CD4-AD40-5E48E6DEB1DB}" type="presParOf" srcId="{76D70D46-FB18-428E-888C-FF2BE691C3B3}" destId="{BFD68C78-5758-4F5B-965B-3F0842AC5158}" srcOrd="0" destOrd="0" presId="urn:microsoft.com/office/officeart/2005/8/layout/hierarchy1"/>
    <dgm:cxn modelId="{46F3B5C6-1754-444F-8C4A-44FEA01F18E6}" type="presParOf" srcId="{BFD68C78-5758-4F5B-965B-3F0842AC5158}" destId="{705E022E-1616-4CBB-A706-F44C85DF1A5B}" srcOrd="0" destOrd="0" presId="urn:microsoft.com/office/officeart/2005/8/layout/hierarchy1"/>
    <dgm:cxn modelId="{B80E457D-E406-4935-A94B-C12E7EE3BBC0}" type="presParOf" srcId="{BFD68C78-5758-4F5B-965B-3F0842AC5158}" destId="{827C8655-FCC1-423B-AFA5-98C627DD7539}" srcOrd="1" destOrd="0" presId="urn:microsoft.com/office/officeart/2005/8/layout/hierarchy1"/>
    <dgm:cxn modelId="{8D2239F9-E42B-4000-ABDF-45889F9C1B87}" type="presParOf" srcId="{76D70D46-FB18-428E-888C-FF2BE691C3B3}" destId="{2B69944E-B0AA-4CDE-A5B6-E9BAB77CCC0A}" srcOrd="1" destOrd="0" presId="urn:microsoft.com/office/officeart/2005/8/layout/hierarchy1"/>
    <dgm:cxn modelId="{C0B5DCB3-1D55-4B40-85C5-682957E5BB99}" type="presParOf" srcId="{2B69944E-B0AA-4CDE-A5B6-E9BAB77CCC0A}" destId="{B4E53DD6-BC0E-44DC-B88C-9C9146D42FFB}" srcOrd="0" destOrd="0" presId="urn:microsoft.com/office/officeart/2005/8/layout/hierarchy1"/>
    <dgm:cxn modelId="{787D8C40-4B33-4F97-8459-9B3E37B751F5}" type="presParOf" srcId="{2B69944E-B0AA-4CDE-A5B6-E9BAB77CCC0A}" destId="{9DB05664-2700-4B90-81DB-4C54AF534E2C}" srcOrd="1" destOrd="0" presId="urn:microsoft.com/office/officeart/2005/8/layout/hierarchy1"/>
    <dgm:cxn modelId="{62E61162-75F7-47EE-9E69-02E19430A130}" type="presParOf" srcId="{9DB05664-2700-4B90-81DB-4C54AF534E2C}" destId="{68D0DF56-6326-45DE-B69A-D78CF7123B33}" srcOrd="0" destOrd="0" presId="urn:microsoft.com/office/officeart/2005/8/layout/hierarchy1"/>
    <dgm:cxn modelId="{5E82B5BA-98F4-4810-92D1-6321A4F3393F}" type="presParOf" srcId="{68D0DF56-6326-45DE-B69A-D78CF7123B33}" destId="{8C332BE4-2F30-456A-894B-8671D60A3ABE}" srcOrd="0" destOrd="0" presId="urn:microsoft.com/office/officeart/2005/8/layout/hierarchy1"/>
    <dgm:cxn modelId="{7FC6FC61-AF4D-4DA6-A5C4-6E74FED6898C}" type="presParOf" srcId="{68D0DF56-6326-45DE-B69A-D78CF7123B33}" destId="{27C02C90-3903-4113-8A08-E18FD00C77CE}" srcOrd="1" destOrd="0" presId="urn:microsoft.com/office/officeart/2005/8/layout/hierarchy1"/>
    <dgm:cxn modelId="{9802DFA9-DA7D-42E3-AE64-CC2CE0274775}" type="presParOf" srcId="{9DB05664-2700-4B90-81DB-4C54AF534E2C}" destId="{137A1E4D-C7C3-4CB7-B624-AD052F5852CD}" srcOrd="1" destOrd="0" presId="urn:microsoft.com/office/officeart/2005/8/layout/hierarchy1"/>
    <dgm:cxn modelId="{E0447714-A9DC-4860-9B3C-0957AE457E82}" type="presParOf" srcId="{137A1E4D-C7C3-4CB7-B624-AD052F5852CD}" destId="{CDFE14FE-7BA4-4CB6-81AA-CD75B347861D}" srcOrd="0" destOrd="0" presId="urn:microsoft.com/office/officeart/2005/8/layout/hierarchy1"/>
    <dgm:cxn modelId="{A9E2EE10-2C45-40C4-8F0A-4A81E15A4968}" type="presParOf" srcId="{137A1E4D-C7C3-4CB7-B624-AD052F5852CD}" destId="{8CACEDB4-7D83-4257-BFA6-76CC410CFC9D}" srcOrd="1" destOrd="0" presId="urn:microsoft.com/office/officeart/2005/8/layout/hierarchy1"/>
    <dgm:cxn modelId="{D9E78A97-1261-4497-9623-13923AF951C3}" type="presParOf" srcId="{8CACEDB4-7D83-4257-BFA6-76CC410CFC9D}" destId="{83C5BD2B-C6EB-40B7-8B99-C0EF26DD2B9F}" srcOrd="0" destOrd="0" presId="urn:microsoft.com/office/officeart/2005/8/layout/hierarchy1"/>
    <dgm:cxn modelId="{30ED994B-7A1A-4BEB-ACDA-6A74CE0DC397}" type="presParOf" srcId="{83C5BD2B-C6EB-40B7-8B99-C0EF26DD2B9F}" destId="{075C3D22-86E0-4798-8B7F-331B5743B14D}" srcOrd="0" destOrd="0" presId="urn:microsoft.com/office/officeart/2005/8/layout/hierarchy1"/>
    <dgm:cxn modelId="{492ED62F-BDA0-4718-879D-321AEAECAA62}" type="presParOf" srcId="{83C5BD2B-C6EB-40B7-8B99-C0EF26DD2B9F}" destId="{E7744BC0-5330-4517-BB88-CA4DFB2C4895}" srcOrd="1" destOrd="0" presId="urn:microsoft.com/office/officeart/2005/8/layout/hierarchy1"/>
    <dgm:cxn modelId="{9FC50A2E-E2A8-4EB6-A8E9-A25B715573A9}" type="presParOf" srcId="{8CACEDB4-7D83-4257-BFA6-76CC410CFC9D}" destId="{C4497537-3945-4B2F-ADD1-D1892AEA8D10}" srcOrd="1" destOrd="0" presId="urn:microsoft.com/office/officeart/2005/8/layout/hierarchy1"/>
    <dgm:cxn modelId="{4784FC04-3D14-4A3A-A310-8A594847FD4F}" type="presParOf" srcId="{2B69944E-B0AA-4CDE-A5B6-E9BAB77CCC0A}" destId="{8F99F025-0257-4363-A93F-1406A61E833D}" srcOrd="2" destOrd="0" presId="urn:microsoft.com/office/officeart/2005/8/layout/hierarchy1"/>
    <dgm:cxn modelId="{01D0C370-DF02-4858-961A-117B65C2952F}" type="presParOf" srcId="{2B69944E-B0AA-4CDE-A5B6-E9BAB77CCC0A}" destId="{2291F636-3AAA-4E9D-B9DF-70953516328E}" srcOrd="3" destOrd="0" presId="urn:microsoft.com/office/officeart/2005/8/layout/hierarchy1"/>
    <dgm:cxn modelId="{7EF34B4B-7CBF-44A5-BBAA-068F02565221}" type="presParOf" srcId="{2291F636-3AAA-4E9D-B9DF-70953516328E}" destId="{F1763C74-6447-47D4-BF67-E1A88CC75CB1}" srcOrd="0" destOrd="0" presId="urn:microsoft.com/office/officeart/2005/8/layout/hierarchy1"/>
    <dgm:cxn modelId="{F9D984D3-785C-4427-9B55-539B4F66D10C}" type="presParOf" srcId="{F1763C74-6447-47D4-BF67-E1A88CC75CB1}" destId="{939458C0-57A4-4E14-B325-C4DCE66E6C9A}" srcOrd="0" destOrd="0" presId="urn:microsoft.com/office/officeart/2005/8/layout/hierarchy1"/>
    <dgm:cxn modelId="{102C9E7D-4F92-403C-BD90-2976F0069CD0}" type="presParOf" srcId="{F1763C74-6447-47D4-BF67-E1A88CC75CB1}" destId="{90D36E4E-121E-4207-BC02-3108AB2C9EF9}" srcOrd="1" destOrd="0" presId="urn:microsoft.com/office/officeart/2005/8/layout/hierarchy1"/>
    <dgm:cxn modelId="{6B2AA5EB-FBB8-4F48-ABF0-213FAAAA9F0C}" type="presParOf" srcId="{2291F636-3AAA-4E9D-B9DF-70953516328E}" destId="{731EE967-A1B0-4542-8CF3-87E543DA6C92}" srcOrd="1" destOrd="0" presId="urn:microsoft.com/office/officeart/2005/8/layout/hierarchy1"/>
    <dgm:cxn modelId="{F504B930-C19C-4912-9489-C142E0342A85}" type="presParOf" srcId="{731EE967-A1B0-4542-8CF3-87E543DA6C92}" destId="{F29E5091-0376-48F7-BFE7-DA5BEB6532BD}" srcOrd="0" destOrd="0" presId="urn:microsoft.com/office/officeart/2005/8/layout/hierarchy1"/>
    <dgm:cxn modelId="{3B9E0068-3805-4CCC-B1CC-EA01D0214083}" type="presParOf" srcId="{731EE967-A1B0-4542-8CF3-87E543DA6C92}" destId="{9FCCCECA-33B7-430B-B476-81380A88915A}" srcOrd="1" destOrd="0" presId="urn:microsoft.com/office/officeart/2005/8/layout/hierarchy1"/>
    <dgm:cxn modelId="{FDE2A247-4719-4513-A107-EC8E987DD807}" type="presParOf" srcId="{9FCCCECA-33B7-430B-B476-81380A88915A}" destId="{8BF7FDF3-1C40-4989-A060-ACEE3EAC6FE7}" srcOrd="0" destOrd="0" presId="urn:microsoft.com/office/officeart/2005/8/layout/hierarchy1"/>
    <dgm:cxn modelId="{5680BC38-7AAE-439A-9403-1A4A728B4371}" type="presParOf" srcId="{8BF7FDF3-1C40-4989-A060-ACEE3EAC6FE7}" destId="{F7497D84-A2E5-42D0-90C0-D6DED0394FF0}" srcOrd="0" destOrd="0" presId="urn:microsoft.com/office/officeart/2005/8/layout/hierarchy1"/>
    <dgm:cxn modelId="{DD0BC830-3542-407D-8EA9-62E3137D67FA}" type="presParOf" srcId="{8BF7FDF3-1C40-4989-A060-ACEE3EAC6FE7}" destId="{55C72D8F-08EF-404D-A145-BD472A8AA963}" srcOrd="1" destOrd="0" presId="urn:microsoft.com/office/officeart/2005/8/layout/hierarchy1"/>
    <dgm:cxn modelId="{717F2FDE-6D04-4C29-80BE-86ABE0892E65}" type="presParOf" srcId="{9FCCCECA-33B7-430B-B476-81380A88915A}" destId="{74FBC998-721D-4CD5-BCCA-F23657122C69}"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11.xml><?xml version="1.0" encoding="utf-8"?>
<dgm:dataModel xmlns:dgm="http://schemas.openxmlformats.org/drawingml/2006/diagram" xmlns:a="http://schemas.openxmlformats.org/drawingml/2006/main">
  <dgm:ptLst>
    <dgm:pt modelId="{54C62CF7-5331-4CE2-8451-40252A2020EB}" type="doc">
      <dgm:prSet loTypeId="urn:microsoft.com/office/officeart/2005/8/layout/vList5" loCatId="list" qsTypeId="urn:microsoft.com/office/officeart/2005/8/quickstyle/simple1" qsCatId="simple" csTypeId="urn:microsoft.com/office/officeart/2005/8/colors/accent5_2" csCatId="accent5" phldr="1"/>
      <dgm:spPr/>
      <dgm:t>
        <a:bodyPr/>
        <a:lstStyle/>
        <a:p>
          <a:endParaRPr lang="tr-TR"/>
        </a:p>
      </dgm:t>
    </dgm:pt>
    <dgm:pt modelId="{B021CFEA-2653-4548-8710-FFAFB35C6F23}">
      <dgm:prSet phldrT="[Metin]" custT="1"/>
      <dgm:spPr/>
      <dgm:t>
        <a:bodyPr/>
        <a:lstStyle/>
        <a:p>
          <a:r>
            <a:rPr lang="tr-TR" sz="2800" b="0" dirty="0">
              <a:latin typeface="Calibri" panose="020F0502020204030204" pitchFamily="34" charset="0"/>
            </a:rPr>
            <a:t>Proje Süresi</a:t>
          </a:r>
          <a:endParaRPr lang="tr-TR" sz="2800" dirty="0">
            <a:latin typeface="Calibri" pitchFamily="34" charset="0"/>
          </a:endParaRPr>
        </a:p>
      </dgm:t>
    </dgm:pt>
    <dgm:pt modelId="{66AB1A12-8B10-4304-860C-88AE77FE27BB}" type="parTrans" cxnId="{B679284A-4A22-4072-9DF3-B77AC06B01EB}">
      <dgm:prSet/>
      <dgm:spPr/>
      <dgm:t>
        <a:bodyPr/>
        <a:lstStyle/>
        <a:p>
          <a:endParaRPr lang="tr-TR"/>
        </a:p>
      </dgm:t>
    </dgm:pt>
    <dgm:pt modelId="{B53AF81B-AF38-43F5-83BC-F8D046EDA15E}" type="sibTrans" cxnId="{B679284A-4A22-4072-9DF3-B77AC06B01EB}">
      <dgm:prSet/>
      <dgm:spPr/>
      <dgm:t>
        <a:bodyPr/>
        <a:lstStyle/>
        <a:p>
          <a:endParaRPr lang="tr-TR"/>
        </a:p>
      </dgm:t>
    </dgm:pt>
    <dgm:pt modelId="{C8DF7D27-77CB-4CCC-8189-2CD0E8749C03}">
      <dgm:prSet phldrT="[Metin]" custT="1"/>
      <dgm:spPr/>
      <dgm:t>
        <a:bodyPr/>
        <a:lstStyle/>
        <a:p>
          <a:pPr algn="just"/>
          <a:r>
            <a:rPr lang="tr-TR" sz="2400" b="0" smtClean="0">
              <a:latin typeface="Calibri" panose="020F0502020204030204" pitchFamily="34" charset="0"/>
            </a:rPr>
            <a:t>Proje süresi asgari 12 ay, azami 36 ay</a:t>
          </a:r>
          <a:endParaRPr lang="tr-TR" sz="2400" dirty="0">
            <a:latin typeface="Calibri" pitchFamily="34" charset="0"/>
          </a:endParaRPr>
        </a:p>
      </dgm:t>
    </dgm:pt>
    <dgm:pt modelId="{A4F8E2C4-C626-4E01-8BAE-21626DCF455C}" type="parTrans" cxnId="{1C1ADABF-A853-435D-8D4E-3735F03ECDD7}">
      <dgm:prSet/>
      <dgm:spPr/>
      <dgm:t>
        <a:bodyPr/>
        <a:lstStyle/>
        <a:p>
          <a:endParaRPr lang="tr-TR"/>
        </a:p>
      </dgm:t>
    </dgm:pt>
    <dgm:pt modelId="{5170BF6A-27D2-43EA-95ED-A55C25291E52}" type="sibTrans" cxnId="{1C1ADABF-A853-435D-8D4E-3735F03ECDD7}">
      <dgm:prSet/>
      <dgm:spPr/>
      <dgm:t>
        <a:bodyPr/>
        <a:lstStyle/>
        <a:p>
          <a:endParaRPr lang="tr-TR"/>
        </a:p>
      </dgm:t>
    </dgm:pt>
    <dgm:pt modelId="{074211E7-37C1-4038-89F2-5A22A85AE3EA}">
      <dgm:prSet phldrT="[Metin]" custT="1"/>
      <dgm:spPr/>
      <dgm:t>
        <a:bodyPr/>
        <a:lstStyle/>
        <a:p>
          <a:r>
            <a:rPr lang="tr-TR" sz="2800" b="0" smtClean="0">
              <a:latin typeface="Calibri" pitchFamily="34" charset="0"/>
            </a:rPr>
            <a:t>Destek Oranı </a:t>
          </a:r>
          <a:endParaRPr lang="tr-TR" sz="2800" dirty="0">
            <a:latin typeface="Calibri" pitchFamily="34" charset="0"/>
          </a:endParaRPr>
        </a:p>
      </dgm:t>
    </dgm:pt>
    <dgm:pt modelId="{61220F5D-5348-49DE-B55D-7C9118C630CC}" type="parTrans" cxnId="{60D5D643-B815-42F7-830C-A10FCCF2EECB}">
      <dgm:prSet/>
      <dgm:spPr/>
      <dgm:t>
        <a:bodyPr/>
        <a:lstStyle/>
        <a:p>
          <a:endParaRPr lang="tr-TR"/>
        </a:p>
      </dgm:t>
    </dgm:pt>
    <dgm:pt modelId="{B94676B5-0256-4461-A7FA-AC1F3915E3A9}" type="sibTrans" cxnId="{60D5D643-B815-42F7-830C-A10FCCF2EECB}">
      <dgm:prSet/>
      <dgm:spPr/>
      <dgm:t>
        <a:bodyPr/>
        <a:lstStyle/>
        <a:p>
          <a:endParaRPr lang="tr-TR"/>
        </a:p>
      </dgm:t>
    </dgm:pt>
    <dgm:pt modelId="{0484A475-5810-4842-ADDB-6562249B6A71}">
      <dgm:prSet phldrT="[Metin]" custT="1"/>
      <dgm:spPr/>
      <dgm:t>
        <a:bodyPr/>
        <a:lstStyle/>
        <a:p>
          <a:pPr algn="just"/>
          <a:r>
            <a:rPr lang="tr-TR" sz="2400" dirty="0">
              <a:latin typeface="Calibri" pitchFamily="34" charset="0"/>
            </a:rPr>
            <a:t>Programın destek oranı %60</a:t>
          </a:r>
        </a:p>
      </dgm:t>
    </dgm:pt>
    <dgm:pt modelId="{56D6D303-A74B-49D4-B7D3-0F829B87CC2B}" type="parTrans" cxnId="{E62ADF0C-E3D3-4DC5-BE12-F63917C3D914}">
      <dgm:prSet/>
      <dgm:spPr/>
      <dgm:t>
        <a:bodyPr/>
        <a:lstStyle/>
        <a:p>
          <a:endParaRPr lang="tr-TR"/>
        </a:p>
      </dgm:t>
    </dgm:pt>
    <dgm:pt modelId="{0AD3F60B-B904-4563-808A-9BA32F665F4D}" type="sibTrans" cxnId="{E62ADF0C-E3D3-4DC5-BE12-F63917C3D914}">
      <dgm:prSet/>
      <dgm:spPr/>
      <dgm:t>
        <a:bodyPr/>
        <a:lstStyle/>
        <a:p>
          <a:endParaRPr lang="tr-TR"/>
        </a:p>
      </dgm:t>
    </dgm:pt>
    <dgm:pt modelId="{9280DB82-D31C-4ACA-B2B4-5C017A41B7EC}">
      <dgm:prSet phldrT="[Metin]" custT="1"/>
      <dgm:spPr/>
      <dgm:t>
        <a:bodyPr/>
        <a:lstStyle/>
        <a:p>
          <a:pPr algn="just"/>
          <a:r>
            <a:rPr lang="tr-TR" sz="2400" dirty="0">
              <a:latin typeface="Calibri" pitchFamily="34" charset="0"/>
            </a:rPr>
            <a:t>%30 Geri Ödemesiz - %70 Geri Ödemeli</a:t>
          </a:r>
        </a:p>
      </dgm:t>
    </dgm:pt>
    <dgm:pt modelId="{1A859A55-0D54-480E-A35A-F24C2E95033D}" type="parTrans" cxnId="{473C26CB-FDC7-4382-9A75-5B2688FCD851}">
      <dgm:prSet/>
      <dgm:spPr/>
      <dgm:t>
        <a:bodyPr/>
        <a:lstStyle/>
        <a:p>
          <a:endParaRPr lang="tr-TR"/>
        </a:p>
      </dgm:t>
    </dgm:pt>
    <dgm:pt modelId="{CF9B727D-654C-436F-B744-32580877D858}" type="sibTrans" cxnId="{473C26CB-FDC7-4382-9A75-5B2688FCD851}">
      <dgm:prSet/>
      <dgm:spPr/>
      <dgm:t>
        <a:bodyPr/>
        <a:lstStyle/>
        <a:p>
          <a:endParaRPr lang="tr-TR"/>
        </a:p>
      </dgm:t>
    </dgm:pt>
    <dgm:pt modelId="{C14FAE47-806C-4122-9C1F-64F693EB32D6}">
      <dgm:prSet phldrT="[Metin]" custT="1"/>
      <dgm:spPr/>
      <dgm:t>
        <a:bodyPr/>
        <a:lstStyle/>
        <a:p>
          <a:pPr algn="just"/>
          <a:endParaRPr lang="tr-TR" sz="2400" dirty="0">
            <a:latin typeface="Calibri" pitchFamily="34" charset="0"/>
          </a:endParaRPr>
        </a:p>
      </dgm:t>
    </dgm:pt>
    <dgm:pt modelId="{BEF54FDD-86C9-4F31-B4EF-E2CB91BDF02E}" type="parTrans" cxnId="{507F016E-85DB-43D6-B3FA-706F04B35D54}">
      <dgm:prSet/>
      <dgm:spPr/>
      <dgm:t>
        <a:bodyPr/>
        <a:lstStyle/>
        <a:p>
          <a:endParaRPr lang="tr-TR"/>
        </a:p>
      </dgm:t>
    </dgm:pt>
    <dgm:pt modelId="{488600FB-4EF9-41BA-9948-F1234858F80C}" type="sibTrans" cxnId="{507F016E-85DB-43D6-B3FA-706F04B35D54}">
      <dgm:prSet/>
      <dgm:spPr/>
      <dgm:t>
        <a:bodyPr/>
        <a:lstStyle/>
        <a:p>
          <a:endParaRPr lang="tr-TR"/>
        </a:p>
      </dgm:t>
    </dgm:pt>
    <dgm:pt modelId="{974CE99E-75B4-45D3-91C1-25906BB8E7F2}">
      <dgm:prSet phldrT="[Metin]" custT="1"/>
      <dgm:spPr/>
      <dgm:t>
        <a:bodyPr/>
        <a:lstStyle/>
        <a:p>
          <a:pPr algn="just"/>
          <a:r>
            <a:rPr lang="tr-TR" sz="2400" b="0" smtClean="0">
              <a:latin typeface="Calibri" panose="020F0502020204030204" pitchFamily="34" charset="0"/>
            </a:rPr>
            <a:t>Proje süresi 4 ayın katları şeklinde olmalı. </a:t>
          </a:r>
          <a:endParaRPr lang="tr-TR" sz="2400" b="0" dirty="0">
            <a:latin typeface="Calibri" panose="020F0502020204030204" pitchFamily="34" charset="0"/>
          </a:endParaRPr>
        </a:p>
      </dgm:t>
    </dgm:pt>
    <dgm:pt modelId="{B2546070-F223-4705-8719-993935296648}" type="parTrans" cxnId="{1C9BFCF1-F48E-4758-BEB0-673B23F188DB}">
      <dgm:prSet/>
      <dgm:spPr/>
      <dgm:t>
        <a:bodyPr/>
        <a:lstStyle/>
        <a:p>
          <a:endParaRPr lang="tr-TR"/>
        </a:p>
      </dgm:t>
    </dgm:pt>
    <dgm:pt modelId="{3AA749B3-07FE-4BDF-B179-7A84CF478B00}" type="sibTrans" cxnId="{1C9BFCF1-F48E-4758-BEB0-673B23F188DB}">
      <dgm:prSet/>
      <dgm:spPr/>
      <dgm:t>
        <a:bodyPr/>
        <a:lstStyle/>
        <a:p>
          <a:endParaRPr lang="tr-TR"/>
        </a:p>
      </dgm:t>
    </dgm:pt>
    <dgm:pt modelId="{BDC7BC3A-3F81-4ABC-B39C-B2700AC2ABCF}" type="pres">
      <dgm:prSet presAssocID="{54C62CF7-5331-4CE2-8451-40252A2020EB}" presName="Name0" presStyleCnt="0">
        <dgm:presLayoutVars>
          <dgm:dir/>
          <dgm:animLvl val="lvl"/>
          <dgm:resizeHandles val="exact"/>
        </dgm:presLayoutVars>
      </dgm:prSet>
      <dgm:spPr/>
      <dgm:t>
        <a:bodyPr/>
        <a:lstStyle/>
        <a:p>
          <a:endParaRPr lang="tr-TR"/>
        </a:p>
      </dgm:t>
    </dgm:pt>
    <dgm:pt modelId="{60472FB9-4480-4A91-A87B-3C9B7CDD9348}" type="pres">
      <dgm:prSet presAssocID="{B021CFEA-2653-4548-8710-FFAFB35C6F23}" presName="linNode" presStyleCnt="0"/>
      <dgm:spPr/>
      <dgm:t>
        <a:bodyPr/>
        <a:lstStyle/>
        <a:p>
          <a:endParaRPr lang="tr-TR"/>
        </a:p>
      </dgm:t>
    </dgm:pt>
    <dgm:pt modelId="{5C54D709-48DE-405E-8FC3-E6346EFDA2A5}" type="pres">
      <dgm:prSet presAssocID="{B021CFEA-2653-4548-8710-FFAFB35C6F23}" presName="parentText" presStyleLbl="node1" presStyleIdx="0" presStyleCnt="2" custScaleX="62347" custLinFactNeighborX="-1764" custLinFactNeighborY="-152">
        <dgm:presLayoutVars>
          <dgm:chMax val="1"/>
          <dgm:bulletEnabled val="1"/>
        </dgm:presLayoutVars>
      </dgm:prSet>
      <dgm:spPr/>
      <dgm:t>
        <a:bodyPr/>
        <a:lstStyle/>
        <a:p>
          <a:endParaRPr lang="tr-TR"/>
        </a:p>
      </dgm:t>
    </dgm:pt>
    <dgm:pt modelId="{2B7AC877-37E4-45AF-BB7E-52D57AB79D1A}" type="pres">
      <dgm:prSet presAssocID="{B021CFEA-2653-4548-8710-FFAFB35C6F23}" presName="descendantText" presStyleLbl="alignAccFollowNode1" presStyleIdx="0" presStyleCnt="2" custScaleX="114197" custScaleY="116796" custLinFactNeighborX="-1388">
        <dgm:presLayoutVars>
          <dgm:bulletEnabled val="1"/>
        </dgm:presLayoutVars>
      </dgm:prSet>
      <dgm:spPr/>
      <dgm:t>
        <a:bodyPr/>
        <a:lstStyle/>
        <a:p>
          <a:endParaRPr lang="tr-TR"/>
        </a:p>
      </dgm:t>
    </dgm:pt>
    <dgm:pt modelId="{DBBB8F10-4711-4D99-B87A-7ADDF91E6D4E}" type="pres">
      <dgm:prSet presAssocID="{B53AF81B-AF38-43F5-83BC-F8D046EDA15E}" presName="sp" presStyleCnt="0"/>
      <dgm:spPr/>
      <dgm:t>
        <a:bodyPr/>
        <a:lstStyle/>
        <a:p>
          <a:endParaRPr lang="tr-TR"/>
        </a:p>
      </dgm:t>
    </dgm:pt>
    <dgm:pt modelId="{22AA9D49-F26C-41E5-AF4B-4F89CCCD85C5}" type="pres">
      <dgm:prSet presAssocID="{074211E7-37C1-4038-89F2-5A22A85AE3EA}" presName="linNode" presStyleCnt="0"/>
      <dgm:spPr/>
      <dgm:t>
        <a:bodyPr/>
        <a:lstStyle/>
        <a:p>
          <a:endParaRPr lang="tr-TR"/>
        </a:p>
      </dgm:t>
    </dgm:pt>
    <dgm:pt modelId="{25C3030C-3BD1-4F57-9614-CF0AADF13148}" type="pres">
      <dgm:prSet presAssocID="{074211E7-37C1-4038-89F2-5A22A85AE3EA}" presName="parentText" presStyleLbl="node1" presStyleIdx="1" presStyleCnt="2" custScaleX="62347" custLinFactNeighborX="-1764" custLinFactNeighborY="-1563">
        <dgm:presLayoutVars>
          <dgm:chMax val="1"/>
          <dgm:bulletEnabled val="1"/>
        </dgm:presLayoutVars>
      </dgm:prSet>
      <dgm:spPr/>
      <dgm:t>
        <a:bodyPr/>
        <a:lstStyle/>
        <a:p>
          <a:endParaRPr lang="tr-TR"/>
        </a:p>
      </dgm:t>
    </dgm:pt>
    <dgm:pt modelId="{BEAA693D-2B42-4285-819E-F40C80399D53}" type="pres">
      <dgm:prSet presAssocID="{074211E7-37C1-4038-89F2-5A22A85AE3EA}" presName="descendantText" presStyleLbl="alignAccFollowNode1" presStyleIdx="1" presStyleCnt="2" custScaleX="114197" custScaleY="120069">
        <dgm:presLayoutVars>
          <dgm:bulletEnabled val="1"/>
        </dgm:presLayoutVars>
      </dgm:prSet>
      <dgm:spPr/>
      <dgm:t>
        <a:bodyPr/>
        <a:lstStyle/>
        <a:p>
          <a:endParaRPr lang="tr-TR"/>
        </a:p>
      </dgm:t>
    </dgm:pt>
  </dgm:ptLst>
  <dgm:cxnLst>
    <dgm:cxn modelId="{E62ADF0C-E3D3-4DC5-BE12-F63917C3D914}" srcId="{074211E7-37C1-4038-89F2-5A22A85AE3EA}" destId="{0484A475-5810-4842-ADDB-6562249B6A71}" srcOrd="0" destOrd="0" parTransId="{56D6D303-A74B-49D4-B7D3-0F829B87CC2B}" sibTransId="{0AD3F60B-B904-4563-808A-9BA32F665F4D}"/>
    <dgm:cxn modelId="{3E925555-8842-4A1F-A46A-3C36A77182DC}" type="presOf" srcId="{C14FAE47-806C-4122-9C1F-64F693EB32D6}" destId="{BEAA693D-2B42-4285-819E-F40C80399D53}" srcOrd="0" destOrd="1" presId="urn:microsoft.com/office/officeart/2005/8/layout/vList5"/>
    <dgm:cxn modelId="{87A432B8-BC27-4E4D-9C33-5F121034A916}" type="presOf" srcId="{C8DF7D27-77CB-4CCC-8189-2CD0E8749C03}" destId="{2B7AC877-37E4-45AF-BB7E-52D57AB79D1A}" srcOrd="0" destOrd="0" presId="urn:microsoft.com/office/officeart/2005/8/layout/vList5"/>
    <dgm:cxn modelId="{1C9BFCF1-F48E-4758-BEB0-673B23F188DB}" srcId="{B021CFEA-2653-4548-8710-FFAFB35C6F23}" destId="{974CE99E-75B4-45D3-91C1-25906BB8E7F2}" srcOrd="1" destOrd="0" parTransId="{B2546070-F223-4705-8719-993935296648}" sibTransId="{3AA749B3-07FE-4BDF-B179-7A84CF478B00}"/>
    <dgm:cxn modelId="{FF7A535B-D565-4C7C-BC09-4D27D31769B5}" type="presOf" srcId="{54C62CF7-5331-4CE2-8451-40252A2020EB}" destId="{BDC7BC3A-3F81-4ABC-B39C-B2700AC2ABCF}" srcOrd="0" destOrd="0" presId="urn:microsoft.com/office/officeart/2005/8/layout/vList5"/>
    <dgm:cxn modelId="{38D69547-BF2F-4C10-ABB1-11DDCA7EE985}" type="presOf" srcId="{974CE99E-75B4-45D3-91C1-25906BB8E7F2}" destId="{2B7AC877-37E4-45AF-BB7E-52D57AB79D1A}" srcOrd="0" destOrd="1" presId="urn:microsoft.com/office/officeart/2005/8/layout/vList5"/>
    <dgm:cxn modelId="{B679284A-4A22-4072-9DF3-B77AC06B01EB}" srcId="{54C62CF7-5331-4CE2-8451-40252A2020EB}" destId="{B021CFEA-2653-4548-8710-FFAFB35C6F23}" srcOrd="0" destOrd="0" parTransId="{66AB1A12-8B10-4304-860C-88AE77FE27BB}" sibTransId="{B53AF81B-AF38-43F5-83BC-F8D046EDA15E}"/>
    <dgm:cxn modelId="{61955FA7-8018-48FD-AF38-D7C10A260B53}" type="presOf" srcId="{0484A475-5810-4842-ADDB-6562249B6A71}" destId="{BEAA693D-2B42-4285-819E-F40C80399D53}" srcOrd="0" destOrd="0" presId="urn:microsoft.com/office/officeart/2005/8/layout/vList5"/>
    <dgm:cxn modelId="{9890F294-FD4D-4C4F-9906-12575F30A01A}" type="presOf" srcId="{9280DB82-D31C-4ACA-B2B4-5C017A41B7EC}" destId="{BEAA693D-2B42-4285-819E-F40C80399D53}" srcOrd="0" destOrd="2" presId="urn:microsoft.com/office/officeart/2005/8/layout/vList5"/>
    <dgm:cxn modelId="{473C26CB-FDC7-4382-9A75-5B2688FCD851}" srcId="{074211E7-37C1-4038-89F2-5A22A85AE3EA}" destId="{9280DB82-D31C-4ACA-B2B4-5C017A41B7EC}" srcOrd="2" destOrd="0" parTransId="{1A859A55-0D54-480E-A35A-F24C2E95033D}" sibTransId="{CF9B727D-654C-436F-B744-32580877D858}"/>
    <dgm:cxn modelId="{507F016E-85DB-43D6-B3FA-706F04B35D54}" srcId="{074211E7-37C1-4038-89F2-5A22A85AE3EA}" destId="{C14FAE47-806C-4122-9C1F-64F693EB32D6}" srcOrd="1" destOrd="0" parTransId="{BEF54FDD-86C9-4F31-B4EF-E2CB91BDF02E}" sibTransId="{488600FB-4EF9-41BA-9948-F1234858F80C}"/>
    <dgm:cxn modelId="{1C1ADABF-A853-435D-8D4E-3735F03ECDD7}" srcId="{B021CFEA-2653-4548-8710-FFAFB35C6F23}" destId="{C8DF7D27-77CB-4CCC-8189-2CD0E8749C03}" srcOrd="0" destOrd="0" parTransId="{A4F8E2C4-C626-4E01-8BAE-21626DCF455C}" sibTransId="{5170BF6A-27D2-43EA-95ED-A55C25291E52}"/>
    <dgm:cxn modelId="{60D5D643-B815-42F7-830C-A10FCCF2EECB}" srcId="{54C62CF7-5331-4CE2-8451-40252A2020EB}" destId="{074211E7-37C1-4038-89F2-5A22A85AE3EA}" srcOrd="1" destOrd="0" parTransId="{61220F5D-5348-49DE-B55D-7C9118C630CC}" sibTransId="{B94676B5-0256-4461-A7FA-AC1F3915E3A9}"/>
    <dgm:cxn modelId="{51A0147A-E7AC-4E30-8DB3-609BA4FEBDF8}" type="presOf" srcId="{B021CFEA-2653-4548-8710-FFAFB35C6F23}" destId="{5C54D709-48DE-405E-8FC3-E6346EFDA2A5}" srcOrd="0" destOrd="0" presId="urn:microsoft.com/office/officeart/2005/8/layout/vList5"/>
    <dgm:cxn modelId="{A15E2A54-1A85-4813-87E7-CFDA6EE0F02D}" type="presOf" srcId="{074211E7-37C1-4038-89F2-5A22A85AE3EA}" destId="{25C3030C-3BD1-4F57-9614-CF0AADF13148}" srcOrd="0" destOrd="0" presId="urn:microsoft.com/office/officeart/2005/8/layout/vList5"/>
    <dgm:cxn modelId="{124BC984-BF68-41DA-8DBA-11BE976565E1}" type="presParOf" srcId="{BDC7BC3A-3F81-4ABC-B39C-B2700AC2ABCF}" destId="{60472FB9-4480-4A91-A87B-3C9B7CDD9348}" srcOrd="0" destOrd="0" presId="urn:microsoft.com/office/officeart/2005/8/layout/vList5"/>
    <dgm:cxn modelId="{2B2B92A2-FDE8-41A3-9EF8-06D99C342E8B}" type="presParOf" srcId="{60472FB9-4480-4A91-A87B-3C9B7CDD9348}" destId="{5C54D709-48DE-405E-8FC3-E6346EFDA2A5}" srcOrd="0" destOrd="0" presId="urn:microsoft.com/office/officeart/2005/8/layout/vList5"/>
    <dgm:cxn modelId="{EDA3060E-8691-4647-B745-DA0A376F7708}" type="presParOf" srcId="{60472FB9-4480-4A91-A87B-3C9B7CDD9348}" destId="{2B7AC877-37E4-45AF-BB7E-52D57AB79D1A}" srcOrd="1" destOrd="0" presId="urn:microsoft.com/office/officeart/2005/8/layout/vList5"/>
    <dgm:cxn modelId="{5CFB8AC0-A399-41C4-9AC6-3FDC6843EE66}" type="presParOf" srcId="{BDC7BC3A-3F81-4ABC-B39C-B2700AC2ABCF}" destId="{DBBB8F10-4711-4D99-B87A-7ADDF91E6D4E}" srcOrd="1" destOrd="0" presId="urn:microsoft.com/office/officeart/2005/8/layout/vList5"/>
    <dgm:cxn modelId="{2898FD89-B5C8-44C0-8728-20166AB39116}" type="presParOf" srcId="{BDC7BC3A-3F81-4ABC-B39C-B2700AC2ABCF}" destId="{22AA9D49-F26C-41E5-AF4B-4F89CCCD85C5}" srcOrd="2" destOrd="0" presId="urn:microsoft.com/office/officeart/2005/8/layout/vList5"/>
    <dgm:cxn modelId="{21BACBEE-DB4D-451C-A4DE-ADC963B0DCDF}" type="presParOf" srcId="{22AA9D49-F26C-41E5-AF4B-4F89CCCD85C5}" destId="{25C3030C-3BD1-4F57-9614-CF0AADF13148}" srcOrd="0" destOrd="0" presId="urn:microsoft.com/office/officeart/2005/8/layout/vList5"/>
    <dgm:cxn modelId="{F29A2468-B07D-4382-967A-E27E3B00AFC7}" type="presParOf" srcId="{22AA9D49-F26C-41E5-AF4B-4F89CCCD85C5}" destId="{BEAA693D-2B42-4285-819E-F40C80399D5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835D8C4-5376-4A23-8B5F-3152319FCFAC}" type="doc">
      <dgm:prSet loTypeId="urn:microsoft.com/office/officeart/2005/8/layout/vList2" loCatId="list" qsTypeId="urn:microsoft.com/office/officeart/2005/8/quickstyle/3d4" qsCatId="3D" csTypeId="urn:microsoft.com/office/officeart/2005/8/colors/accent1_2" csCatId="accent1" phldr="1"/>
      <dgm:spPr/>
      <dgm:t>
        <a:bodyPr/>
        <a:lstStyle/>
        <a:p>
          <a:endParaRPr lang="tr-TR"/>
        </a:p>
      </dgm:t>
    </dgm:pt>
    <dgm:pt modelId="{3BFDC946-D8A8-47FB-97ED-02BC23B25474}">
      <dgm:prSet phldrT="[Metin]" custT="1"/>
      <dgm:spPr>
        <a:solidFill>
          <a:srgbClr val="FF0000"/>
        </a:solidFill>
      </dgm:spPr>
      <dgm:t>
        <a:bodyPr/>
        <a:lstStyle/>
        <a:p>
          <a:pPr algn="l"/>
          <a:r>
            <a:rPr lang="tr-TR" sz="2400" b="1" dirty="0">
              <a:solidFill>
                <a:schemeClr val="bg1">
                  <a:lumMod val="10000"/>
                </a:schemeClr>
              </a:solidFill>
              <a:latin typeface="Calibri" pitchFamily="34" charset="0"/>
            </a:rPr>
            <a:t>Personel Giderleri (geri ödemesiz)</a:t>
          </a:r>
        </a:p>
      </dgm:t>
    </dgm:pt>
    <dgm:pt modelId="{1E652E2B-874E-4517-8EA8-F74B3030A920}" type="parTrans" cxnId="{1CC65685-AFA4-49B6-9035-6C9A7F35ACF6}">
      <dgm:prSet/>
      <dgm:spPr/>
      <dgm:t>
        <a:bodyPr/>
        <a:lstStyle/>
        <a:p>
          <a:endParaRPr lang="tr-TR">
            <a:solidFill>
              <a:schemeClr val="bg1">
                <a:lumMod val="10000"/>
              </a:schemeClr>
            </a:solidFill>
          </a:endParaRPr>
        </a:p>
      </dgm:t>
    </dgm:pt>
    <dgm:pt modelId="{D02247B0-4B8F-4D56-9331-A6E0DD3478C5}" type="sibTrans" cxnId="{1CC65685-AFA4-49B6-9035-6C9A7F35ACF6}">
      <dgm:prSet/>
      <dgm:spPr/>
      <dgm:t>
        <a:bodyPr/>
        <a:lstStyle/>
        <a:p>
          <a:endParaRPr lang="tr-TR">
            <a:solidFill>
              <a:schemeClr val="bg1">
                <a:lumMod val="10000"/>
              </a:schemeClr>
            </a:solidFill>
          </a:endParaRPr>
        </a:p>
      </dgm:t>
    </dgm:pt>
    <dgm:pt modelId="{E9C9E4B0-AACB-402E-93EE-45DAE7443B35}">
      <dgm:prSet phldrT="[Metin]" custT="1"/>
      <dgm:spPr>
        <a:solidFill>
          <a:srgbClr val="FF3300"/>
        </a:solidFill>
      </dgm:spPr>
      <dgm:t>
        <a:bodyPr/>
        <a:lstStyle/>
        <a:p>
          <a:pPr algn="l"/>
          <a:r>
            <a:rPr lang="tr-TR" sz="2400" b="1" dirty="0">
              <a:solidFill>
                <a:schemeClr val="bg1">
                  <a:lumMod val="10000"/>
                </a:schemeClr>
              </a:solidFill>
              <a:latin typeface="Calibri" pitchFamily="34" charset="0"/>
            </a:rPr>
            <a:t>Makine, Teçhizat, Kalıp</a:t>
          </a:r>
        </a:p>
      </dgm:t>
    </dgm:pt>
    <dgm:pt modelId="{58D5A9E4-09C8-492D-8940-08BF5ABCDB2B}" type="parTrans" cxnId="{23093DF2-C377-4212-9C1E-DB0800B2DFE4}">
      <dgm:prSet/>
      <dgm:spPr/>
      <dgm:t>
        <a:bodyPr/>
        <a:lstStyle/>
        <a:p>
          <a:endParaRPr lang="tr-TR">
            <a:solidFill>
              <a:schemeClr val="bg1">
                <a:lumMod val="10000"/>
              </a:schemeClr>
            </a:solidFill>
          </a:endParaRPr>
        </a:p>
      </dgm:t>
    </dgm:pt>
    <dgm:pt modelId="{9B7932C0-2E7C-43CB-ABA7-EA7C939C44E5}" type="sibTrans" cxnId="{23093DF2-C377-4212-9C1E-DB0800B2DFE4}">
      <dgm:prSet/>
      <dgm:spPr/>
      <dgm:t>
        <a:bodyPr/>
        <a:lstStyle/>
        <a:p>
          <a:endParaRPr lang="tr-TR">
            <a:solidFill>
              <a:schemeClr val="bg1">
                <a:lumMod val="10000"/>
              </a:schemeClr>
            </a:solidFill>
          </a:endParaRPr>
        </a:p>
      </dgm:t>
    </dgm:pt>
    <dgm:pt modelId="{A880F068-EE74-4FD2-9B8C-F1E836902954}">
      <dgm:prSet phldrT="[Metin]" custT="1"/>
      <dgm:spPr>
        <a:solidFill>
          <a:schemeClr val="bg2"/>
        </a:solidFill>
      </dgm:spPr>
      <dgm:t>
        <a:bodyPr/>
        <a:lstStyle/>
        <a:p>
          <a:pPr algn="l"/>
          <a:r>
            <a:rPr lang="tr-TR" sz="2400" b="1" dirty="0">
              <a:solidFill>
                <a:schemeClr val="bg1">
                  <a:lumMod val="10000"/>
                </a:schemeClr>
              </a:solidFill>
              <a:latin typeface="Calibri" pitchFamily="34" charset="0"/>
            </a:rPr>
            <a:t>Diğer Giderler (Proje ile ilgili olmak koşuluyla)</a:t>
          </a:r>
        </a:p>
      </dgm:t>
    </dgm:pt>
    <dgm:pt modelId="{5DE53E0E-0F3E-4DCB-924F-E633CF182566}" type="parTrans" cxnId="{4BCA11BF-2E54-4ADA-B8BA-8B1A2E374660}">
      <dgm:prSet/>
      <dgm:spPr/>
      <dgm:t>
        <a:bodyPr/>
        <a:lstStyle/>
        <a:p>
          <a:endParaRPr lang="tr-TR">
            <a:solidFill>
              <a:schemeClr val="bg1">
                <a:lumMod val="10000"/>
              </a:schemeClr>
            </a:solidFill>
          </a:endParaRPr>
        </a:p>
      </dgm:t>
    </dgm:pt>
    <dgm:pt modelId="{C301A670-B535-42F6-ACC3-B14E2821DC5A}" type="sibTrans" cxnId="{4BCA11BF-2E54-4ADA-B8BA-8B1A2E374660}">
      <dgm:prSet/>
      <dgm:spPr/>
      <dgm:t>
        <a:bodyPr/>
        <a:lstStyle/>
        <a:p>
          <a:endParaRPr lang="tr-TR">
            <a:solidFill>
              <a:schemeClr val="bg1">
                <a:lumMod val="10000"/>
              </a:schemeClr>
            </a:solidFill>
          </a:endParaRPr>
        </a:p>
      </dgm:t>
    </dgm:pt>
    <dgm:pt modelId="{4C144DFD-F5B1-48CF-A89C-74B86C17630A}">
      <dgm:prSet phldrT="[Metin]" custT="1"/>
      <dgm:spPr>
        <a:solidFill>
          <a:srgbClr val="FFFFCC"/>
        </a:solidFill>
      </dgm:spPr>
      <dgm:t>
        <a:bodyPr/>
        <a:lstStyle/>
        <a:p>
          <a:pPr algn="l"/>
          <a:r>
            <a:rPr lang="tr-TR" sz="2400" b="1" dirty="0">
              <a:solidFill>
                <a:schemeClr val="bg1">
                  <a:lumMod val="10000"/>
                </a:schemeClr>
              </a:solidFill>
              <a:latin typeface="Calibri" pitchFamily="34" charset="0"/>
            </a:rPr>
            <a:t>Hizmet Alımı</a:t>
          </a:r>
        </a:p>
      </dgm:t>
    </dgm:pt>
    <dgm:pt modelId="{5B9E1B72-B992-4ABA-B008-3AAAC7308E16}" type="parTrans" cxnId="{ADD6538F-5CB9-4327-9CDF-4C43443E93FE}">
      <dgm:prSet/>
      <dgm:spPr/>
      <dgm:t>
        <a:bodyPr/>
        <a:lstStyle/>
        <a:p>
          <a:endParaRPr lang="tr-TR">
            <a:solidFill>
              <a:schemeClr val="bg1">
                <a:lumMod val="10000"/>
              </a:schemeClr>
            </a:solidFill>
          </a:endParaRPr>
        </a:p>
      </dgm:t>
    </dgm:pt>
    <dgm:pt modelId="{D384B203-EE35-45D3-BB58-110467BF4EE8}" type="sibTrans" cxnId="{ADD6538F-5CB9-4327-9CDF-4C43443E93FE}">
      <dgm:prSet/>
      <dgm:spPr/>
      <dgm:t>
        <a:bodyPr/>
        <a:lstStyle/>
        <a:p>
          <a:endParaRPr lang="tr-TR">
            <a:solidFill>
              <a:schemeClr val="bg1">
                <a:lumMod val="10000"/>
              </a:schemeClr>
            </a:solidFill>
          </a:endParaRPr>
        </a:p>
      </dgm:t>
    </dgm:pt>
    <dgm:pt modelId="{437831E3-2E99-44E3-9C67-99566EA7D042}">
      <dgm:prSet phldrT="[Metin]" custT="1"/>
      <dgm:spPr>
        <a:solidFill>
          <a:srgbClr val="FF9933"/>
        </a:solidFill>
      </dgm:spPr>
      <dgm:t>
        <a:bodyPr/>
        <a:lstStyle/>
        <a:p>
          <a:pPr algn="l"/>
          <a:r>
            <a:rPr lang="tr-TR" sz="2400" b="1" dirty="0">
              <a:solidFill>
                <a:schemeClr val="bg1">
                  <a:lumMod val="10000"/>
                </a:schemeClr>
              </a:solidFill>
              <a:latin typeface="Calibri" pitchFamily="34" charset="0"/>
            </a:rPr>
            <a:t>Hammadde, Malzeme Giderleri </a:t>
          </a:r>
        </a:p>
      </dgm:t>
    </dgm:pt>
    <dgm:pt modelId="{C1416394-58B6-4FAA-A659-BD187DBBD990}" type="sibTrans" cxnId="{41E1CE18-F7AC-4A5C-B290-A88B84662C86}">
      <dgm:prSet/>
      <dgm:spPr/>
      <dgm:t>
        <a:bodyPr/>
        <a:lstStyle/>
        <a:p>
          <a:endParaRPr lang="tr-TR">
            <a:solidFill>
              <a:schemeClr val="bg1">
                <a:lumMod val="10000"/>
              </a:schemeClr>
            </a:solidFill>
          </a:endParaRPr>
        </a:p>
      </dgm:t>
    </dgm:pt>
    <dgm:pt modelId="{39EEC844-4BE9-469F-8F21-02AE643814BC}" type="parTrans" cxnId="{41E1CE18-F7AC-4A5C-B290-A88B84662C86}">
      <dgm:prSet/>
      <dgm:spPr/>
      <dgm:t>
        <a:bodyPr/>
        <a:lstStyle/>
        <a:p>
          <a:endParaRPr lang="tr-TR">
            <a:solidFill>
              <a:schemeClr val="bg1">
                <a:lumMod val="10000"/>
              </a:schemeClr>
            </a:solidFill>
          </a:endParaRPr>
        </a:p>
      </dgm:t>
    </dgm:pt>
    <dgm:pt modelId="{FA58AE6E-2FAB-4DA1-9CC6-6D7E4D58418A}">
      <dgm:prSet custT="1"/>
      <dgm:spPr/>
      <dgm:t>
        <a:bodyPr/>
        <a:lstStyle/>
        <a:p>
          <a:r>
            <a:rPr lang="tr-TR" sz="2400" b="1" dirty="0">
              <a:solidFill>
                <a:schemeClr val="bg1">
                  <a:lumMod val="10000"/>
                </a:schemeClr>
              </a:solidFill>
              <a:latin typeface="Calibri" pitchFamily="34" charset="0"/>
            </a:rPr>
            <a:t>Yazılım Giderleri</a:t>
          </a:r>
        </a:p>
      </dgm:t>
    </dgm:pt>
    <dgm:pt modelId="{3E5A2C8A-2403-4456-9435-A6D010392F77}" type="sibTrans" cxnId="{EE7165AB-8EF3-472B-B65E-57CAA9E88DE6}">
      <dgm:prSet/>
      <dgm:spPr/>
      <dgm:t>
        <a:bodyPr/>
        <a:lstStyle/>
        <a:p>
          <a:endParaRPr lang="tr-TR"/>
        </a:p>
      </dgm:t>
    </dgm:pt>
    <dgm:pt modelId="{A50BFE0D-8035-48B9-81C4-069BD2CB8370}" type="parTrans" cxnId="{EE7165AB-8EF3-472B-B65E-57CAA9E88DE6}">
      <dgm:prSet/>
      <dgm:spPr/>
      <dgm:t>
        <a:bodyPr/>
        <a:lstStyle/>
        <a:p>
          <a:endParaRPr lang="tr-TR"/>
        </a:p>
      </dgm:t>
    </dgm:pt>
    <dgm:pt modelId="{61D21BA6-4581-408E-8669-6D72612B58C9}" type="pres">
      <dgm:prSet presAssocID="{D835D8C4-5376-4A23-8B5F-3152319FCFAC}" presName="linear" presStyleCnt="0">
        <dgm:presLayoutVars>
          <dgm:animLvl val="lvl"/>
          <dgm:resizeHandles val="exact"/>
        </dgm:presLayoutVars>
      </dgm:prSet>
      <dgm:spPr/>
      <dgm:t>
        <a:bodyPr/>
        <a:lstStyle/>
        <a:p>
          <a:endParaRPr lang="tr-TR"/>
        </a:p>
      </dgm:t>
    </dgm:pt>
    <dgm:pt modelId="{49E5BCC2-FCCB-4A82-9A71-6000F0A232B3}" type="pres">
      <dgm:prSet presAssocID="{3BFDC946-D8A8-47FB-97ED-02BC23B25474}" presName="parentText" presStyleLbl="node1" presStyleIdx="0" presStyleCnt="6">
        <dgm:presLayoutVars>
          <dgm:chMax val="0"/>
          <dgm:bulletEnabled val="1"/>
        </dgm:presLayoutVars>
      </dgm:prSet>
      <dgm:spPr/>
      <dgm:t>
        <a:bodyPr/>
        <a:lstStyle/>
        <a:p>
          <a:endParaRPr lang="tr-TR"/>
        </a:p>
      </dgm:t>
    </dgm:pt>
    <dgm:pt modelId="{C4E6ED42-07D1-4CCB-9766-6EB400EB5030}" type="pres">
      <dgm:prSet presAssocID="{D02247B0-4B8F-4D56-9331-A6E0DD3478C5}" presName="spacer" presStyleCnt="0"/>
      <dgm:spPr/>
    </dgm:pt>
    <dgm:pt modelId="{BA67D316-CDA7-43A2-AE63-EE48BD4D21C3}" type="pres">
      <dgm:prSet presAssocID="{E9C9E4B0-AACB-402E-93EE-45DAE7443B35}" presName="parentText" presStyleLbl="node1" presStyleIdx="1" presStyleCnt="6" custLinFactNeighborX="1081">
        <dgm:presLayoutVars>
          <dgm:chMax val="0"/>
          <dgm:bulletEnabled val="1"/>
        </dgm:presLayoutVars>
      </dgm:prSet>
      <dgm:spPr/>
      <dgm:t>
        <a:bodyPr/>
        <a:lstStyle/>
        <a:p>
          <a:endParaRPr lang="tr-TR"/>
        </a:p>
      </dgm:t>
    </dgm:pt>
    <dgm:pt modelId="{9E4D7301-07F1-4A1C-84FE-82955DE64DEB}" type="pres">
      <dgm:prSet presAssocID="{9B7932C0-2E7C-43CB-ABA7-EA7C939C44E5}" presName="spacer" presStyleCnt="0"/>
      <dgm:spPr/>
    </dgm:pt>
    <dgm:pt modelId="{2593CB94-C1B4-470A-9B5A-2899CB10D1D4}" type="pres">
      <dgm:prSet presAssocID="{437831E3-2E99-44E3-9C67-99566EA7D042}" presName="parentText" presStyleLbl="node1" presStyleIdx="2" presStyleCnt="6">
        <dgm:presLayoutVars>
          <dgm:chMax val="0"/>
          <dgm:bulletEnabled val="1"/>
        </dgm:presLayoutVars>
      </dgm:prSet>
      <dgm:spPr/>
      <dgm:t>
        <a:bodyPr/>
        <a:lstStyle/>
        <a:p>
          <a:endParaRPr lang="tr-TR"/>
        </a:p>
      </dgm:t>
    </dgm:pt>
    <dgm:pt modelId="{7CC41CBB-984C-4B85-9CB4-6B1D79D49ACC}" type="pres">
      <dgm:prSet presAssocID="{C1416394-58B6-4FAA-A659-BD187DBBD990}" presName="spacer" presStyleCnt="0"/>
      <dgm:spPr/>
    </dgm:pt>
    <dgm:pt modelId="{6DA14E91-66C8-437A-A28F-71AED739CE91}" type="pres">
      <dgm:prSet presAssocID="{FA58AE6E-2FAB-4DA1-9CC6-6D7E4D58418A}" presName="parentText" presStyleLbl="node1" presStyleIdx="3" presStyleCnt="6" custLinFactNeighborX="-16407" custLinFactNeighborY="21395">
        <dgm:presLayoutVars>
          <dgm:chMax val="0"/>
          <dgm:bulletEnabled val="1"/>
        </dgm:presLayoutVars>
      </dgm:prSet>
      <dgm:spPr/>
      <dgm:t>
        <a:bodyPr/>
        <a:lstStyle/>
        <a:p>
          <a:endParaRPr lang="tr-TR"/>
        </a:p>
      </dgm:t>
    </dgm:pt>
    <dgm:pt modelId="{45D8822D-CB88-4E47-83D6-BEBED71C5B74}" type="pres">
      <dgm:prSet presAssocID="{3E5A2C8A-2403-4456-9435-A6D010392F77}" presName="spacer" presStyleCnt="0"/>
      <dgm:spPr/>
    </dgm:pt>
    <dgm:pt modelId="{269F93E3-47A1-41F8-AFC1-0241C99F4931}" type="pres">
      <dgm:prSet presAssocID="{4C144DFD-F5B1-48CF-A89C-74B86C17630A}" presName="parentText" presStyleLbl="node1" presStyleIdx="4" presStyleCnt="6" custLinFactNeighborX="-239" custLinFactNeighborY="-7889">
        <dgm:presLayoutVars>
          <dgm:chMax val="0"/>
          <dgm:bulletEnabled val="1"/>
        </dgm:presLayoutVars>
      </dgm:prSet>
      <dgm:spPr/>
      <dgm:t>
        <a:bodyPr/>
        <a:lstStyle/>
        <a:p>
          <a:endParaRPr lang="tr-TR"/>
        </a:p>
      </dgm:t>
    </dgm:pt>
    <dgm:pt modelId="{E2A7C8DB-B187-4AE3-B6C5-8949044E3612}" type="pres">
      <dgm:prSet presAssocID="{D384B203-EE35-45D3-BB58-110467BF4EE8}" presName="spacer" presStyleCnt="0"/>
      <dgm:spPr/>
    </dgm:pt>
    <dgm:pt modelId="{D698BA4B-1295-42A7-B147-44EDD69A8B71}" type="pres">
      <dgm:prSet presAssocID="{A880F068-EE74-4FD2-9B8C-F1E836902954}" presName="parentText" presStyleLbl="node1" presStyleIdx="5" presStyleCnt="6">
        <dgm:presLayoutVars>
          <dgm:chMax val="0"/>
          <dgm:bulletEnabled val="1"/>
        </dgm:presLayoutVars>
      </dgm:prSet>
      <dgm:spPr/>
      <dgm:t>
        <a:bodyPr/>
        <a:lstStyle/>
        <a:p>
          <a:endParaRPr lang="tr-TR"/>
        </a:p>
      </dgm:t>
    </dgm:pt>
  </dgm:ptLst>
  <dgm:cxnLst>
    <dgm:cxn modelId="{F6D42BDB-FF01-4DB8-97FA-69F483BBD2D7}" type="presOf" srcId="{E9C9E4B0-AACB-402E-93EE-45DAE7443B35}" destId="{BA67D316-CDA7-43A2-AE63-EE48BD4D21C3}" srcOrd="0" destOrd="0" presId="urn:microsoft.com/office/officeart/2005/8/layout/vList2"/>
    <dgm:cxn modelId="{23093DF2-C377-4212-9C1E-DB0800B2DFE4}" srcId="{D835D8C4-5376-4A23-8B5F-3152319FCFAC}" destId="{E9C9E4B0-AACB-402E-93EE-45DAE7443B35}" srcOrd="1" destOrd="0" parTransId="{58D5A9E4-09C8-492D-8940-08BF5ABCDB2B}" sibTransId="{9B7932C0-2E7C-43CB-ABA7-EA7C939C44E5}"/>
    <dgm:cxn modelId="{D3429D9A-6332-42A1-A8D1-F697BDDFDAD5}" type="presOf" srcId="{D835D8C4-5376-4A23-8B5F-3152319FCFAC}" destId="{61D21BA6-4581-408E-8669-6D72612B58C9}" srcOrd="0" destOrd="0" presId="urn:microsoft.com/office/officeart/2005/8/layout/vList2"/>
    <dgm:cxn modelId="{ADD6538F-5CB9-4327-9CDF-4C43443E93FE}" srcId="{D835D8C4-5376-4A23-8B5F-3152319FCFAC}" destId="{4C144DFD-F5B1-48CF-A89C-74B86C17630A}" srcOrd="4" destOrd="0" parTransId="{5B9E1B72-B992-4ABA-B008-3AAAC7308E16}" sibTransId="{D384B203-EE35-45D3-BB58-110467BF4EE8}"/>
    <dgm:cxn modelId="{1CC65685-AFA4-49B6-9035-6C9A7F35ACF6}" srcId="{D835D8C4-5376-4A23-8B5F-3152319FCFAC}" destId="{3BFDC946-D8A8-47FB-97ED-02BC23B25474}" srcOrd="0" destOrd="0" parTransId="{1E652E2B-874E-4517-8EA8-F74B3030A920}" sibTransId="{D02247B0-4B8F-4D56-9331-A6E0DD3478C5}"/>
    <dgm:cxn modelId="{0CE0230E-67EE-457B-BB24-2E192B9697A0}" type="presOf" srcId="{A880F068-EE74-4FD2-9B8C-F1E836902954}" destId="{D698BA4B-1295-42A7-B147-44EDD69A8B71}" srcOrd="0" destOrd="0" presId="urn:microsoft.com/office/officeart/2005/8/layout/vList2"/>
    <dgm:cxn modelId="{D1CDDA93-17D1-482D-8E9A-FCB2053B4C66}" type="presOf" srcId="{FA58AE6E-2FAB-4DA1-9CC6-6D7E4D58418A}" destId="{6DA14E91-66C8-437A-A28F-71AED739CE91}" srcOrd="0" destOrd="0" presId="urn:microsoft.com/office/officeart/2005/8/layout/vList2"/>
    <dgm:cxn modelId="{4BCA11BF-2E54-4ADA-B8BA-8B1A2E374660}" srcId="{D835D8C4-5376-4A23-8B5F-3152319FCFAC}" destId="{A880F068-EE74-4FD2-9B8C-F1E836902954}" srcOrd="5" destOrd="0" parTransId="{5DE53E0E-0F3E-4DCB-924F-E633CF182566}" sibTransId="{C301A670-B535-42F6-ACC3-B14E2821DC5A}"/>
    <dgm:cxn modelId="{EE7165AB-8EF3-472B-B65E-57CAA9E88DE6}" srcId="{D835D8C4-5376-4A23-8B5F-3152319FCFAC}" destId="{FA58AE6E-2FAB-4DA1-9CC6-6D7E4D58418A}" srcOrd="3" destOrd="0" parTransId="{A50BFE0D-8035-48B9-81C4-069BD2CB8370}" sibTransId="{3E5A2C8A-2403-4456-9435-A6D010392F77}"/>
    <dgm:cxn modelId="{D76474F8-2B5F-4063-ABB1-72669D6EF8C0}" type="presOf" srcId="{437831E3-2E99-44E3-9C67-99566EA7D042}" destId="{2593CB94-C1B4-470A-9B5A-2899CB10D1D4}" srcOrd="0" destOrd="0" presId="urn:microsoft.com/office/officeart/2005/8/layout/vList2"/>
    <dgm:cxn modelId="{41E1CE18-F7AC-4A5C-B290-A88B84662C86}" srcId="{D835D8C4-5376-4A23-8B5F-3152319FCFAC}" destId="{437831E3-2E99-44E3-9C67-99566EA7D042}" srcOrd="2" destOrd="0" parTransId="{39EEC844-4BE9-469F-8F21-02AE643814BC}" sibTransId="{C1416394-58B6-4FAA-A659-BD187DBBD990}"/>
    <dgm:cxn modelId="{D1284CC5-0998-4D66-A5F2-DA562378FB16}" type="presOf" srcId="{3BFDC946-D8A8-47FB-97ED-02BC23B25474}" destId="{49E5BCC2-FCCB-4A82-9A71-6000F0A232B3}" srcOrd="0" destOrd="0" presId="urn:microsoft.com/office/officeart/2005/8/layout/vList2"/>
    <dgm:cxn modelId="{A49D3435-08E0-41EB-8B3F-1EEEC37837AC}" type="presOf" srcId="{4C144DFD-F5B1-48CF-A89C-74B86C17630A}" destId="{269F93E3-47A1-41F8-AFC1-0241C99F4931}" srcOrd="0" destOrd="0" presId="urn:microsoft.com/office/officeart/2005/8/layout/vList2"/>
    <dgm:cxn modelId="{806D70B8-1ADC-4FD5-8F95-CA9A659D8DE9}" type="presParOf" srcId="{61D21BA6-4581-408E-8669-6D72612B58C9}" destId="{49E5BCC2-FCCB-4A82-9A71-6000F0A232B3}" srcOrd="0" destOrd="0" presId="urn:microsoft.com/office/officeart/2005/8/layout/vList2"/>
    <dgm:cxn modelId="{50F19A78-877D-490C-A1DD-7B9AD17D28D0}" type="presParOf" srcId="{61D21BA6-4581-408E-8669-6D72612B58C9}" destId="{C4E6ED42-07D1-4CCB-9766-6EB400EB5030}" srcOrd="1" destOrd="0" presId="urn:microsoft.com/office/officeart/2005/8/layout/vList2"/>
    <dgm:cxn modelId="{5126C8B2-37E3-4E32-B069-D22861575C17}" type="presParOf" srcId="{61D21BA6-4581-408E-8669-6D72612B58C9}" destId="{BA67D316-CDA7-43A2-AE63-EE48BD4D21C3}" srcOrd="2" destOrd="0" presId="urn:microsoft.com/office/officeart/2005/8/layout/vList2"/>
    <dgm:cxn modelId="{9BD6DC5A-79C7-4A85-A8BB-A683D7502881}" type="presParOf" srcId="{61D21BA6-4581-408E-8669-6D72612B58C9}" destId="{9E4D7301-07F1-4A1C-84FE-82955DE64DEB}" srcOrd="3" destOrd="0" presId="urn:microsoft.com/office/officeart/2005/8/layout/vList2"/>
    <dgm:cxn modelId="{77DD3D1E-C159-4ECF-87C6-35485222B7BC}" type="presParOf" srcId="{61D21BA6-4581-408E-8669-6D72612B58C9}" destId="{2593CB94-C1B4-470A-9B5A-2899CB10D1D4}" srcOrd="4" destOrd="0" presId="urn:microsoft.com/office/officeart/2005/8/layout/vList2"/>
    <dgm:cxn modelId="{CB04E311-F189-426C-9C78-8C9EAD59B6A6}" type="presParOf" srcId="{61D21BA6-4581-408E-8669-6D72612B58C9}" destId="{7CC41CBB-984C-4B85-9CB4-6B1D79D49ACC}" srcOrd="5" destOrd="0" presId="urn:microsoft.com/office/officeart/2005/8/layout/vList2"/>
    <dgm:cxn modelId="{7638DB94-F2D9-42F9-886D-148FD2FF8312}" type="presParOf" srcId="{61D21BA6-4581-408E-8669-6D72612B58C9}" destId="{6DA14E91-66C8-437A-A28F-71AED739CE91}" srcOrd="6" destOrd="0" presId="urn:microsoft.com/office/officeart/2005/8/layout/vList2"/>
    <dgm:cxn modelId="{AB0B4D76-C946-47AA-A6F4-B90EDD552B40}" type="presParOf" srcId="{61D21BA6-4581-408E-8669-6D72612B58C9}" destId="{45D8822D-CB88-4E47-83D6-BEBED71C5B74}" srcOrd="7" destOrd="0" presId="urn:microsoft.com/office/officeart/2005/8/layout/vList2"/>
    <dgm:cxn modelId="{0E8BED1E-A1FC-4A95-9A1E-57F4DCA1728D}" type="presParOf" srcId="{61D21BA6-4581-408E-8669-6D72612B58C9}" destId="{269F93E3-47A1-41F8-AFC1-0241C99F4931}" srcOrd="8" destOrd="0" presId="urn:microsoft.com/office/officeart/2005/8/layout/vList2"/>
    <dgm:cxn modelId="{9DB874BF-2DEE-4132-9D2A-6831889E220A}" type="presParOf" srcId="{61D21BA6-4581-408E-8669-6D72612B58C9}" destId="{E2A7C8DB-B187-4AE3-B6C5-8949044E3612}" srcOrd="9" destOrd="0" presId="urn:microsoft.com/office/officeart/2005/8/layout/vList2"/>
    <dgm:cxn modelId="{C494A4E3-F34D-485A-ABBF-3B44F597503B}" type="presParOf" srcId="{61D21BA6-4581-408E-8669-6D72612B58C9}" destId="{D698BA4B-1295-42A7-B147-44EDD69A8B71}"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D217ED4-7198-413E-93F7-3578C3D18B2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tr-TR"/>
        </a:p>
      </dgm:t>
    </dgm:pt>
    <dgm:pt modelId="{74945AE8-85B8-4A4C-AFBD-8FD18D8021F7}">
      <dgm:prSet phldrT="[Metin]" custT="1"/>
      <dgm:spPr/>
      <dgm:t>
        <a:bodyPr/>
        <a:lstStyle/>
        <a:p>
          <a:r>
            <a:rPr lang="tr-TR" sz="2400" b="1" dirty="0">
              <a:latin typeface="Calibri" panose="020F0502020204030204" pitchFamily="34" charset="0"/>
              <a:cs typeface="Calibri" panose="020F0502020204030204" pitchFamily="34" charset="0"/>
            </a:rPr>
            <a:t>Personel Gideri</a:t>
          </a:r>
        </a:p>
        <a:p>
          <a:r>
            <a:rPr lang="tr-TR" sz="2400" i="1" u="none" dirty="0">
              <a:latin typeface="Calibri" panose="020F0502020204030204" pitchFamily="34" charset="0"/>
              <a:cs typeface="Calibri" panose="020F0502020204030204" pitchFamily="34" charset="0"/>
            </a:rPr>
            <a:t>(Üst Limit: 90.000 TL)</a:t>
          </a:r>
        </a:p>
      </dgm:t>
    </dgm:pt>
    <dgm:pt modelId="{4C3E70A3-673D-4ECC-98B0-C3C771ED63D1}" type="parTrans" cxnId="{5AAB7347-4133-434B-93EC-DF3368ED32A6}">
      <dgm:prSet/>
      <dgm:spPr/>
      <dgm:t>
        <a:bodyPr/>
        <a:lstStyle/>
        <a:p>
          <a:endParaRPr lang="tr-TR"/>
        </a:p>
      </dgm:t>
    </dgm:pt>
    <dgm:pt modelId="{F89DDD73-52E9-4F89-A5E0-1C665AE0209C}" type="sibTrans" cxnId="{5AAB7347-4133-434B-93EC-DF3368ED32A6}">
      <dgm:prSet/>
      <dgm:spPr/>
      <dgm:t>
        <a:bodyPr/>
        <a:lstStyle/>
        <a:p>
          <a:endParaRPr lang="tr-TR"/>
        </a:p>
      </dgm:t>
    </dgm:pt>
    <dgm:pt modelId="{C8B55294-A00C-48C9-8588-7FF0B4B623C4}">
      <dgm:prSet phldrT="[Metin]" custT="1"/>
      <dgm:spPr/>
      <dgm:t>
        <a:bodyPr/>
        <a:lstStyle/>
        <a:p>
          <a:pPr algn="just"/>
          <a:r>
            <a:rPr lang="tr-TR" sz="1600" dirty="0">
              <a:latin typeface="Calibri" panose="020F0502020204030204" pitchFamily="34" charset="0"/>
              <a:cs typeface="Calibri" panose="020F0502020204030204" pitchFamily="34" charset="0"/>
            </a:rPr>
            <a:t>Yeni istihdam edilecek personel için destek verilir.</a:t>
          </a:r>
        </a:p>
      </dgm:t>
    </dgm:pt>
    <dgm:pt modelId="{AE747049-87E0-4951-A872-AB1B2720961E}" type="parTrans" cxnId="{111955F4-ACEE-489B-B5F3-8418EE95EBBF}">
      <dgm:prSet/>
      <dgm:spPr/>
      <dgm:t>
        <a:bodyPr/>
        <a:lstStyle/>
        <a:p>
          <a:endParaRPr lang="tr-TR"/>
        </a:p>
      </dgm:t>
    </dgm:pt>
    <dgm:pt modelId="{2260A5E9-59D4-4672-9767-580344E0B695}" type="sibTrans" cxnId="{111955F4-ACEE-489B-B5F3-8418EE95EBBF}">
      <dgm:prSet/>
      <dgm:spPr/>
      <dgm:t>
        <a:bodyPr/>
        <a:lstStyle/>
        <a:p>
          <a:endParaRPr lang="tr-TR"/>
        </a:p>
      </dgm:t>
    </dgm:pt>
    <dgm:pt modelId="{17F0B00C-4B89-4B8F-AE24-E374FAB10195}">
      <dgm:prSet phldrT="[Metin]" custT="1"/>
      <dgm:spPr/>
      <dgm:t>
        <a:bodyPr/>
        <a:lstStyle/>
        <a:p>
          <a:pPr algn="just"/>
          <a:r>
            <a:rPr lang="tr-TR" sz="1600" dirty="0">
              <a:latin typeface="Calibri" panose="020F0502020204030204" pitchFamily="34" charset="0"/>
              <a:cs typeface="Calibri" panose="020F0502020204030204" pitchFamily="34" charset="0"/>
            </a:rPr>
            <a:t>E</a:t>
          </a:r>
          <a:r>
            <a:rPr lang="sv-SE" sz="1600" dirty="0">
              <a:latin typeface="Calibri" panose="020F0502020204030204" pitchFamily="34" charset="0"/>
              <a:cs typeface="Calibri" panose="020F0502020204030204" pitchFamily="34" charset="0"/>
            </a:rPr>
            <a:t>n fazla </a:t>
          </a:r>
          <a:r>
            <a:rPr lang="tr-TR" sz="1600" dirty="0">
              <a:latin typeface="Calibri" panose="020F0502020204030204" pitchFamily="34" charset="0"/>
              <a:cs typeface="Calibri" panose="020F0502020204030204" pitchFamily="34" charset="0"/>
            </a:rPr>
            <a:t>2</a:t>
          </a:r>
          <a:r>
            <a:rPr lang="sv-SE" sz="1600" dirty="0">
              <a:latin typeface="Calibri" panose="020F0502020204030204" pitchFamily="34" charset="0"/>
              <a:cs typeface="Calibri" panose="020F0502020204030204" pitchFamily="34" charset="0"/>
            </a:rPr>
            <a:t> (</a:t>
          </a:r>
          <a:r>
            <a:rPr lang="tr-TR" sz="1600" dirty="0">
              <a:latin typeface="Calibri" panose="020F0502020204030204" pitchFamily="34" charset="0"/>
              <a:cs typeface="Calibri" panose="020F0502020204030204" pitchFamily="34" charset="0"/>
            </a:rPr>
            <a:t>iki</a:t>
          </a:r>
          <a:r>
            <a:rPr lang="sv-SE" sz="1600" dirty="0">
              <a:latin typeface="Calibri" panose="020F0502020204030204" pitchFamily="34" charset="0"/>
              <a:cs typeface="Calibri" panose="020F0502020204030204" pitchFamily="34" charset="0"/>
            </a:rPr>
            <a:t>) personel için destek verilebilir</a:t>
          </a:r>
          <a:r>
            <a:rPr lang="tr-TR" sz="1600" dirty="0">
              <a:latin typeface="Calibri" panose="020F0502020204030204" pitchFamily="34" charset="0"/>
              <a:cs typeface="Calibri" panose="020F0502020204030204" pitchFamily="34" charset="0"/>
            </a:rPr>
            <a:t>.</a:t>
          </a:r>
        </a:p>
      </dgm:t>
    </dgm:pt>
    <dgm:pt modelId="{8F52D6B4-3813-42F0-87C4-A0AFD8D177CF}" type="parTrans" cxnId="{9550942A-896B-4D6A-A509-16FB21150147}">
      <dgm:prSet/>
      <dgm:spPr/>
      <dgm:t>
        <a:bodyPr/>
        <a:lstStyle/>
        <a:p>
          <a:endParaRPr lang="tr-TR"/>
        </a:p>
      </dgm:t>
    </dgm:pt>
    <dgm:pt modelId="{3FC8606A-D997-4421-8B86-F1F1B35A6ED4}" type="sibTrans" cxnId="{9550942A-896B-4D6A-A509-16FB21150147}">
      <dgm:prSet/>
      <dgm:spPr/>
      <dgm:t>
        <a:bodyPr/>
        <a:lstStyle/>
        <a:p>
          <a:endParaRPr lang="tr-TR"/>
        </a:p>
      </dgm:t>
    </dgm:pt>
    <dgm:pt modelId="{9A47A6A6-F96B-4945-A979-B91C21B53F4C}">
      <dgm:prSet phldrT="[Metin]" custT="1"/>
      <dgm:spPr/>
      <dgm:t>
        <a:bodyPr/>
        <a:lstStyle/>
        <a:p>
          <a:pPr marL="0" lvl="0" algn="ctr" defTabSz="1066800">
            <a:lnSpc>
              <a:spcPct val="90000"/>
            </a:lnSpc>
            <a:spcBef>
              <a:spcPct val="0"/>
            </a:spcBef>
            <a:spcAft>
              <a:spcPct val="35000"/>
            </a:spcAft>
            <a:buNone/>
          </a:pPr>
          <a:r>
            <a:rPr lang="tr-TR" sz="2400" b="1" kern="1200" dirty="0">
              <a:solidFill>
                <a:prstClr val="white"/>
              </a:solidFill>
              <a:latin typeface="Calibri" panose="020F0502020204030204" pitchFamily="34" charset="0"/>
              <a:ea typeface="+mn-ea"/>
              <a:cs typeface="Calibri" panose="020F0502020204030204" pitchFamily="34" charset="0"/>
            </a:rPr>
            <a:t>Yazılım ve Donanım Giderleri </a:t>
          </a:r>
        </a:p>
        <a:p>
          <a:pPr marL="0" lvl="0" algn="ctr" defTabSz="1066800">
            <a:lnSpc>
              <a:spcPct val="90000"/>
            </a:lnSpc>
            <a:spcBef>
              <a:spcPct val="0"/>
            </a:spcBef>
            <a:spcAft>
              <a:spcPct val="35000"/>
            </a:spcAft>
            <a:buNone/>
          </a:pPr>
          <a:r>
            <a:rPr lang="tr-TR" sz="2400" b="1" kern="1200" dirty="0">
              <a:solidFill>
                <a:prstClr val="white"/>
              </a:solidFill>
              <a:latin typeface="Calibri" panose="020F0502020204030204" pitchFamily="34" charset="0"/>
              <a:ea typeface="+mn-ea"/>
              <a:cs typeface="Calibri" panose="020F0502020204030204" pitchFamily="34" charset="0"/>
            </a:rPr>
            <a:t>(Üst Limit: 100.000 TL)</a:t>
          </a:r>
        </a:p>
      </dgm:t>
    </dgm:pt>
    <dgm:pt modelId="{339AC710-6157-49B3-A068-3E7E06D575CD}" type="parTrans" cxnId="{18F2AFE8-4E39-45CE-A8DE-CE5096F3BCAE}">
      <dgm:prSet/>
      <dgm:spPr/>
      <dgm:t>
        <a:bodyPr/>
        <a:lstStyle/>
        <a:p>
          <a:endParaRPr lang="tr-TR"/>
        </a:p>
      </dgm:t>
    </dgm:pt>
    <dgm:pt modelId="{85C4FA71-5E5C-4DA2-B059-A6D475EDEF30}" type="sibTrans" cxnId="{18F2AFE8-4E39-45CE-A8DE-CE5096F3BCAE}">
      <dgm:prSet/>
      <dgm:spPr/>
      <dgm:t>
        <a:bodyPr/>
        <a:lstStyle/>
        <a:p>
          <a:endParaRPr lang="tr-TR"/>
        </a:p>
      </dgm:t>
    </dgm:pt>
    <dgm:pt modelId="{5DDD7D38-F2BC-4142-A878-ECD5A9320F1E}">
      <dgm:prSet phldrT="[Metin]" custT="1"/>
      <dgm:spPr/>
      <dgm:t>
        <a:bodyPr/>
        <a:lstStyle/>
        <a:p>
          <a:r>
            <a:rPr lang="tr-TR" sz="1600" dirty="0">
              <a:latin typeface="Calibri" panose="020F0502020204030204" pitchFamily="34" charset="0"/>
              <a:cs typeface="Calibri" panose="020F0502020204030204" pitchFamily="34" charset="0"/>
            </a:rPr>
            <a:t>Yazılım giderleri kapsamında yazılımın lisans bedeli, proje süresi ile sınırlı olmak üzere zaman sınırlı lisans kullanım bedeli, bulut tabanlı yazılım lisans kullanım bedeli ve yazılıma ait eğitim ve danışmanlık giderleri için </a:t>
          </a:r>
          <a:r>
            <a:rPr lang="tr-TR" sz="1600" dirty="0">
              <a:solidFill>
                <a:srgbClr val="FF0000"/>
              </a:solidFill>
              <a:latin typeface="Calibri" panose="020F0502020204030204" pitchFamily="34" charset="0"/>
              <a:cs typeface="Calibri" panose="020F0502020204030204" pitchFamily="34" charset="0"/>
            </a:rPr>
            <a:t>en fazla 50.000.- TL</a:t>
          </a:r>
          <a:r>
            <a:rPr lang="tr-TR" sz="1600" dirty="0">
              <a:latin typeface="Calibri" panose="020F0502020204030204" pitchFamily="34" charset="0"/>
              <a:cs typeface="Calibri" panose="020F0502020204030204" pitchFamily="34" charset="0"/>
            </a:rPr>
            <a:t> destek verilir.</a:t>
          </a:r>
          <a:r>
            <a:rPr lang="tr-TR" sz="1800" b="1" dirty="0">
              <a:solidFill>
                <a:srgbClr val="FF0000"/>
              </a:solidFill>
              <a:latin typeface="Calibri" panose="020F0502020204030204" pitchFamily="34" charset="0"/>
              <a:cs typeface="Calibri" panose="020F0502020204030204" pitchFamily="34" charset="0"/>
            </a:rPr>
            <a:t>*</a:t>
          </a:r>
        </a:p>
      </dgm:t>
    </dgm:pt>
    <dgm:pt modelId="{C0325BCB-D900-4776-BCD3-FF3D61620E07}" type="parTrans" cxnId="{DB6E4336-05B0-43F1-9E8D-860BBCC586DF}">
      <dgm:prSet/>
      <dgm:spPr/>
      <dgm:t>
        <a:bodyPr/>
        <a:lstStyle/>
        <a:p>
          <a:endParaRPr lang="tr-TR"/>
        </a:p>
      </dgm:t>
    </dgm:pt>
    <dgm:pt modelId="{2EBC6B27-E421-4708-8895-74185333CB66}" type="sibTrans" cxnId="{DB6E4336-05B0-43F1-9E8D-860BBCC586DF}">
      <dgm:prSet/>
      <dgm:spPr/>
      <dgm:t>
        <a:bodyPr/>
        <a:lstStyle/>
        <a:p>
          <a:endParaRPr lang="tr-TR"/>
        </a:p>
      </dgm:t>
    </dgm:pt>
    <dgm:pt modelId="{59274B29-EB9B-41C8-A798-4E4C4531BB0E}">
      <dgm:prSet phldrT="[Metin]" custT="1"/>
      <dgm:spPr/>
      <dgm:t>
        <a:bodyPr/>
        <a:lstStyle/>
        <a:p>
          <a:r>
            <a:rPr lang="tr-TR" sz="1600" dirty="0">
              <a:latin typeface="Calibri" panose="020F0502020204030204" pitchFamily="34" charset="0"/>
              <a:cs typeface="Calibri" panose="020F0502020204030204" pitchFamily="34" charset="0"/>
            </a:rPr>
            <a:t>Donanım giderleri kapsamında sunucu (server), masaüstü bilgisayar ve diz üstü bilgisayar gibi yazılımın kullanılması için ihtiyaç duyulan diğer donanım giderleri için </a:t>
          </a:r>
          <a:r>
            <a:rPr lang="tr-TR" sz="1600" dirty="0">
              <a:solidFill>
                <a:srgbClr val="FF0000"/>
              </a:solidFill>
              <a:latin typeface="Calibri" panose="020F0502020204030204" pitchFamily="34" charset="0"/>
              <a:cs typeface="Calibri" panose="020F0502020204030204" pitchFamily="34" charset="0"/>
            </a:rPr>
            <a:t>en fazla 50.000.- TL </a:t>
          </a:r>
          <a:r>
            <a:rPr lang="tr-TR" sz="1600" dirty="0">
              <a:latin typeface="Calibri" panose="020F0502020204030204" pitchFamily="34" charset="0"/>
              <a:cs typeface="Calibri" panose="020F0502020204030204" pitchFamily="34" charset="0"/>
            </a:rPr>
            <a:t>destek verilir.</a:t>
          </a:r>
          <a:endParaRPr lang="tr-TR" sz="1600" dirty="0">
            <a:solidFill>
              <a:srgbClr val="FF0000"/>
            </a:solidFill>
            <a:latin typeface="Calibri" panose="020F0502020204030204" pitchFamily="34" charset="0"/>
            <a:cs typeface="Calibri" panose="020F0502020204030204" pitchFamily="34" charset="0"/>
          </a:endParaRPr>
        </a:p>
      </dgm:t>
    </dgm:pt>
    <dgm:pt modelId="{6704BD4C-AB2B-4B86-85E9-AAEEA6B630D0}" type="parTrans" cxnId="{1C2FE8E5-0965-4721-8674-962BD9430ED9}">
      <dgm:prSet/>
      <dgm:spPr/>
      <dgm:t>
        <a:bodyPr/>
        <a:lstStyle/>
        <a:p>
          <a:endParaRPr lang="tr-TR"/>
        </a:p>
      </dgm:t>
    </dgm:pt>
    <dgm:pt modelId="{429D8287-09A1-4E3B-B090-23922013DFAC}" type="sibTrans" cxnId="{1C2FE8E5-0965-4721-8674-962BD9430ED9}">
      <dgm:prSet/>
      <dgm:spPr/>
      <dgm:t>
        <a:bodyPr/>
        <a:lstStyle/>
        <a:p>
          <a:endParaRPr lang="tr-TR"/>
        </a:p>
      </dgm:t>
    </dgm:pt>
    <dgm:pt modelId="{B4713B3B-6E50-4A7F-94BC-9363B86042DC}">
      <dgm:prSet phldrT="[Metin]" custT="1"/>
      <dgm:spPr/>
      <dgm:t>
        <a:bodyPr/>
        <a:lstStyle/>
        <a:p>
          <a:pPr algn="just"/>
          <a:r>
            <a:rPr lang="tr-TR" sz="1600" dirty="0">
              <a:latin typeface="Calibri" panose="020F0502020204030204" pitchFamily="34" charset="0"/>
              <a:cs typeface="Calibri" panose="020F0502020204030204" pitchFamily="34" charset="0"/>
            </a:rPr>
            <a:t>Proje başlangıç tarihi itibariyle işletmede son 4 (dört) ay içinde istihdam edilmemiş veya proje başlangıç tarihi itibariyle son 30 (otuz) gün içinde istihdam edilmiş yükseköğretim kurumundan mezun ve işletmede tam zamanlı olarak çalışacak yeni personel için destek sağlanır.</a:t>
          </a:r>
        </a:p>
      </dgm:t>
    </dgm:pt>
    <dgm:pt modelId="{1F6CB6B9-52D4-4141-9067-6FEE70A9585E}" type="parTrans" cxnId="{F010A183-BB42-4474-9F6A-8A35652E9881}">
      <dgm:prSet/>
      <dgm:spPr/>
      <dgm:t>
        <a:bodyPr/>
        <a:lstStyle/>
        <a:p>
          <a:endParaRPr lang="tr-TR"/>
        </a:p>
      </dgm:t>
    </dgm:pt>
    <dgm:pt modelId="{4D68F50F-5FFE-4F0C-B928-782108AB8A7C}" type="sibTrans" cxnId="{F010A183-BB42-4474-9F6A-8A35652E9881}">
      <dgm:prSet/>
      <dgm:spPr/>
      <dgm:t>
        <a:bodyPr/>
        <a:lstStyle/>
        <a:p>
          <a:endParaRPr lang="tr-TR"/>
        </a:p>
      </dgm:t>
    </dgm:pt>
    <dgm:pt modelId="{8FC14C2B-9E6F-4BA4-B5A9-D9D67E262D83}">
      <dgm:prSet phldrT="[Metin]" custT="1"/>
      <dgm:spPr/>
      <dgm:t>
        <a:bodyPr/>
        <a:lstStyle/>
        <a:p>
          <a:pPr algn="just"/>
          <a:r>
            <a:rPr lang="tr-TR" sz="1600" dirty="0">
              <a:latin typeface="Calibri" panose="020F0502020204030204" pitchFamily="34" charset="0"/>
              <a:cs typeface="Calibri" panose="020F0502020204030204" pitchFamily="34" charset="0"/>
            </a:rPr>
            <a:t>Yabancı uyruklu personel de istihdam edilebilir.</a:t>
          </a:r>
        </a:p>
      </dgm:t>
    </dgm:pt>
    <dgm:pt modelId="{CE2F5DE5-0516-461E-9C61-1BBDAEF6F460}" type="parTrans" cxnId="{7BD38A19-6B1E-42B8-A77F-876A2BA0895B}">
      <dgm:prSet/>
      <dgm:spPr/>
      <dgm:t>
        <a:bodyPr/>
        <a:lstStyle/>
        <a:p>
          <a:endParaRPr lang="tr-TR"/>
        </a:p>
      </dgm:t>
    </dgm:pt>
    <dgm:pt modelId="{FC189585-FA25-4474-962E-8ED12E998E64}" type="sibTrans" cxnId="{7BD38A19-6B1E-42B8-A77F-876A2BA0895B}">
      <dgm:prSet/>
      <dgm:spPr/>
      <dgm:t>
        <a:bodyPr/>
        <a:lstStyle/>
        <a:p>
          <a:endParaRPr lang="tr-TR"/>
        </a:p>
      </dgm:t>
    </dgm:pt>
    <dgm:pt modelId="{36AA7695-DAFA-4094-9625-644F9954BE9E}">
      <dgm:prSet phldrT="[Metin]" custT="1"/>
      <dgm:spPr/>
      <dgm:t>
        <a:bodyPr/>
        <a:lstStyle/>
        <a:p>
          <a:endParaRPr lang="tr-TR" sz="1400" dirty="0"/>
        </a:p>
      </dgm:t>
    </dgm:pt>
    <dgm:pt modelId="{0CCCB452-EED7-443C-BBAC-4A50D2C19EEC}" type="parTrans" cxnId="{A69D0373-2490-412F-81A0-349DD53A32AB}">
      <dgm:prSet/>
      <dgm:spPr/>
      <dgm:t>
        <a:bodyPr/>
        <a:lstStyle/>
        <a:p>
          <a:endParaRPr lang="tr-TR"/>
        </a:p>
      </dgm:t>
    </dgm:pt>
    <dgm:pt modelId="{4D8D71AA-4A4B-4935-92DC-91A444620B3A}" type="sibTrans" cxnId="{A69D0373-2490-412F-81A0-349DD53A32AB}">
      <dgm:prSet/>
      <dgm:spPr/>
      <dgm:t>
        <a:bodyPr/>
        <a:lstStyle/>
        <a:p>
          <a:endParaRPr lang="tr-TR"/>
        </a:p>
      </dgm:t>
    </dgm:pt>
    <dgm:pt modelId="{0AA5093D-2279-4069-8A89-CF13E95F8BAA}">
      <dgm:prSet phldrT="[Metin]" custT="1"/>
      <dgm:spPr/>
      <dgm:t>
        <a:bodyPr/>
        <a:lstStyle/>
        <a:p>
          <a:r>
            <a:rPr lang="tr-TR" sz="1600" b="1" dirty="0">
              <a:latin typeface="Calibri" panose="020F0502020204030204" pitchFamily="34" charset="0"/>
              <a:cs typeface="Calibri" panose="020F0502020204030204" pitchFamily="34" charset="0"/>
            </a:rPr>
            <a:t>*</a:t>
          </a:r>
          <a:r>
            <a:rPr lang="tr-TR" sz="1600" dirty="0">
              <a:solidFill>
                <a:srgbClr val="FF0000"/>
              </a:solidFill>
              <a:latin typeface="Calibri" panose="020F0502020204030204" pitchFamily="34" charset="0"/>
              <a:cs typeface="Calibri" panose="020F0502020204030204" pitchFamily="34" charset="0"/>
            </a:rPr>
            <a:t>ERP, MRP ve muhasebe yazılımları desteklenmemektedir.</a:t>
          </a:r>
        </a:p>
      </dgm:t>
    </dgm:pt>
    <dgm:pt modelId="{D2D20387-5E5F-4907-8F87-0904F5E8D843}" type="parTrans" cxnId="{3D0F942E-D0B4-4CB4-BD62-CB298C887DC8}">
      <dgm:prSet/>
      <dgm:spPr/>
      <dgm:t>
        <a:bodyPr/>
        <a:lstStyle/>
        <a:p>
          <a:endParaRPr lang="tr-TR"/>
        </a:p>
      </dgm:t>
    </dgm:pt>
    <dgm:pt modelId="{B9D7242C-0142-4C23-A92E-9C37A939B132}" type="sibTrans" cxnId="{3D0F942E-D0B4-4CB4-BD62-CB298C887DC8}">
      <dgm:prSet/>
      <dgm:spPr/>
      <dgm:t>
        <a:bodyPr/>
        <a:lstStyle/>
        <a:p>
          <a:endParaRPr lang="tr-TR"/>
        </a:p>
      </dgm:t>
    </dgm:pt>
    <dgm:pt modelId="{8D9A727D-9FEF-4BA2-A58F-9228A744808D}" type="pres">
      <dgm:prSet presAssocID="{4D217ED4-7198-413E-93F7-3578C3D18B29}" presName="Name0" presStyleCnt="0">
        <dgm:presLayoutVars>
          <dgm:dir/>
          <dgm:animLvl val="lvl"/>
          <dgm:resizeHandles val="exact"/>
        </dgm:presLayoutVars>
      </dgm:prSet>
      <dgm:spPr/>
      <dgm:t>
        <a:bodyPr/>
        <a:lstStyle/>
        <a:p>
          <a:endParaRPr lang="tr-TR"/>
        </a:p>
      </dgm:t>
    </dgm:pt>
    <dgm:pt modelId="{7447F2C5-841B-464A-ABA8-3BEDF3CB2266}" type="pres">
      <dgm:prSet presAssocID="{74945AE8-85B8-4A4C-AFBD-8FD18D8021F7}" presName="linNode" presStyleCnt="0"/>
      <dgm:spPr/>
    </dgm:pt>
    <dgm:pt modelId="{EA76D721-580E-4CFE-8AB1-08AB49290FD9}" type="pres">
      <dgm:prSet presAssocID="{74945AE8-85B8-4A4C-AFBD-8FD18D8021F7}" presName="parentText" presStyleLbl="node1" presStyleIdx="0" presStyleCnt="2" custScaleX="79609" custScaleY="76691" custLinFactNeighborX="-1846" custLinFactNeighborY="-6224">
        <dgm:presLayoutVars>
          <dgm:chMax val="1"/>
          <dgm:bulletEnabled val="1"/>
        </dgm:presLayoutVars>
      </dgm:prSet>
      <dgm:spPr/>
      <dgm:t>
        <a:bodyPr/>
        <a:lstStyle/>
        <a:p>
          <a:endParaRPr lang="tr-TR"/>
        </a:p>
      </dgm:t>
    </dgm:pt>
    <dgm:pt modelId="{E95A3130-ACEB-4BFD-94BA-1A81F19E2715}" type="pres">
      <dgm:prSet presAssocID="{74945AE8-85B8-4A4C-AFBD-8FD18D8021F7}" presName="descendantText" presStyleLbl="alignAccFollowNode1" presStyleIdx="0" presStyleCnt="2" custScaleX="116633" custScaleY="93162" custLinFactNeighborX="-1364" custLinFactNeighborY="-8045">
        <dgm:presLayoutVars>
          <dgm:bulletEnabled val="1"/>
        </dgm:presLayoutVars>
      </dgm:prSet>
      <dgm:spPr/>
      <dgm:t>
        <a:bodyPr/>
        <a:lstStyle/>
        <a:p>
          <a:endParaRPr lang="tr-TR"/>
        </a:p>
      </dgm:t>
    </dgm:pt>
    <dgm:pt modelId="{70517AD4-9811-4566-9B52-596BCB96AF5A}" type="pres">
      <dgm:prSet presAssocID="{F89DDD73-52E9-4F89-A5E0-1C665AE0209C}" presName="sp" presStyleCnt="0"/>
      <dgm:spPr/>
    </dgm:pt>
    <dgm:pt modelId="{AE4C51C7-4E10-4399-BA30-858AE482707B}" type="pres">
      <dgm:prSet presAssocID="{9A47A6A6-F96B-4945-A979-B91C21B53F4C}" presName="linNode" presStyleCnt="0"/>
      <dgm:spPr/>
    </dgm:pt>
    <dgm:pt modelId="{BCC3E5CA-EDFB-41E8-964A-E04CF46A4B77}" type="pres">
      <dgm:prSet presAssocID="{9A47A6A6-F96B-4945-A979-B91C21B53F4C}" presName="parentText" presStyleLbl="node1" presStyleIdx="1" presStyleCnt="2" custScaleX="76974" custScaleY="99570" custLinFactNeighborY="651">
        <dgm:presLayoutVars>
          <dgm:chMax val="1"/>
          <dgm:bulletEnabled val="1"/>
        </dgm:presLayoutVars>
      </dgm:prSet>
      <dgm:spPr/>
      <dgm:t>
        <a:bodyPr/>
        <a:lstStyle/>
        <a:p>
          <a:endParaRPr lang="tr-TR"/>
        </a:p>
      </dgm:t>
    </dgm:pt>
    <dgm:pt modelId="{2E7D9D7D-DFC2-44E5-BB9B-BA7D5AF108E2}" type="pres">
      <dgm:prSet presAssocID="{9A47A6A6-F96B-4945-A979-B91C21B53F4C}" presName="descendantText" presStyleLbl="alignAccFollowNode1" presStyleIdx="1" presStyleCnt="2" custScaleX="113063" custScaleY="131945">
        <dgm:presLayoutVars>
          <dgm:bulletEnabled val="1"/>
        </dgm:presLayoutVars>
      </dgm:prSet>
      <dgm:spPr/>
      <dgm:t>
        <a:bodyPr/>
        <a:lstStyle/>
        <a:p>
          <a:endParaRPr lang="tr-TR"/>
        </a:p>
      </dgm:t>
    </dgm:pt>
  </dgm:ptLst>
  <dgm:cxnLst>
    <dgm:cxn modelId="{8C61EEB2-8621-4C8D-9164-D83130D1C90B}" type="presOf" srcId="{C8B55294-A00C-48C9-8588-7FF0B4B623C4}" destId="{E95A3130-ACEB-4BFD-94BA-1A81F19E2715}" srcOrd="0" destOrd="0" presId="urn:microsoft.com/office/officeart/2005/8/layout/vList5"/>
    <dgm:cxn modelId="{3D0F942E-D0B4-4CB4-BD62-CB298C887DC8}" srcId="{9A47A6A6-F96B-4945-A979-B91C21B53F4C}" destId="{0AA5093D-2279-4069-8A89-CF13E95F8BAA}" srcOrd="2" destOrd="0" parTransId="{D2D20387-5E5F-4907-8F87-0904F5E8D843}" sibTransId="{B9D7242C-0142-4C23-A92E-9C37A939B132}"/>
    <dgm:cxn modelId="{A69D0373-2490-412F-81A0-349DD53A32AB}" srcId="{9A47A6A6-F96B-4945-A979-B91C21B53F4C}" destId="{36AA7695-DAFA-4094-9625-644F9954BE9E}" srcOrd="3" destOrd="0" parTransId="{0CCCB452-EED7-443C-BBAC-4A50D2C19EEC}" sibTransId="{4D8D71AA-4A4B-4935-92DC-91A444620B3A}"/>
    <dgm:cxn modelId="{18F2AFE8-4E39-45CE-A8DE-CE5096F3BCAE}" srcId="{4D217ED4-7198-413E-93F7-3578C3D18B29}" destId="{9A47A6A6-F96B-4945-A979-B91C21B53F4C}" srcOrd="1" destOrd="0" parTransId="{339AC710-6157-49B3-A068-3E7E06D575CD}" sibTransId="{85C4FA71-5E5C-4DA2-B059-A6D475EDEF30}"/>
    <dgm:cxn modelId="{D304ABB3-375B-447C-B6E4-2358BB1A5C30}" type="presOf" srcId="{74945AE8-85B8-4A4C-AFBD-8FD18D8021F7}" destId="{EA76D721-580E-4CFE-8AB1-08AB49290FD9}" srcOrd="0" destOrd="0" presId="urn:microsoft.com/office/officeart/2005/8/layout/vList5"/>
    <dgm:cxn modelId="{7F0BF63D-A258-4FE1-85F3-D1E38699F9BB}" type="presOf" srcId="{9A47A6A6-F96B-4945-A979-B91C21B53F4C}" destId="{BCC3E5CA-EDFB-41E8-964A-E04CF46A4B77}" srcOrd="0" destOrd="0" presId="urn:microsoft.com/office/officeart/2005/8/layout/vList5"/>
    <dgm:cxn modelId="{273EA8F4-F9A8-4EB7-9975-3B6836D6E96C}" type="presOf" srcId="{59274B29-EB9B-41C8-A798-4E4C4531BB0E}" destId="{2E7D9D7D-DFC2-44E5-BB9B-BA7D5AF108E2}" srcOrd="0" destOrd="1" presId="urn:microsoft.com/office/officeart/2005/8/layout/vList5"/>
    <dgm:cxn modelId="{F010A183-BB42-4474-9F6A-8A35652E9881}" srcId="{74945AE8-85B8-4A4C-AFBD-8FD18D8021F7}" destId="{B4713B3B-6E50-4A7F-94BC-9363B86042DC}" srcOrd="2" destOrd="0" parTransId="{1F6CB6B9-52D4-4141-9067-6FEE70A9585E}" sibTransId="{4D68F50F-5FFE-4F0C-B928-782108AB8A7C}"/>
    <dgm:cxn modelId="{269D875D-3930-4918-BDE9-C9814B993E62}" type="presOf" srcId="{5DDD7D38-F2BC-4142-A878-ECD5A9320F1E}" destId="{2E7D9D7D-DFC2-44E5-BB9B-BA7D5AF108E2}" srcOrd="0" destOrd="0" presId="urn:microsoft.com/office/officeart/2005/8/layout/vList5"/>
    <dgm:cxn modelId="{F0B15D29-458C-41A6-BF75-C250F9146220}" type="presOf" srcId="{B4713B3B-6E50-4A7F-94BC-9363B86042DC}" destId="{E95A3130-ACEB-4BFD-94BA-1A81F19E2715}" srcOrd="0" destOrd="2" presId="urn:microsoft.com/office/officeart/2005/8/layout/vList5"/>
    <dgm:cxn modelId="{4F1C1EA9-B916-4065-96D0-7136FC30976A}" type="presOf" srcId="{17F0B00C-4B89-4B8F-AE24-E374FAB10195}" destId="{E95A3130-ACEB-4BFD-94BA-1A81F19E2715}" srcOrd="0" destOrd="1" presId="urn:microsoft.com/office/officeart/2005/8/layout/vList5"/>
    <dgm:cxn modelId="{5AAB7347-4133-434B-93EC-DF3368ED32A6}" srcId="{4D217ED4-7198-413E-93F7-3578C3D18B29}" destId="{74945AE8-85B8-4A4C-AFBD-8FD18D8021F7}" srcOrd="0" destOrd="0" parTransId="{4C3E70A3-673D-4ECC-98B0-C3C771ED63D1}" sibTransId="{F89DDD73-52E9-4F89-A5E0-1C665AE0209C}"/>
    <dgm:cxn modelId="{B578D121-787E-423E-8DAE-DDF98A5091D6}" type="presOf" srcId="{8FC14C2B-9E6F-4BA4-B5A9-D9D67E262D83}" destId="{E95A3130-ACEB-4BFD-94BA-1A81F19E2715}" srcOrd="0" destOrd="3" presId="urn:microsoft.com/office/officeart/2005/8/layout/vList5"/>
    <dgm:cxn modelId="{23BBAEF9-FC52-45EF-A08B-6C78385176E2}" type="presOf" srcId="{4D217ED4-7198-413E-93F7-3578C3D18B29}" destId="{8D9A727D-9FEF-4BA2-A58F-9228A744808D}" srcOrd="0" destOrd="0" presId="urn:microsoft.com/office/officeart/2005/8/layout/vList5"/>
    <dgm:cxn modelId="{DB6E4336-05B0-43F1-9E8D-860BBCC586DF}" srcId="{9A47A6A6-F96B-4945-A979-B91C21B53F4C}" destId="{5DDD7D38-F2BC-4142-A878-ECD5A9320F1E}" srcOrd="0" destOrd="0" parTransId="{C0325BCB-D900-4776-BCD3-FF3D61620E07}" sibTransId="{2EBC6B27-E421-4708-8895-74185333CB66}"/>
    <dgm:cxn modelId="{03333074-07C1-4476-8E01-610DCAB85B0F}" type="presOf" srcId="{36AA7695-DAFA-4094-9625-644F9954BE9E}" destId="{2E7D9D7D-DFC2-44E5-BB9B-BA7D5AF108E2}" srcOrd="0" destOrd="3" presId="urn:microsoft.com/office/officeart/2005/8/layout/vList5"/>
    <dgm:cxn modelId="{1C2FE8E5-0965-4721-8674-962BD9430ED9}" srcId="{9A47A6A6-F96B-4945-A979-B91C21B53F4C}" destId="{59274B29-EB9B-41C8-A798-4E4C4531BB0E}" srcOrd="1" destOrd="0" parTransId="{6704BD4C-AB2B-4B86-85E9-AAEEA6B630D0}" sibTransId="{429D8287-09A1-4E3B-B090-23922013DFAC}"/>
    <dgm:cxn modelId="{9550942A-896B-4D6A-A509-16FB21150147}" srcId="{74945AE8-85B8-4A4C-AFBD-8FD18D8021F7}" destId="{17F0B00C-4B89-4B8F-AE24-E374FAB10195}" srcOrd="1" destOrd="0" parTransId="{8F52D6B4-3813-42F0-87C4-A0AFD8D177CF}" sibTransId="{3FC8606A-D997-4421-8B86-F1F1B35A6ED4}"/>
    <dgm:cxn modelId="{111955F4-ACEE-489B-B5F3-8418EE95EBBF}" srcId="{74945AE8-85B8-4A4C-AFBD-8FD18D8021F7}" destId="{C8B55294-A00C-48C9-8588-7FF0B4B623C4}" srcOrd="0" destOrd="0" parTransId="{AE747049-87E0-4951-A872-AB1B2720961E}" sibTransId="{2260A5E9-59D4-4672-9767-580344E0B695}"/>
    <dgm:cxn modelId="{7BD38A19-6B1E-42B8-A77F-876A2BA0895B}" srcId="{74945AE8-85B8-4A4C-AFBD-8FD18D8021F7}" destId="{8FC14C2B-9E6F-4BA4-B5A9-D9D67E262D83}" srcOrd="3" destOrd="0" parTransId="{CE2F5DE5-0516-461E-9C61-1BBDAEF6F460}" sibTransId="{FC189585-FA25-4474-962E-8ED12E998E64}"/>
    <dgm:cxn modelId="{7E440C9C-E853-4DE1-B9E3-338FF02AC3D7}" type="presOf" srcId="{0AA5093D-2279-4069-8A89-CF13E95F8BAA}" destId="{2E7D9D7D-DFC2-44E5-BB9B-BA7D5AF108E2}" srcOrd="0" destOrd="2" presId="urn:microsoft.com/office/officeart/2005/8/layout/vList5"/>
    <dgm:cxn modelId="{1208707D-474F-4997-897E-298A4A8BAEC3}" type="presParOf" srcId="{8D9A727D-9FEF-4BA2-A58F-9228A744808D}" destId="{7447F2C5-841B-464A-ABA8-3BEDF3CB2266}" srcOrd="0" destOrd="0" presId="urn:microsoft.com/office/officeart/2005/8/layout/vList5"/>
    <dgm:cxn modelId="{2AA5BB8C-1EAC-4A90-8836-AFF299D4F561}" type="presParOf" srcId="{7447F2C5-841B-464A-ABA8-3BEDF3CB2266}" destId="{EA76D721-580E-4CFE-8AB1-08AB49290FD9}" srcOrd="0" destOrd="0" presId="urn:microsoft.com/office/officeart/2005/8/layout/vList5"/>
    <dgm:cxn modelId="{93EB9212-BE2B-465F-B273-B010656A909F}" type="presParOf" srcId="{7447F2C5-841B-464A-ABA8-3BEDF3CB2266}" destId="{E95A3130-ACEB-4BFD-94BA-1A81F19E2715}" srcOrd="1" destOrd="0" presId="urn:microsoft.com/office/officeart/2005/8/layout/vList5"/>
    <dgm:cxn modelId="{73BAC07C-511F-4D08-AEA0-D3A22F530402}" type="presParOf" srcId="{8D9A727D-9FEF-4BA2-A58F-9228A744808D}" destId="{70517AD4-9811-4566-9B52-596BCB96AF5A}" srcOrd="1" destOrd="0" presId="urn:microsoft.com/office/officeart/2005/8/layout/vList5"/>
    <dgm:cxn modelId="{CB24070D-4988-4EEC-991A-2FE630DD842A}" type="presParOf" srcId="{8D9A727D-9FEF-4BA2-A58F-9228A744808D}" destId="{AE4C51C7-4E10-4399-BA30-858AE482707B}" srcOrd="2" destOrd="0" presId="urn:microsoft.com/office/officeart/2005/8/layout/vList5"/>
    <dgm:cxn modelId="{56EF17E4-A76B-48F3-8539-51E16E11343E}" type="presParOf" srcId="{AE4C51C7-4E10-4399-BA30-858AE482707B}" destId="{BCC3E5CA-EDFB-41E8-964A-E04CF46A4B77}" srcOrd="0" destOrd="0" presId="urn:microsoft.com/office/officeart/2005/8/layout/vList5"/>
    <dgm:cxn modelId="{61A06BD8-23E6-425E-9D6A-3118EACF06E3}" type="presParOf" srcId="{AE4C51C7-4E10-4399-BA30-858AE482707B}" destId="{2E7D9D7D-DFC2-44E5-BB9B-BA7D5AF108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D217ED4-7198-413E-93F7-3578C3D18B2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tr-TR"/>
        </a:p>
      </dgm:t>
    </dgm:pt>
    <dgm:pt modelId="{74945AE8-85B8-4A4C-AFBD-8FD18D8021F7}">
      <dgm:prSet phldrT="[Metin]" custT="1"/>
      <dgm:spPr/>
      <dgm:t>
        <a:bodyPr/>
        <a:lstStyle/>
        <a:p>
          <a:r>
            <a:rPr lang="tr-TR" sz="2000" b="1" dirty="0">
              <a:latin typeface="Calibri" panose="020F0502020204030204" pitchFamily="34" charset="0"/>
              <a:cs typeface="Calibri" panose="020F0502020204030204" pitchFamily="34" charset="0"/>
            </a:rPr>
            <a:t>Tanıtım Giderleri</a:t>
          </a:r>
        </a:p>
        <a:p>
          <a:r>
            <a:rPr lang="tr-TR" sz="2000" i="1" u="none" dirty="0">
              <a:latin typeface="Calibri" panose="020F0502020204030204" pitchFamily="34" charset="0"/>
              <a:cs typeface="Calibri" panose="020F0502020204030204" pitchFamily="34" charset="0"/>
            </a:rPr>
            <a:t>(Üst Limit: 100.000 TL)</a:t>
          </a:r>
        </a:p>
      </dgm:t>
    </dgm:pt>
    <dgm:pt modelId="{4C3E70A3-673D-4ECC-98B0-C3C771ED63D1}" type="parTrans" cxnId="{5AAB7347-4133-434B-93EC-DF3368ED32A6}">
      <dgm:prSet/>
      <dgm:spPr/>
      <dgm:t>
        <a:bodyPr/>
        <a:lstStyle/>
        <a:p>
          <a:endParaRPr lang="tr-TR" sz="1600"/>
        </a:p>
      </dgm:t>
    </dgm:pt>
    <dgm:pt modelId="{F89DDD73-52E9-4F89-A5E0-1C665AE0209C}" type="sibTrans" cxnId="{5AAB7347-4133-434B-93EC-DF3368ED32A6}">
      <dgm:prSet/>
      <dgm:spPr/>
      <dgm:t>
        <a:bodyPr/>
        <a:lstStyle/>
        <a:p>
          <a:endParaRPr lang="tr-TR" sz="1600"/>
        </a:p>
      </dgm:t>
    </dgm:pt>
    <dgm:pt modelId="{9A47A6A6-F96B-4945-A979-B91C21B53F4C}">
      <dgm:prSet phldrT="[Metin]" custT="1"/>
      <dgm:spPr/>
      <dgm:t>
        <a:bodyPr/>
        <a:lstStyle/>
        <a:p>
          <a:r>
            <a:rPr lang="tr-TR" sz="2000" b="1" dirty="0">
              <a:latin typeface="Calibri" panose="020F0502020204030204" pitchFamily="34" charset="0"/>
              <a:cs typeface="Calibri" panose="020F0502020204030204" pitchFamily="34" charset="0"/>
            </a:rPr>
            <a:t>Yurt dışı Fuar ve Seyahat Giderleri</a:t>
          </a:r>
        </a:p>
        <a:p>
          <a:r>
            <a:rPr lang="tr-TR" sz="2000" i="1" u="none" dirty="0">
              <a:latin typeface="Calibri" panose="020F0502020204030204" pitchFamily="34" charset="0"/>
              <a:cs typeface="Calibri" panose="020F0502020204030204" pitchFamily="34" charset="0"/>
            </a:rPr>
            <a:t>(Üst Limit: 150.000 TL)</a:t>
          </a:r>
          <a:endParaRPr lang="tr-TR" sz="2000" b="1" dirty="0">
            <a:latin typeface="Calibri" panose="020F0502020204030204" pitchFamily="34" charset="0"/>
            <a:cs typeface="Calibri" panose="020F0502020204030204" pitchFamily="34" charset="0"/>
          </a:endParaRPr>
        </a:p>
      </dgm:t>
    </dgm:pt>
    <dgm:pt modelId="{339AC710-6157-49B3-A068-3E7E06D575CD}" type="parTrans" cxnId="{18F2AFE8-4E39-45CE-A8DE-CE5096F3BCAE}">
      <dgm:prSet/>
      <dgm:spPr/>
      <dgm:t>
        <a:bodyPr/>
        <a:lstStyle/>
        <a:p>
          <a:endParaRPr lang="tr-TR" sz="1600"/>
        </a:p>
      </dgm:t>
    </dgm:pt>
    <dgm:pt modelId="{85C4FA71-5E5C-4DA2-B059-A6D475EDEF30}" type="sibTrans" cxnId="{18F2AFE8-4E39-45CE-A8DE-CE5096F3BCAE}">
      <dgm:prSet/>
      <dgm:spPr/>
      <dgm:t>
        <a:bodyPr/>
        <a:lstStyle/>
        <a:p>
          <a:endParaRPr lang="tr-TR" sz="1600"/>
        </a:p>
      </dgm:t>
    </dgm:pt>
    <dgm:pt modelId="{5DDD7D38-F2BC-4142-A878-ECD5A9320F1E}">
      <dgm:prSet phldrT="[Metin]" custT="1"/>
      <dgm:spPr/>
      <dgm:t>
        <a:bodyPr/>
        <a:lstStyle/>
        <a:p>
          <a:pPr algn="ctr"/>
          <a:endParaRPr lang="tr-TR" sz="1100" dirty="0">
            <a:solidFill>
              <a:srgbClr val="FF0000"/>
            </a:solidFill>
          </a:endParaRPr>
        </a:p>
      </dgm:t>
    </dgm:pt>
    <dgm:pt modelId="{C0325BCB-D900-4776-BCD3-FF3D61620E07}" type="parTrans" cxnId="{DB6E4336-05B0-43F1-9E8D-860BBCC586DF}">
      <dgm:prSet/>
      <dgm:spPr/>
      <dgm:t>
        <a:bodyPr/>
        <a:lstStyle/>
        <a:p>
          <a:endParaRPr lang="tr-TR" sz="1600"/>
        </a:p>
      </dgm:t>
    </dgm:pt>
    <dgm:pt modelId="{2EBC6B27-E421-4708-8895-74185333CB66}" type="sibTrans" cxnId="{DB6E4336-05B0-43F1-9E8D-860BBCC586DF}">
      <dgm:prSet/>
      <dgm:spPr/>
      <dgm:t>
        <a:bodyPr/>
        <a:lstStyle/>
        <a:p>
          <a:endParaRPr lang="tr-TR" sz="1600"/>
        </a:p>
      </dgm:t>
    </dgm:pt>
    <dgm:pt modelId="{58B51C50-72F6-405E-8500-3AD3D454AAA4}">
      <dgm:prSet phldrT="[Metin]" custT="1"/>
      <dgm:spPr/>
      <dgm:t>
        <a:bodyPr/>
        <a:lstStyle/>
        <a:p>
          <a:pPr algn="just"/>
          <a:r>
            <a:rPr lang="tr-TR" sz="1600" dirty="0">
              <a:latin typeface="Calibri" panose="020F0502020204030204" pitchFamily="34" charset="0"/>
              <a:cs typeface="Calibri" panose="020F0502020204030204" pitchFamily="34" charset="0"/>
            </a:rPr>
            <a:t>Ticaret Bakanlığı tarafından onay verilen e-ticaret sitelerine üyelik giderleri,</a:t>
          </a:r>
          <a:endParaRPr lang="tr-TR" sz="1600" dirty="0">
            <a:solidFill>
              <a:srgbClr val="FF0000"/>
            </a:solidFill>
            <a:latin typeface="Calibri" panose="020F0502020204030204" pitchFamily="34" charset="0"/>
            <a:cs typeface="Calibri" panose="020F0502020204030204" pitchFamily="34" charset="0"/>
          </a:endParaRPr>
        </a:p>
      </dgm:t>
    </dgm:pt>
    <dgm:pt modelId="{1C1C3F9E-707A-46C6-B114-9FE5AF07E2B0}" type="parTrans" cxnId="{9920D9A1-C445-461B-8E26-AE95859AF8E6}">
      <dgm:prSet/>
      <dgm:spPr/>
      <dgm:t>
        <a:bodyPr/>
        <a:lstStyle/>
        <a:p>
          <a:endParaRPr lang="tr-TR" sz="1600"/>
        </a:p>
      </dgm:t>
    </dgm:pt>
    <dgm:pt modelId="{8E8893DD-6062-4110-B831-B625D37CC0F5}" type="sibTrans" cxnId="{9920D9A1-C445-461B-8E26-AE95859AF8E6}">
      <dgm:prSet/>
      <dgm:spPr/>
      <dgm:t>
        <a:bodyPr/>
        <a:lstStyle/>
        <a:p>
          <a:endParaRPr lang="tr-TR" sz="1600"/>
        </a:p>
      </dgm:t>
    </dgm:pt>
    <dgm:pt modelId="{1CAEDE70-867F-42CD-A01D-8E79C364EDF0}">
      <dgm:prSet phldrT="[Metin]" custT="1"/>
      <dgm:spPr/>
      <dgm:t>
        <a:bodyPr/>
        <a:lstStyle/>
        <a:p>
          <a:pPr algn="l"/>
          <a:endParaRPr lang="tr-TR" sz="1100" dirty="0"/>
        </a:p>
      </dgm:t>
    </dgm:pt>
    <dgm:pt modelId="{FD8DAB0F-B728-4B65-9A02-A36AC05B8D31}" type="parTrans" cxnId="{31E9BCD3-1BD7-4121-8872-FD6A41CD6041}">
      <dgm:prSet/>
      <dgm:spPr/>
      <dgm:t>
        <a:bodyPr/>
        <a:lstStyle/>
        <a:p>
          <a:endParaRPr lang="tr-TR" sz="1600"/>
        </a:p>
      </dgm:t>
    </dgm:pt>
    <dgm:pt modelId="{0A7FD95F-D770-4995-A407-E5FFF45EB4BB}" type="sibTrans" cxnId="{31E9BCD3-1BD7-4121-8872-FD6A41CD6041}">
      <dgm:prSet/>
      <dgm:spPr/>
      <dgm:t>
        <a:bodyPr/>
        <a:lstStyle/>
        <a:p>
          <a:endParaRPr lang="tr-TR" sz="1600"/>
        </a:p>
      </dgm:t>
    </dgm:pt>
    <dgm:pt modelId="{E443610D-904C-4B3D-B072-40B091378BD1}">
      <dgm:prSet phldrT="[Metin]" custT="1"/>
      <dgm:spPr/>
      <dgm:t>
        <a:bodyPr/>
        <a:lstStyle/>
        <a:p>
          <a:pPr algn="just"/>
          <a:r>
            <a:rPr lang="tr-TR" sz="1400" dirty="0">
              <a:latin typeface="Calibri" panose="020F0502020204030204" pitchFamily="34" charset="0"/>
              <a:cs typeface="Calibri" panose="020F0502020204030204" pitchFamily="34" charset="0"/>
            </a:rPr>
            <a:t>Yurt dışı fuar katılım giderleri; işletmelerin yer kirası, </a:t>
          </a:r>
          <a:r>
            <a:rPr lang="tr-TR" sz="1400" dirty="0" err="1">
              <a:latin typeface="Calibri" panose="020F0502020204030204" pitchFamily="34" charset="0"/>
              <a:cs typeface="Calibri" panose="020F0502020204030204" pitchFamily="34" charset="0"/>
            </a:rPr>
            <a:t>stand</a:t>
          </a:r>
          <a:r>
            <a:rPr lang="tr-TR" sz="1400" dirty="0">
              <a:latin typeface="Calibri" panose="020F0502020204030204" pitchFamily="34" charset="0"/>
              <a:cs typeface="Calibri" panose="020F0502020204030204" pitchFamily="34" charset="0"/>
            </a:rPr>
            <a:t> kurulumu, nakliye ve depolama giderlerine ilişkin harcamaları ile </a:t>
          </a:r>
          <a:r>
            <a:rPr lang="tr-TR" sz="1400" b="1" u="sng" dirty="0">
              <a:solidFill>
                <a:schemeClr val="tx1"/>
              </a:solidFill>
              <a:latin typeface="Calibri" panose="020F0502020204030204" pitchFamily="34" charset="0"/>
              <a:cs typeface="Calibri" panose="020F0502020204030204" pitchFamily="34" charset="0"/>
            </a:rPr>
            <a:t>fuarda görev alacak işletme temsilcilerinin</a:t>
          </a:r>
          <a:r>
            <a:rPr lang="tr-TR" sz="1400" b="1" u="sng" dirty="0">
              <a:solidFill>
                <a:srgbClr val="FF0000"/>
              </a:solidFill>
              <a:latin typeface="Calibri" panose="020F0502020204030204" pitchFamily="34" charset="0"/>
              <a:cs typeface="Calibri" panose="020F0502020204030204" pitchFamily="34" charset="0"/>
            </a:rPr>
            <a:t>*</a:t>
          </a:r>
          <a:r>
            <a:rPr lang="tr-TR" sz="1400" dirty="0">
              <a:latin typeface="Calibri" panose="020F0502020204030204" pitchFamily="34" charset="0"/>
              <a:cs typeface="Calibri" panose="020F0502020204030204" pitchFamily="34" charset="0"/>
            </a:rPr>
            <a:t> fuarın başlangıç tarihinden en fazla 3 gün önce ve fuar bitimi tarihinden en fazla 3 gün sonra olmak üzere gerçekleşen konaklama ve ekonomi sınıfı gidiş-dönüş ulaşım giderlerini kapsar.</a:t>
          </a:r>
        </a:p>
      </dgm:t>
    </dgm:pt>
    <dgm:pt modelId="{8BE6F7E2-B25D-4125-AB42-16B28678A24F}" type="parTrans" cxnId="{CAC3A77F-E2B5-49F2-8244-624B52FCFA50}">
      <dgm:prSet/>
      <dgm:spPr/>
      <dgm:t>
        <a:bodyPr/>
        <a:lstStyle/>
        <a:p>
          <a:endParaRPr lang="tr-TR" sz="1600"/>
        </a:p>
      </dgm:t>
    </dgm:pt>
    <dgm:pt modelId="{A30BDE4C-B23F-4147-8BEE-1BEC2B1C5A07}" type="sibTrans" cxnId="{CAC3A77F-E2B5-49F2-8244-624B52FCFA50}">
      <dgm:prSet/>
      <dgm:spPr/>
      <dgm:t>
        <a:bodyPr/>
        <a:lstStyle/>
        <a:p>
          <a:endParaRPr lang="tr-TR" sz="1600"/>
        </a:p>
      </dgm:t>
    </dgm:pt>
    <dgm:pt modelId="{AA9B7A9F-2016-4225-8A33-1B113B78A167}">
      <dgm:prSet phldrT="[Metin]" custT="1"/>
      <dgm:spPr/>
      <dgm:t>
        <a:bodyPr/>
        <a:lstStyle/>
        <a:p>
          <a:pPr algn="just"/>
          <a:r>
            <a:rPr lang="tr-TR" sz="1400" dirty="0">
              <a:latin typeface="Calibri" panose="020F0502020204030204" pitchFamily="34" charset="0"/>
              <a:cs typeface="Calibri" panose="020F0502020204030204" pitchFamily="34" charset="0"/>
            </a:rPr>
            <a:t>İşletme temsilcilerinin proje kapsamında tanıtım ve pazarlama faaliyetlerine yönelik gerçekleştirecekleri yurt dışı iş seyahatine ilişkin </a:t>
          </a:r>
          <a:r>
            <a:rPr lang="tr-TR" sz="1400" b="1" u="sng" dirty="0">
              <a:latin typeface="Calibri" panose="020F0502020204030204" pitchFamily="34" charset="0"/>
              <a:cs typeface="Calibri" panose="020F0502020204030204" pitchFamily="34" charset="0"/>
            </a:rPr>
            <a:t>en fazla 2 işletme temsilcisinin</a:t>
          </a:r>
          <a:r>
            <a:rPr lang="tr-TR" sz="1400" b="1" u="sng" dirty="0">
              <a:solidFill>
                <a:srgbClr val="FF0000"/>
              </a:solidFill>
              <a:latin typeface="Calibri" panose="020F0502020204030204" pitchFamily="34" charset="0"/>
              <a:cs typeface="Calibri" panose="020F0502020204030204" pitchFamily="34" charset="0"/>
            </a:rPr>
            <a:t>*</a:t>
          </a:r>
          <a:r>
            <a:rPr lang="tr-TR" sz="1400" dirty="0">
              <a:latin typeface="Calibri" panose="020F0502020204030204" pitchFamily="34" charset="0"/>
              <a:cs typeface="Calibri" panose="020F0502020204030204" pitchFamily="34" charset="0"/>
            </a:rPr>
            <a:t> konaklama ve ekonomi sınıfı gidiş-dönüş ulaşım giderlerini kapsar. </a:t>
          </a:r>
        </a:p>
      </dgm:t>
    </dgm:pt>
    <dgm:pt modelId="{B1E84FAC-C28F-4957-90FA-18F3417E0C32}" type="parTrans" cxnId="{470A876A-C6ED-4817-9440-F1F8E6D37054}">
      <dgm:prSet/>
      <dgm:spPr/>
      <dgm:t>
        <a:bodyPr/>
        <a:lstStyle/>
        <a:p>
          <a:endParaRPr lang="tr-TR" sz="1600"/>
        </a:p>
      </dgm:t>
    </dgm:pt>
    <dgm:pt modelId="{B7A53EB2-CDDC-4A20-8579-9C7D9DDA6FB5}" type="sibTrans" cxnId="{470A876A-C6ED-4817-9440-F1F8E6D37054}">
      <dgm:prSet/>
      <dgm:spPr/>
      <dgm:t>
        <a:bodyPr/>
        <a:lstStyle/>
        <a:p>
          <a:endParaRPr lang="tr-TR" sz="1600"/>
        </a:p>
      </dgm:t>
    </dgm:pt>
    <dgm:pt modelId="{F1F4A727-73B9-4023-9E7E-FDECC575FCF0}">
      <dgm:prSet phldrT="[Metin]" custT="1"/>
      <dgm:spPr/>
      <dgm:t>
        <a:bodyPr/>
        <a:lstStyle/>
        <a:p>
          <a:pPr algn="just"/>
          <a:r>
            <a:rPr lang="tr-TR" sz="1600" dirty="0">
              <a:latin typeface="Calibri" panose="020F0502020204030204" pitchFamily="34" charset="0"/>
              <a:cs typeface="Calibri" panose="020F0502020204030204" pitchFamily="34" charset="0"/>
            </a:rPr>
            <a:t>Dijital reklam/tanıtım (sosyal medya reklamları, arama motoru optimizasyonu) giderleri,</a:t>
          </a:r>
          <a:endParaRPr lang="tr-TR" sz="1600" dirty="0">
            <a:solidFill>
              <a:srgbClr val="FF0000"/>
            </a:solidFill>
            <a:latin typeface="Calibri" panose="020F0502020204030204" pitchFamily="34" charset="0"/>
            <a:cs typeface="Calibri" panose="020F0502020204030204" pitchFamily="34" charset="0"/>
          </a:endParaRPr>
        </a:p>
      </dgm:t>
    </dgm:pt>
    <dgm:pt modelId="{5D96B230-E7F0-41F8-BD45-8E051ADDBBD9}" type="parTrans" cxnId="{3367D418-EEAA-4ED4-AC85-76AA6245C3E7}">
      <dgm:prSet/>
      <dgm:spPr/>
      <dgm:t>
        <a:bodyPr/>
        <a:lstStyle/>
        <a:p>
          <a:endParaRPr lang="tr-TR" sz="1600"/>
        </a:p>
      </dgm:t>
    </dgm:pt>
    <dgm:pt modelId="{BF48223C-8DE2-4E5F-BA96-1031EF5CC0E0}" type="sibTrans" cxnId="{3367D418-EEAA-4ED4-AC85-76AA6245C3E7}">
      <dgm:prSet/>
      <dgm:spPr/>
      <dgm:t>
        <a:bodyPr/>
        <a:lstStyle/>
        <a:p>
          <a:endParaRPr lang="tr-TR" sz="1600"/>
        </a:p>
      </dgm:t>
    </dgm:pt>
    <dgm:pt modelId="{84F13D86-3691-45BB-8E8B-CDC2A82FB24F}">
      <dgm:prSet phldrT="[Metin]" custT="1"/>
      <dgm:spPr/>
      <dgm:t>
        <a:bodyPr/>
        <a:lstStyle/>
        <a:p>
          <a:pPr algn="just"/>
          <a:r>
            <a:rPr lang="tr-TR" sz="1600" dirty="0">
              <a:latin typeface="Calibri" panose="020F0502020204030204" pitchFamily="34" charset="0"/>
              <a:cs typeface="Calibri" panose="020F0502020204030204" pitchFamily="34" charset="0"/>
            </a:rPr>
            <a:t>Yurt dışında basılan dergilerde yayınlanan giderleri,</a:t>
          </a:r>
          <a:endParaRPr lang="tr-TR" sz="1600" dirty="0">
            <a:solidFill>
              <a:srgbClr val="FF0000"/>
            </a:solidFill>
            <a:latin typeface="Calibri" panose="020F0502020204030204" pitchFamily="34" charset="0"/>
            <a:cs typeface="Calibri" panose="020F0502020204030204" pitchFamily="34" charset="0"/>
          </a:endParaRPr>
        </a:p>
      </dgm:t>
    </dgm:pt>
    <dgm:pt modelId="{F925EF42-82AB-4227-8285-DDEFDA37CF0B}" type="parTrans" cxnId="{04546A11-1068-4A18-B91A-2172C788A287}">
      <dgm:prSet/>
      <dgm:spPr/>
      <dgm:t>
        <a:bodyPr/>
        <a:lstStyle/>
        <a:p>
          <a:endParaRPr lang="tr-TR" sz="1600"/>
        </a:p>
      </dgm:t>
    </dgm:pt>
    <dgm:pt modelId="{31F7F78A-FA42-42C9-9582-8B3080259A94}" type="sibTrans" cxnId="{04546A11-1068-4A18-B91A-2172C788A287}">
      <dgm:prSet/>
      <dgm:spPr/>
      <dgm:t>
        <a:bodyPr/>
        <a:lstStyle/>
        <a:p>
          <a:endParaRPr lang="tr-TR" sz="1600"/>
        </a:p>
      </dgm:t>
    </dgm:pt>
    <dgm:pt modelId="{87477B85-61C9-4B9A-9739-9B9BC8BA9501}">
      <dgm:prSet phldrT="[Metin]" custT="1"/>
      <dgm:spPr/>
      <dgm:t>
        <a:bodyPr/>
        <a:lstStyle/>
        <a:p>
          <a:pPr algn="just"/>
          <a:r>
            <a:rPr lang="tr-TR" sz="1600" dirty="0">
              <a:latin typeface="Calibri" panose="020F0502020204030204" pitchFamily="34" charset="0"/>
              <a:cs typeface="Calibri" panose="020F0502020204030204" pitchFamily="34" charset="0"/>
            </a:rPr>
            <a:t>Havayolu dergilerinde yayımlanan reklam giderleri,</a:t>
          </a:r>
          <a:endParaRPr lang="tr-TR" sz="1600" dirty="0">
            <a:solidFill>
              <a:srgbClr val="FF0000"/>
            </a:solidFill>
            <a:latin typeface="Calibri" panose="020F0502020204030204" pitchFamily="34" charset="0"/>
            <a:cs typeface="Calibri" panose="020F0502020204030204" pitchFamily="34" charset="0"/>
          </a:endParaRPr>
        </a:p>
      </dgm:t>
    </dgm:pt>
    <dgm:pt modelId="{2F2CE438-12DB-4DE7-A4B1-2D76491E8065}" type="parTrans" cxnId="{E417BC2A-4E5A-483A-BAEC-CAEC45E1D42C}">
      <dgm:prSet/>
      <dgm:spPr/>
      <dgm:t>
        <a:bodyPr/>
        <a:lstStyle/>
        <a:p>
          <a:endParaRPr lang="tr-TR" sz="1600"/>
        </a:p>
      </dgm:t>
    </dgm:pt>
    <dgm:pt modelId="{4F6BAD50-710A-4DE3-9DBE-657B81B9969E}" type="sibTrans" cxnId="{E417BC2A-4E5A-483A-BAEC-CAEC45E1D42C}">
      <dgm:prSet/>
      <dgm:spPr/>
      <dgm:t>
        <a:bodyPr/>
        <a:lstStyle/>
        <a:p>
          <a:endParaRPr lang="tr-TR" sz="1600"/>
        </a:p>
      </dgm:t>
    </dgm:pt>
    <dgm:pt modelId="{F66EDC94-4AFF-4717-973E-390644C68A81}">
      <dgm:prSet phldrT="[Metin]" custT="1"/>
      <dgm:spPr/>
      <dgm:t>
        <a:bodyPr/>
        <a:lstStyle/>
        <a:p>
          <a:pPr algn="just"/>
          <a:r>
            <a:rPr lang="tr-TR" sz="1600" dirty="0">
              <a:latin typeface="Calibri" panose="020F0502020204030204" pitchFamily="34" charset="0"/>
              <a:cs typeface="Calibri" panose="020F0502020204030204" pitchFamily="34" charset="0"/>
            </a:rPr>
            <a:t>İşletmeyi ve ürünlerini tanıtıcı ve sadece yabancı dilde hazırlanmış katalog giderlerini kapsar.  </a:t>
          </a:r>
          <a:endParaRPr lang="tr-TR" sz="1600" dirty="0">
            <a:solidFill>
              <a:srgbClr val="FF0000"/>
            </a:solidFill>
            <a:latin typeface="Calibri" panose="020F0502020204030204" pitchFamily="34" charset="0"/>
            <a:cs typeface="Calibri" panose="020F0502020204030204" pitchFamily="34" charset="0"/>
          </a:endParaRPr>
        </a:p>
      </dgm:t>
    </dgm:pt>
    <dgm:pt modelId="{AF94E2B7-2A06-45F0-B248-E4482B6B7BD5}" type="parTrans" cxnId="{EBC05D6E-A29F-426F-8E72-C4D2A977E30A}">
      <dgm:prSet/>
      <dgm:spPr/>
      <dgm:t>
        <a:bodyPr/>
        <a:lstStyle/>
        <a:p>
          <a:endParaRPr lang="tr-TR" sz="1600"/>
        </a:p>
      </dgm:t>
    </dgm:pt>
    <dgm:pt modelId="{2B4FD16D-51B9-43F9-9DB1-7B308F48C392}" type="sibTrans" cxnId="{EBC05D6E-A29F-426F-8E72-C4D2A977E30A}">
      <dgm:prSet/>
      <dgm:spPr/>
      <dgm:t>
        <a:bodyPr/>
        <a:lstStyle/>
        <a:p>
          <a:endParaRPr lang="tr-TR" sz="1600"/>
        </a:p>
      </dgm:t>
    </dgm:pt>
    <dgm:pt modelId="{1D4D37DA-C537-4904-83DA-ADDDE780FE2B}">
      <dgm:prSet phldrT="[Metin]" custT="1"/>
      <dgm:spPr/>
      <dgm:t>
        <a:bodyPr/>
        <a:lstStyle/>
        <a:p>
          <a:pPr algn="just"/>
          <a:r>
            <a:rPr lang="tr-TR" sz="1600" b="1" dirty="0">
              <a:solidFill>
                <a:schemeClr val="tx1"/>
              </a:solidFill>
              <a:latin typeface="Calibri" panose="020F0502020204030204" pitchFamily="34" charset="0"/>
              <a:cs typeface="Calibri" panose="020F0502020204030204" pitchFamily="34" charset="0"/>
            </a:rPr>
            <a:t>* </a:t>
          </a:r>
          <a:r>
            <a:rPr lang="tr-TR" sz="1600" dirty="0">
              <a:solidFill>
                <a:srgbClr val="FF0000"/>
              </a:solidFill>
              <a:latin typeface="Calibri" panose="020F0502020204030204" pitchFamily="34" charset="0"/>
              <a:cs typeface="Calibri" panose="020F0502020204030204" pitchFamily="34" charset="0"/>
            </a:rPr>
            <a:t>Her bir gidere ait destek üst limiti 20.000.- TL’dir.</a:t>
          </a:r>
        </a:p>
      </dgm:t>
    </dgm:pt>
    <dgm:pt modelId="{C9EA951A-59F9-4474-BE84-07D1590B51EC}" type="parTrans" cxnId="{816BF107-7422-41F3-A225-3540B9F3A374}">
      <dgm:prSet/>
      <dgm:spPr/>
      <dgm:t>
        <a:bodyPr/>
        <a:lstStyle/>
        <a:p>
          <a:endParaRPr lang="tr-TR" sz="1600"/>
        </a:p>
      </dgm:t>
    </dgm:pt>
    <dgm:pt modelId="{FFC352EC-9482-411A-A455-332877BE330F}" type="sibTrans" cxnId="{816BF107-7422-41F3-A225-3540B9F3A374}">
      <dgm:prSet/>
      <dgm:spPr/>
      <dgm:t>
        <a:bodyPr/>
        <a:lstStyle/>
        <a:p>
          <a:endParaRPr lang="tr-TR" sz="1600"/>
        </a:p>
      </dgm:t>
    </dgm:pt>
    <dgm:pt modelId="{00E14EE6-103F-4350-BE3D-7D0117E76FA0}">
      <dgm:prSet phldrT="[Metin]" custT="1"/>
      <dgm:spPr/>
      <dgm:t>
        <a:bodyPr/>
        <a:lstStyle/>
        <a:p>
          <a:pPr algn="just"/>
          <a:r>
            <a:rPr lang="tr-TR" sz="1400" b="1" dirty="0">
              <a:latin typeface="Calibri" panose="020F0502020204030204" pitchFamily="34" charset="0"/>
              <a:cs typeface="Calibri" panose="020F0502020204030204" pitchFamily="34" charset="0"/>
            </a:rPr>
            <a:t>* </a:t>
          </a:r>
          <a:r>
            <a:rPr lang="tr-TR" sz="1400" dirty="0">
              <a:solidFill>
                <a:srgbClr val="FF0000"/>
              </a:solidFill>
              <a:latin typeface="Calibri" panose="020F0502020204030204" pitchFamily="34" charset="0"/>
              <a:cs typeface="Calibri" panose="020F0502020204030204" pitchFamily="34" charset="0"/>
            </a:rPr>
            <a:t>İşletme temsilcilerinin; işletme sahibi, ortağı veya projede görevli çalışanı olması gerekir.</a:t>
          </a:r>
          <a:endParaRPr lang="tr-TR" sz="1400" dirty="0">
            <a:latin typeface="Calibri" panose="020F0502020204030204" pitchFamily="34" charset="0"/>
            <a:cs typeface="Calibri" panose="020F0502020204030204" pitchFamily="34" charset="0"/>
          </a:endParaRPr>
        </a:p>
      </dgm:t>
    </dgm:pt>
    <dgm:pt modelId="{6B7F9429-551A-4EA9-ADE5-142EDB17A294}" type="parTrans" cxnId="{86B7E987-434F-4E30-941C-1E2A2ED6D0C0}">
      <dgm:prSet/>
      <dgm:spPr/>
      <dgm:t>
        <a:bodyPr/>
        <a:lstStyle/>
        <a:p>
          <a:endParaRPr lang="tr-TR" sz="1600"/>
        </a:p>
      </dgm:t>
    </dgm:pt>
    <dgm:pt modelId="{9FCD6FFB-115B-4604-8E2E-745EC9A658C6}" type="sibTrans" cxnId="{86B7E987-434F-4E30-941C-1E2A2ED6D0C0}">
      <dgm:prSet/>
      <dgm:spPr/>
      <dgm:t>
        <a:bodyPr/>
        <a:lstStyle/>
        <a:p>
          <a:endParaRPr lang="tr-TR" sz="1600"/>
        </a:p>
      </dgm:t>
    </dgm:pt>
    <dgm:pt modelId="{020BFBC0-A0CB-4BB9-8B1B-65CD0BC8F867}">
      <dgm:prSet phldrT="[Metin]" custT="1"/>
      <dgm:spPr/>
      <dgm:t>
        <a:bodyPr/>
        <a:lstStyle/>
        <a:p>
          <a:pPr algn="just"/>
          <a:endParaRPr lang="tr-TR" sz="1400" dirty="0">
            <a:latin typeface="Calibri" panose="020F0502020204030204" pitchFamily="34" charset="0"/>
            <a:cs typeface="Calibri" panose="020F0502020204030204" pitchFamily="34" charset="0"/>
          </a:endParaRPr>
        </a:p>
      </dgm:t>
    </dgm:pt>
    <dgm:pt modelId="{028DC1E1-7F0B-4B13-B4FF-F99CF0A12B0B}" type="parTrans" cxnId="{78698A06-4879-4158-9EAB-93332F3CE154}">
      <dgm:prSet/>
      <dgm:spPr/>
      <dgm:t>
        <a:bodyPr/>
        <a:lstStyle/>
        <a:p>
          <a:endParaRPr lang="tr-TR" sz="1600"/>
        </a:p>
      </dgm:t>
    </dgm:pt>
    <dgm:pt modelId="{B4C7B315-B27E-4684-8A80-32835EFE270F}" type="sibTrans" cxnId="{78698A06-4879-4158-9EAB-93332F3CE154}">
      <dgm:prSet/>
      <dgm:spPr/>
      <dgm:t>
        <a:bodyPr/>
        <a:lstStyle/>
        <a:p>
          <a:endParaRPr lang="tr-TR" sz="1600"/>
        </a:p>
      </dgm:t>
    </dgm:pt>
    <dgm:pt modelId="{8D9A727D-9FEF-4BA2-A58F-9228A744808D}" type="pres">
      <dgm:prSet presAssocID="{4D217ED4-7198-413E-93F7-3578C3D18B29}" presName="Name0" presStyleCnt="0">
        <dgm:presLayoutVars>
          <dgm:dir/>
          <dgm:animLvl val="lvl"/>
          <dgm:resizeHandles val="exact"/>
        </dgm:presLayoutVars>
      </dgm:prSet>
      <dgm:spPr/>
      <dgm:t>
        <a:bodyPr/>
        <a:lstStyle/>
        <a:p>
          <a:endParaRPr lang="tr-TR"/>
        </a:p>
      </dgm:t>
    </dgm:pt>
    <dgm:pt modelId="{7447F2C5-841B-464A-ABA8-3BEDF3CB2266}" type="pres">
      <dgm:prSet presAssocID="{74945AE8-85B8-4A4C-AFBD-8FD18D8021F7}" presName="linNode" presStyleCnt="0"/>
      <dgm:spPr/>
    </dgm:pt>
    <dgm:pt modelId="{EA76D721-580E-4CFE-8AB1-08AB49290FD9}" type="pres">
      <dgm:prSet presAssocID="{74945AE8-85B8-4A4C-AFBD-8FD18D8021F7}" presName="parentText" presStyleLbl="node1" presStyleIdx="0" presStyleCnt="2" custScaleX="70438" custScaleY="107078" custLinFactNeighborX="-1596" custLinFactNeighborY="-504">
        <dgm:presLayoutVars>
          <dgm:chMax val="1"/>
          <dgm:bulletEnabled val="1"/>
        </dgm:presLayoutVars>
      </dgm:prSet>
      <dgm:spPr/>
      <dgm:t>
        <a:bodyPr/>
        <a:lstStyle/>
        <a:p>
          <a:endParaRPr lang="tr-TR"/>
        </a:p>
      </dgm:t>
    </dgm:pt>
    <dgm:pt modelId="{E95A3130-ACEB-4BFD-94BA-1A81F19E2715}" type="pres">
      <dgm:prSet presAssocID="{74945AE8-85B8-4A4C-AFBD-8FD18D8021F7}" presName="descendantText" presStyleLbl="alignAccFollowNode1" presStyleIdx="0" presStyleCnt="2" custScaleX="141561" custScaleY="134126" custLinFactNeighborX="-3203" custLinFactNeighborY="1129">
        <dgm:presLayoutVars>
          <dgm:bulletEnabled val="1"/>
        </dgm:presLayoutVars>
      </dgm:prSet>
      <dgm:spPr/>
      <dgm:t>
        <a:bodyPr/>
        <a:lstStyle/>
        <a:p>
          <a:endParaRPr lang="tr-TR"/>
        </a:p>
      </dgm:t>
    </dgm:pt>
    <dgm:pt modelId="{70517AD4-9811-4566-9B52-596BCB96AF5A}" type="pres">
      <dgm:prSet presAssocID="{F89DDD73-52E9-4F89-A5E0-1C665AE0209C}" presName="sp" presStyleCnt="0"/>
      <dgm:spPr/>
    </dgm:pt>
    <dgm:pt modelId="{AE4C51C7-4E10-4399-BA30-858AE482707B}" type="pres">
      <dgm:prSet presAssocID="{9A47A6A6-F96B-4945-A979-B91C21B53F4C}" presName="linNode" presStyleCnt="0"/>
      <dgm:spPr/>
    </dgm:pt>
    <dgm:pt modelId="{BCC3E5CA-EDFB-41E8-964A-E04CF46A4B77}" type="pres">
      <dgm:prSet presAssocID="{9A47A6A6-F96B-4945-A979-B91C21B53F4C}" presName="parentText" presStyleLbl="node1" presStyleIdx="1" presStyleCnt="2" custScaleX="74395" custScaleY="114411" custLinFactNeighborX="-296" custLinFactNeighborY="48">
        <dgm:presLayoutVars>
          <dgm:chMax val="1"/>
          <dgm:bulletEnabled val="1"/>
        </dgm:presLayoutVars>
      </dgm:prSet>
      <dgm:spPr/>
      <dgm:t>
        <a:bodyPr/>
        <a:lstStyle/>
        <a:p>
          <a:endParaRPr lang="tr-TR"/>
        </a:p>
      </dgm:t>
    </dgm:pt>
    <dgm:pt modelId="{2E7D9D7D-DFC2-44E5-BB9B-BA7D5AF108E2}" type="pres">
      <dgm:prSet presAssocID="{9A47A6A6-F96B-4945-A979-B91C21B53F4C}" presName="descendantText" presStyleLbl="alignAccFollowNode1" presStyleIdx="1" presStyleCnt="2" custScaleX="143924" custScaleY="139206" custLinFactNeighborX="-90" custLinFactNeighborY="1607">
        <dgm:presLayoutVars>
          <dgm:bulletEnabled val="1"/>
        </dgm:presLayoutVars>
      </dgm:prSet>
      <dgm:spPr/>
      <dgm:t>
        <a:bodyPr/>
        <a:lstStyle/>
        <a:p>
          <a:endParaRPr lang="tr-TR"/>
        </a:p>
      </dgm:t>
    </dgm:pt>
  </dgm:ptLst>
  <dgm:cxnLst>
    <dgm:cxn modelId="{6C561B10-4F23-4475-AD89-E61340B26644}" type="presOf" srcId="{9A47A6A6-F96B-4945-A979-B91C21B53F4C}" destId="{BCC3E5CA-EDFB-41E8-964A-E04CF46A4B77}" srcOrd="0" destOrd="0" presId="urn:microsoft.com/office/officeart/2005/8/layout/vList5"/>
    <dgm:cxn modelId="{9920D9A1-C445-461B-8E26-AE95859AF8E6}" srcId="{74945AE8-85B8-4A4C-AFBD-8FD18D8021F7}" destId="{58B51C50-72F6-405E-8500-3AD3D454AAA4}" srcOrd="0" destOrd="0" parTransId="{1C1C3F9E-707A-46C6-B114-9FE5AF07E2B0}" sibTransId="{8E8893DD-6062-4110-B831-B625D37CC0F5}"/>
    <dgm:cxn modelId="{78698A06-4879-4158-9EAB-93332F3CE154}" srcId="{9A47A6A6-F96B-4945-A979-B91C21B53F4C}" destId="{020BFBC0-A0CB-4BB9-8B1B-65CD0BC8F867}" srcOrd="2" destOrd="0" parTransId="{028DC1E1-7F0B-4B13-B4FF-F99CF0A12B0B}" sibTransId="{B4C7B315-B27E-4684-8A80-32835EFE270F}"/>
    <dgm:cxn modelId="{698C52C4-BC0C-4C71-88CD-7AC1CC6893C5}" type="presOf" srcId="{F1F4A727-73B9-4023-9E7E-FDECC575FCF0}" destId="{E95A3130-ACEB-4BFD-94BA-1A81F19E2715}" srcOrd="0" destOrd="1" presId="urn:microsoft.com/office/officeart/2005/8/layout/vList5"/>
    <dgm:cxn modelId="{18F2AFE8-4E39-45CE-A8DE-CE5096F3BCAE}" srcId="{4D217ED4-7198-413E-93F7-3578C3D18B29}" destId="{9A47A6A6-F96B-4945-A979-B91C21B53F4C}" srcOrd="1" destOrd="0" parTransId="{339AC710-6157-49B3-A068-3E7E06D575CD}" sibTransId="{85C4FA71-5E5C-4DA2-B059-A6D475EDEF30}"/>
    <dgm:cxn modelId="{EBC05D6E-A29F-426F-8E72-C4D2A977E30A}" srcId="{74945AE8-85B8-4A4C-AFBD-8FD18D8021F7}" destId="{F66EDC94-4AFF-4717-973E-390644C68A81}" srcOrd="4" destOrd="0" parTransId="{AF94E2B7-2A06-45F0-B248-E4482B6B7BD5}" sibTransId="{2B4FD16D-51B9-43F9-9DB1-7B308F48C392}"/>
    <dgm:cxn modelId="{86B7E987-434F-4E30-941C-1E2A2ED6D0C0}" srcId="{9A47A6A6-F96B-4945-A979-B91C21B53F4C}" destId="{00E14EE6-103F-4350-BE3D-7D0117E76FA0}" srcOrd="4" destOrd="0" parTransId="{6B7F9429-551A-4EA9-ADE5-142EDB17A294}" sibTransId="{9FCD6FFB-115B-4604-8E2E-745EC9A658C6}"/>
    <dgm:cxn modelId="{CB674650-EC12-45D5-A671-DB370CBB3280}" type="presOf" srcId="{87477B85-61C9-4B9A-9739-9B9BC8BA9501}" destId="{E95A3130-ACEB-4BFD-94BA-1A81F19E2715}" srcOrd="0" destOrd="3" presId="urn:microsoft.com/office/officeart/2005/8/layout/vList5"/>
    <dgm:cxn modelId="{F1AD4DF8-7295-4774-920E-D82E06398A33}" type="presOf" srcId="{84F13D86-3691-45BB-8E8B-CDC2A82FB24F}" destId="{E95A3130-ACEB-4BFD-94BA-1A81F19E2715}" srcOrd="0" destOrd="2" presId="urn:microsoft.com/office/officeart/2005/8/layout/vList5"/>
    <dgm:cxn modelId="{5AAB7347-4133-434B-93EC-DF3368ED32A6}" srcId="{4D217ED4-7198-413E-93F7-3578C3D18B29}" destId="{74945AE8-85B8-4A4C-AFBD-8FD18D8021F7}" srcOrd="0" destOrd="0" parTransId="{4C3E70A3-673D-4ECC-98B0-C3C771ED63D1}" sibTransId="{F89DDD73-52E9-4F89-A5E0-1C665AE0209C}"/>
    <dgm:cxn modelId="{B2001B51-374D-4731-B4D7-9604ED15A319}" type="presOf" srcId="{58B51C50-72F6-405E-8500-3AD3D454AAA4}" destId="{E95A3130-ACEB-4BFD-94BA-1A81F19E2715}" srcOrd="0" destOrd="0" presId="urn:microsoft.com/office/officeart/2005/8/layout/vList5"/>
    <dgm:cxn modelId="{3F5AC400-571F-4EE1-88DE-BB9CB473D1D4}" type="presOf" srcId="{E443610D-904C-4B3D-B072-40B091378BD1}" destId="{2E7D9D7D-DFC2-44E5-BB9B-BA7D5AF108E2}" srcOrd="0" destOrd="1" presId="urn:microsoft.com/office/officeart/2005/8/layout/vList5"/>
    <dgm:cxn modelId="{04546A11-1068-4A18-B91A-2172C788A287}" srcId="{74945AE8-85B8-4A4C-AFBD-8FD18D8021F7}" destId="{84F13D86-3691-45BB-8E8B-CDC2A82FB24F}" srcOrd="2" destOrd="0" parTransId="{F925EF42-82AB-4227-8285-DDEFDA37CF0B}" sibTransId="{31F7F78A-FA42-42C9-9582-8B3080259A94}"/>
    <dgm:cxn modelId="{B2575CD2-6A70-42B5-BA29-C3789651D814}" type="presOf" srcId="{4D217ED4-7198-413E-93F7-3578C3D18B29}" destId="{8D9A727D-9FEF-4BA2-A58F-9228A744808D}" srcOrd="0" destOrd="0" presId="urn:microsoft.com/office/officeart/2005/8/layout/vList5"/>
    <dgm:cxn modelId="{AA3F6A0C-30EA-4F18-BB39-AC4D6910FB9B}" type="presOf" srcId="{74945AE8-85B8-4A4C-AFBD-8FD18D8021F7}" destId="{EA76D721-580E-4CFE-8AB1-08AB49290FD9}" srcOrd="0" destOrd="0" presId="urn:microsoft.com/office/officeart/2005/8/layout/vList5"/>
    <dgm:cxn modelId="{DB6E4336-05B0-43F1-9E8D-860BBCC586DF}" srcId="{9A47A6A6-F96B-4945-A979-B91C21B53F4C}" destId="{5DDD7D38-F2BC-4142-A878-ECD5A9320F1E}" srcOrd="0" destOrd="0" parTransId="{C0325BCB-D900-4776-BCD3-FF3D61620E07}" sibTransId="{2EBC6B27-E421-4708-8895-74185333CB66}"/>
    <dgm:cxn modelId="{CFF8F8F3-9AAA-438D-8295-83BE7CC90F1F}" type="presOf" srcId="{020BFBC0-A0CB-4BB9-8B1B-65CD0BC8F867}" destId="{2E7D9D7D-DFC2-44E5-BB9B-BA7D5AF108E2}" srcOrd="0" destOrd="2" presId="urn:microsoft.com/office/officeart/2005/8/layout/vList5"/>
    <dgm:cxn modelId="{254AF6DC-EBB1-4448-89AA-A81A0E4AAFDF}" type="presOf" srcId="{00E14EE6-103F-4350-BE3D-7D0117E76FA0}" destId="{2E7D9D7D-DFC2-44E5-BB9B-BA7D5AF108E2}" srcOrd="0" destOrd="4" presId="urn:microsoft.com/office/officeart/2005/8/layout/vList5"/>
    <dgm:cxn modelId="{31E9BCD3-1BD7-4121-8872-FD6A41CD6041}" srcId="{9A47A6A6-F96B-4945-A979-B91C21B53F4C}" destId="{1CAEDE70-867F-42CD-A01D-8E79C364EDF0}" srcOrd="5" destOrd="0" parTransId="{FD8DAB0F-B728-4B65-9A02-A36AC05B8D31}" sibTransId="{0A7FD95F-D770-4995-A407-E5FFF45EB4BB}"/>
    <dgm:cxn modelId="{F3B692A3-A274-41CF-AF31-3D1F25F7E6B3}" type="presOf" srcId="{1D4D37DA-C537-4904-83DA-ADDDE780FE2B}" destId="{E95A3130-ACEB-4BFD-94BA-1A81F19E2715}" srcOrd="0" destOrd="5" presId="urn:microsoft.com/office/officeart/2005/8/layout/vList5"/>
    <dgm:cxn modelId="{E0A56372-16D5-4424-B183-AB4AE4B6A66E}" type="presOf" srcId="{F66EDC94-4AFF-4717-973E-390644C68A81}" destId="{E95A3130-ACEB-4BFD-94BA-1A81F19E2715}" srcOrd="0" destOrd="4" presId="urn:microsoft.com/office/officeart/2005/8/layout/vList5"/>
    <dgm:cxn modelId="{CAC3A77F-E2B5-49F2-8244-624B52FCFA50}" srcId="{9A47A6A6-F96B-4945-A979-B91C21B53F4C}" destId="{E443610D-904C-4B3D-B072-40B091378BD1}" srcOrd="1" destOrd="0" parTransId="{8BE6F7E2-B25D-4125-AB42-16B28678A24F}" sibTransId="{A30BDE4C-B23F-4147-8BEE-1BEC2B1C5A07}"/>
    <dgm:cxn modelId="{B9EB5913-AD32-4815-9418-EFDCFE7EAF8A}" type="presOf" srcId="{5DDD7D38-F2BC-4142-A878-ECD5A9320F1E}" destId="{2E7D9D7D-DFC2-44E5-BB9B-BA7D5AF108E2}" srcOrd="0" destOrd="0" presId="urn:microsoft.com/office/officeart/2005/8/layout/vList5"/>
    <dgm:cxn modelId="{3367D418-EEAA-4ED4-AC85-76AA6245C3E7}" srcId="{74945AE8-85B8-4A4C-AFBD-8FD18D8021F7}" destId="{F1F4A727-73B9-4023-9E7E-FDECC575FCF0}" srcOrd="1" destOrd="0" parTransId="{5D96B230-E7F0-41F8-BD45-8E051ADDBBD9}" sibTransId="{BF48223C-8DE2-4E5F-BA96-1031EF5CC0E0}"/>
    <dgm:cxn modelId="{B6C623FF-ED15-46F7-B1DE-0E7E78EACDB8}" type="presOf" srcId="{AA9B7A9F-2016-4225-8A33-1B113B78A167}" destId="{2E7D9D7D-DFC2-44E5-BB9B-BA7D5AF108E2}" srcOrd="0" destOrd="3" presId="urn:microsoft.com/office/officeart/2005/8/layout/vList5"/>
    <dgm:cxn modelId="{816BF107-7422-41F3-A225-3540B9F3A374}" srcId="{74945AE8-85B8-4A4C-AFBD-8FD18D8021F7}" destId="{1D4D37DA-C537-4904-83DA-ADDDE780FE2B}" srcOrd="5" destOrd="0" parTransId="{C9EA951A-59F9-4474-BE84-07D1590B51EC}" sibTransId="{FFC352EC-9482-411A-A455-332877BE330F}"/>
    <dgm:cxn modelId="{470A876A-C6ED-4817-9440-F1F8E6D37054}" srcId="{9A47A6A6-F96B-4945-A979-B91C21B53F4C}" destId="{AA9B7A9F-2016-4225-8A33-1B113B78A167}" srcOrd="3" destOrd="0" parTransId="{B1E84FAC-C28F-4957-90FA-18F3417E0C32}" sibTransId="{B7A53EB2-CDDC-4A20-8579-9C7D9DDA6FB5}"/>
    <dgm:cxn modelId="{4D8A459C-47B2-4CCE-90B0-F0693E237686}" type="presOf" srcId="{1CAEDE70-867F-42CD-A01D-8E79C364EDF0}" destId="{2E7D9D7D-DFC2-44E5-BB9B-BA7D5AF108E2}" srcOrd="0" destOrd="5" presId="urn:microsoft.com/office/officeart/2005/8/layout/vList5"/>
    <dgm:cxn modelId="{E417BC2A-4E5A-483A-BAEC-CAEC45E1D42C}" srcId="{74945AE8-85B8-4A4C-AFBD-8FD18D8021F7}" destId="{87477B85-61C9-4B9A-9739-9B9BC8BA9501}" srcOrd="3" destOrd="0" parTransId="{2F2CE438-12DB-4DE7-A4B1-2D76491E8065}" sibTransId="{4F6BAD50-710A-4DE3-9DBE-657B81B9969E}"/>
    <dgm:cxn modelId="{A4BE33C1-588B-40CC-84C1-5071AB4F75B1}" type="presParOf" srcId="{8D9A727D-9FEF-4BA2-A58F-9228A744808D}" destId="{7447F2C5-841B-464A-ABA8-3BEDF3CB2266}" srcOrd="0" destOrd="0" presId="urn:microsoft.com/office/officeart/2005/8/layout/vList5"/>
    <dgm:cxn modelId="{047F919B-1085-4BDC-825D-87672B73AB1E}" type="presParOf" srcId="{7447F2C5-841B-464A-ABA8-3BEDF3CB2266}" destId="{EA76D721-580E-4CFE-8AB1-08AB49290FD9}" srcOrd="0" destOrd="0" presId="urn:microsoft.com/office/officeart/2005/8/layout/vList5"/>
    <dgm:cxn modelId="{DE1D847B-F083-4078-A828-0C8286DE55DB}" type="presParOf" srcId="{7447F2C5-841B-464A-ABA8-3BEDF3CB2266}" destId="{E95A3130-ACEB-4BFD-94BA-1A81F19E2715}" srcOrd="1" destOrd="0" presId="urn:microsoft.com/office/officeart/2005/8/layout/vList5"/>
    <dgm:cxn modelId="{438AA59E-CBD4-4108-A3ED-65DA068045C8}" type="presParOf" srcId="{8D9A727D-9FEF-4BA2-A58F-9228A744808D}" destId="{70517AD4-9811-4566-9B52-596BCB96AF5A}" srcOrd="1" destOrd="0" presId="urn:microsoft.com/office/officeart/2005/8/layout/vList5"/>
    <dgm:cxn modelId="{C187FA1B-A8F0-4815-8350-7373F7767B70}" type="presParOf" srcId="{8D9A727D-9FEF-4BA2-A58F-9228A744808D}" destId="{AE4C51C7-4E10-4399-BA30-858AE482707B}" srcOrd="2" destOrd="0" presId="urn:microsoft.com/office/officeart/2005/8/layout/vList5"/>
    <dgm:cxn modelId="{DD730973-E83E-476B-8F9E-BD83865E7ABA}" type="presParOf" srcId="{AE4C51C7-4E10-4399-BA30-858AE482707B}" destId="{BCC3E5CA-EDFB-41E8-964A-E04CF46A4B77}" srcOrd="0" destOrd="0" presId="urn:microsoft.com/office/officeart/2005/8/layout/vList5"/>
    <dgm:cxn modelId="{2FA85D91-4BD5-4749-97C1-625EC2CBD36B}" type="presParOf" srcId="{AE4C51C7-4E10-4399-BA30-858AE482707B}" destId="{2E7D9D7D-DFC2-44E5-BB9B-BA7D5AF108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D217ED4-7198-413E-93F7-3578C3D18B2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tr-TR"/>
        </a:p>
      </dgm:t>
    </dgm:pt>
    <dgm:pt modelId="{74945AE8-85B8-4A4C-AFBD-8FD18D8021F7}">
      <dgm:prSet phldrT="[Metin]" custT="1"/>
      <dgm:spPr/>
      <dgm:t>
        <a:bodyPr/>
        <a:lstStyle/>
        <a:p>
          <a:r>
            <a:rPr lang="tr-TR" sz="2000" b="1" dirty="0">
              <a:latin typeface="Calibri" panose="020F0502020204030204" pitchFamily="34" charset="0"/>
              <a:cs typeface="Calibri" panose="020F0502020204030204" pitchFamily="34" charset="0"/>
            </a:rPr>
            <a:t>Test, Analiz ve Belgelendirme Giderleri</a:t>
          </a:r>
        </a:p>
        <a:p>
          <a:r>
            <a:rPr lang="tr-TR" sz="2000" i="1" u="none" dirty="0">
              <a:latin typeface="Calibri" panose="020F0502020204030204" pitchFamily="34" charset="0"/>
              <a:cs typeface="Calibri" panose="020F0502020204030204" pitchFamily="34" charset="0"/>
            </a:rPr>
            <a:t>(Üst Limit: 100.000 TL)</a:t>
          </a:r>
        </a:p>
      </dgm:t>
    </dgm:pt>
    <dgm:pt modelId="{4C3E70A3-673D-4ECC-98B0-C3C771ED63D1}" type="parTrans" cxnId="{5AAB7347-4133-434B-93EC-DF3368ED32A6}">
      <dgm:prSet/>
      <dgm:spPr/>
      <dgm:t>
        <a:bodyPr/>
        <a:lstStyle/>
        <a:p>
          <a:endParaRPr lang="tr-TR" sz="1600"/>
        </a:p>
      </dgm:t>
    </dgm:pt>
    <dgm:pt modelId="{F89DDD73-52E9-4F89-A5E0-1C665AE0209C}" type="sibTrans" cxnId="{5AAB7347-4133-434B-93EC-DF3368ED32A6}">
      <dgm:prSet/>
      <dgm:spPr/>
      <dgm:t>
        <a:bodyPr/>
        <a:lstStyle/>
        <a:p>
          <a:endParaRPr lang="tr-TR" sz="1600"/>
        </a:p>
      </dgm:t>
    </dgm:pt>
    <dgm:pt modelId="{58B51C50-72F6-405E-8500-3AD3D454AAA4}">
      <dgm:prSet phldrT="[Metin]" custT="1"/>
      <dgm:spPr/>
      <dgm:t>
        <a:bodyPr/>
        <a:lstStyle/>
        <a:p>
          <a:pPr algn="just"/>
          <a:r>
            <a:rPr lang="tr-TR" sz="1600" dirty="0">
              <a:latin typeface="Calibri" panose="020F0502020204030204" pitchFamily="34" charset="0"/>
              <a:cs typeface="Calibri" panose="020F0502020204030204" pitchFamily="34" charset="0"/>
            </a:rPr>
            <a:t>Test, analiz giderleri; işletmelerin, yurt içi ve yurt dışı laboratuvarlardan uluslararası pazarlara girişini sağlayacak ve/veya uluslararası pazarlarda rekabet avantajı yaratacak akredite olunan test, analiz konularında alacakları hizmet giderlerini kapsar.</a:t>
          </a:r>
        </a:p>
      </dgm:t>
    </dgm:pt>
    <dgm:pt modelId="{1C1C3F9E-707A-46C6-B114-9FE5AF07E2B0}" type="parTrans" cxnId="{9920D9A1-C445-461B-8E26-AE95859AF8E6}">
      <dgm:prSet/>
      <dgm:spPr/>
      <dgm:t>
        <a:bodyPr/>
        <a:lstStyle/>
        <a:p>
          <a:endParaRPr lang="tr-TR" sz="1600"/>
        </a:p>
      </dgm:t>
    </dgm:pt>
    <dgm:pt modelId="{8E8893DD-6062-4110-B831-B625D37CC0F5}" type="sibTrans" cxnId="{9920D9A1-C445-461B-8E26-AE95859AF8E6}">
      <dgm:prSet/>
      <dgm:spPr/>
      <dgm:t>
        <a:bodyPr/>
        <a:lstStyle/>
        <a:p>
          <a:endParaRPr lang="tr-TR" sz="1600"/>
        </a:p>
      </dgm:t>
    </dgm:pt>
    <dgm:pt modelId="{6185F662-3F02-4498-A8CB-B54CEC8FE415}">
      <dgm:prSet phldrT="[Metin]" custT="1"/>
      <dgm:spPr/>
      <dgm:t>
        <a:bodyPr/>
        <a:lstStyle/>
        <a:p>
          <a:pPr algn="just"/>
          <a:endParaRPr lang="tr-TR" sz="1100" dirty="0"/>
        </a:p>
      </dgm:t>
    </dgm:pt>
    <dgm:pt modelId="{94783F0C-A0AF-438F-98B4-428CA3249DE8}" type="parTrans" cxnId="{E92AEFB9-A79B-425A-B113-DB37CA1425E8}">
      <dgm:prSet/>
      <dgm:spPr/>
      <dgm:t>
        <a:bodyPr/>
        <a:lstStyle/>
        <a:p>
          <a:endParaRPr lang="tr-TR" sz="1600"/>
        </a:p>
      </dgm:t>
    </dgm:pt>
    <dgm:pt modelId="{C07B18C2-5AFB-446F-9A09-85C9919B5895}" type="sibTrans" cxnId="{E92AEFB9-A79B-425A-B113-DB37CA1425E8}">
      <dgm:prSet/>
      <dgm:spPr/>
      <dgm:t>
        <a:bodyPr/>
        <a:lstStyle/>
        <a:p>
          <a:endParaRPr lang="tr-TR" sz="1600"/>
        </a:p>
      </dgm:t>
    </dgm:pt>
    <dgm:pt modelId="{D1FA8EEC-7D3A-4424-A426-9C906BB533A5}">
      <dgm:prSet phldrT="[Metin]" custT="1"/>
      <dgm:spPr/>
      <dgm:t>
        <a:bodyPr/>
        <a:lstStyle/>
        <a:p>
          <a:pPr algn="just"/>
          <a:r>
            <a:rPr lang="tr-TR" sz="1600" dirty="0">
              <a:latin typeface="Calibri" panose="020F0502020204030204" pitchFamily="34" charset="0"/>
              <a:cs typeface="Calibri" panose="020F0502020204030204" pitchFamily="34" charset="0"/>
            </a:rPr>
            <a:t>Belgelendirme giderleri, işletmelerin uluslararası pazarlara girişini sağlayacak ve/veya uluslararası pazarlarda rekabet avantajı yaratacak belge alımlarını kapsar.</a:t>
          </a:r>
        </a:p>
      </dgm:t>
    </dgm:pt>
    <dgm:pt modelId="{20E9F5C6-B4C0-401F-A91C-7FCA9BC4686C}" type="parTrans" cxnId="{31A4E67A-57C3-4E18-94DF-7B6B9DC11EE8}">
      <dgm:prSet/>
      <dgm:spPr/>
      <dgm:t>
        <a:bodyPr/>
        <a:lstStyle/>
        <a:p>
          <a:endParaRPr lang="tr-TR" sz="1600"/>
        </a:p>
      </dgm:t>
    </dgm:pt>
    <dgm:pt modelId="{0254F176-BCFE-483A-B23B-03A944218AB9}" type="sibTrans" cxnId="{31A4E67A-57C3-4E18-94DF-7B6B9DC11EE8}">
      <dgm:prSet/>
      <dgm:spPr/>
      <dgm:t>
        <a:bodyPr/>
        <a:lstStyle/>
        <a:p>
          <a:endParaRPr lang="tr-TR" sz="1600"/>
        </a:p>
      </dgm:t>
    </dgm:pt>
    <dgm:pt modelId="{EC84F96F-96A0-44F4-BB8A-EA41F530E2F4}">
      <dgm:prSet phldrT="[Metin]" custT="1"/>
      <dgm:spPr/>
      <dgm:t>
        <a:bodyPr/>
        <a:lstStyle/>
        <a:p>
          <a:pPr algn="just"/>
          <a:r>
            <a:rPr lang="tr-TR" sz="1600" dirty="0">
              <a:latin typeface="Calibri" panose="020F0502020204030204" pitchFamily="34" charset="0"/>
              <a:cs typeface="Calibri" panose="020F0502020204030204" pitchFamily="34" charset="0"/>
            </a:rPr>
            <a:t>Belgelendirme giderleri kapsamında başvuru, dosya inceleme, danışmanlık, eğitim, tetkik, denetim ve belge alımı giderlerine </a:t>
          </a:r>
          <a:r>
            <a:rPr lang="tr-TR" sz="1600" b="1" u="none" dirty="0">
              <a:solidFill>
                <a:schemeClr val="tx1"/>
              </a:solidFill>
              <a:latin typeface="Calibri" panose="020F0502020204030204" pitchFamily="34" charset="0"/>
              <a:cs typeface="Calibri" panose="020F0502020204030204" pitchFamily="34" charset="0"/>
            </a:rPr>
            <a:t>20.000 -TL’ye kadar </a:t>
          </a:r>
          <a:r>
            <a:rPr lang="tr-TR" sz="1600" dirty="0">
              <a:latin typeface="Calibri" panose="020F0502020204030204" pitchFamily="34" charset="0"/>
              <a:cs typeface="Calibri" panose="020F0502020204030204" pitchFamily="34" charset="0"/>
            </a:rPr>
            <a:t>destek verilir.</a:t>
          </a:r>
        </a:p>
      </dgm:t>
    </dgm:pt>
    <dgm:pt modelId="{534F0B76-71A2-4E85-BA80-CAD016A9B2FE}" type="parTrans" cxnId="{5ED1EF42-CA3D-4BE9-ABFC-94032EE51C17}">
      <dgm:prSet/>
      <dgm:spPr/>
      <dgm:t>
        <a:bodyPr/>
        <a:lstStyle/>
        <a:p>
          <a:endParaRPr lang="tr-TR" sz="1600"/>
        </a:p>
      </dgm:t>
    </dgm:pt>
    <dgm:pt modelId="{136B7168-81C6-44EC-85B7-1417DC788904}" type="sibTrans" cxnId="{5ED1EF42-CA3D-4BE9-ABFC-94032EE51C17}">
      <dgm:prSet/>
      <dgm:spPr/>
      <dgm:t>
        <a:bodyPr/>
        <a:lstStyle/>
        <a:p>
          <a:endParaRPr lang="tr-TR" sz="1600"/>
        </a:p>
      </dgm:t>
    </dgm:pt>
    <dgm:pt modelId="{34E7F854-BF70-40B3-80AB-05C571CC1B5B}">
      <dgm:prSet phldrT="[Metin]" custT="1"/>
      <dgm:spPr/>
      <dgm:t>
        <a:bodyPr/>
        <a:lstStyle/>
        <a:p>
          <a:pPr algn="just"/>
          <a:endParaRPr lang="tr-TR" sz="1600" dirty="0">
            <a:latin typeface="Calibri" panose="020F0502020204030204" pitchFamily="34" charset="0"/>
            <a:cs typeface="Calibri" panose="020F0502020204030204" pitchFamily="34" charset="0"/>
          </a:endParaRPr>
        </a:p>
      </dgm:t>
    </dgm:pt>
    <dgm:pt modelId="{B3C5D7DE-EF3B-48A5-BF12-37292D889606}" type="parTrans" cxnId="{FB4A82EF-5F2C-4DD6-BC0A-BE01DFA822F5}">
      <dgm:prSet/>
      <dgm:spPr/>
      <dgm:t>
        <a:bodyPr/>
        <a:lstStyle/>
        <a:p>
          <a:endParaRPr lang="tr-TR" sz="1600"/>
        </a:p>
      </dgm:t>
    </dgm:pt>
    <dgm:pt modelId="{FFBCD043-9752-4E8B-AB01-E8FD94467452}" type="sibTrans" cxnId="{FB4A82EF-5F2C-4DD6-BC0A-BE01DFA822F5}">
      <dgm:prSet/>
      <dgm:spPr/>
      <dgm:t>
        <a:bodyPr/>
        <a:lstStyle/>
        <a:p>
          <a:endParaRPr lang="tr-TR" sz="1600"/>
        </a:p>
      </dgm:t>
    </dgm:pt>
    <dgm:pt modelId="{A642A777-93D7-4AA6-AF45-AF92BDB78754}">
      <dgm:prSet phldrT="[Metin]" custT="1"/>
      <dgm:spPr/>
      <dgm:t>
        <a:bodyPr/>
        <a:lstStyle/>
        <a:p>
          <a:pPr algn="just"/>
          <a:endParaRPr lang="tr-TR" sz="1600" dirty="0">
            <a:latin typeface="Calibri" panose="020F0502020204030204" pitchFamily="34" charset="0"/>
            <a:cs typeface="Calibri" panose="020F0502020204030204" pitchFamily="34" charset="0"/>
          </a:endParaRPr>
        </a:p>
      </dgm:t>
    </dgm:pt>
    <dgm:pt modelId="{97C45A7F-8508-4FEE-BC16-B4DE3FF4C614}" type="parTrans" cxnId="{C93C02AC-895A-4C64-B2EA-8C98208B0B8A}">
      <dgm:prSet/>
      <dgm:spPr/>
      <dgm:t>
        <a:bodyPr/>
        <a:lstStyle/>
        <a:p>
          <a:endParaRPr lang="tr-TR" sz="1600"/>
        </a:p>
      </dgm:t>
    </dgm:pt>
    <dgm:pt modelId="{7DBAFB84-3B9D-4584-8591-67B8D6262DC4}" type="sibTrans" cxnId="{C93C02AC-895A-4C64-B2EA-8C98208B0B8A}">
      <dgm:prSet/>
      <dgm:spPr/>
      <dgm:t>
        <a:bodyPr/>
        <a:lstStyle/>
        <a:p>
          <a:endParaRPr lang="tr-TR" sz="1600"/>
        </a:p>
      </dgm:t>
    </dgm:pt>
    <dgm:pt modelId="{8D9A727D-9FEF-4BA2-A58F-9228A744808D}" type="pres">
      <dgm:prSet presAssocID="{4D217ED4-7198-413E-93F7-3578C3D18B29}" presName="Name0" presStyleCnt="0">
        <dgm:presLayoutVars>
          <dgm:dir/>
          <dgm:animLvl val="lvl"/>
          <dgm:resizeHandles val="exact"/>
        </dgm:presLayoutVars>
      </dgm:prSet>
      <dgm:spPr/>
      <dgm:t>
        <a:bodyPr/>
        <a:lstStyle/>
        <a:p>
          <a:endParaRPr lang="tr-TR"/>
        </a:p>
      </dgm:t>
    </dgm:pt>
    <dgm:pt modelId="{7447F2C5-841B-464A-ABA8-3BEDF3CB2266}" type="pres">
      <dgm:prSet presAssocID="{74945AE8-85B8-4A4C-AFBD-8FD18D8021F7}" presName="linNode" presStyleCnt="0"/>
      <dgm:spPr/>
    </dgm:pt>
    <dgm:pt modelId="{EA76D721-580E-4CFE-8AB1-08AB49290FD9}" type="pres">
      <dgm:prSet presAssocID="{74945AE8-85B8-4A4C-AFBD-8FD18D8021F7}" presName="parentText" presStyleLbl="node1" presStyleIdx="0" presStyleCnt="1" custScaleX="70510" custScaleY="97053" custLinFactNeighborX="-1059" custLinFactNeighborY="-511">
        <dgm:presLayoutVars>
          <dgm:chMax val="1"/>
          <dgm:bulletEnabled val="1"/>
        </dgm:presLayoutVars>
      </dgm:prSet>
      <dgm:spPr/>
      <dgm:t>
        <a:bodyPr/>
        <a:lstStyle/>
        <a:p>
          <a:endParaRPr lang="tr-TR"/>
        </a:p>
      </dgm:t>
    </dgm:pt>
    <dgm:pt modelId="{E95A3130-ACEB-4BFD-94BA-1A81F19E2715}" type="pres">
      <dgm:prSet presAssocID="{74945AE8-85B8-4A4C-AFBD-8FD18D8021F7}" presName="descendantText" presStyleLbl="alignAccFollowNode1" presStyleIdx="0" presStyleCnt="1" custScaleX="114471" custScaleY="118856">
        <dgm:presLayoutVars>
          <dgm:bulletEnabled val="1"/>
        </dgm:presLayoutVars>
      </dgm:prSet>
      <dgm:spPr/>
      <dgm:t>
        <a:bodyPr/>
        <a:lstStyle/>
        <a:p>
          <a:endParaRPr lang="tr-TR"/>
        </a:p>
      </dgm:t>
    </dgm:pt>
  </dgm:ptLst>
  <dgm:cxnLst>
    <dgm:cxn modelId="{C93C02AC-895A-4C64-B2EA-8C98208B0B8A}" srcId="{74945AE8-85B8-4A4C-AFBD-8FD18D8021F7}" destId="{A642A777-93D7-4AA6-AF45-AF92BDB78754}" srcOrd="3" destOrd="0" parTransId="{97C45A7F-8508-4FEE-BC16-B4DE3FF4C614}" sibTransId="{7DBAFB84-3B9D-4584-8591-67B8D6262DC4}"/>
    <dgm:cxn modelId="{64D1A5AB-09B7-4B56-8260-73932EF0C6EB}" type="presOf" srcId="{A642A777-93D7-4AA6-AF45-AF92BDB78754}" destId="{E95A3130-ACEB-4BFD-94BA-1A81F19E2715}" srcOrd="0" destOrd="3" presId="urn:microsoft.com/office/officeart/2005/8/layout/vList5"/>
    <dgm:cxn modelId="{956F7DE6-B249-4D04-954A-7716B37857BF}" type="presOf" srcId="{4D217ED4-7198-413E-93F7-3578C3D18B29}" destId="{8D9A727D-9FEF-4BA2-A58F-9228A744808D}" srcOrd="0" destOrd="0" presId="urn:microsoft.com/office/officeart/2005/8/layout/vList5"/>
    <dgm:cxn modelId="{9920D9A1-C445-461B-8E26-AE95859AF8E6}" srcId="{74945AE8-85B8-4A4C-AFBD-8FD18D8021F7}" destId="{58B51C50-72F6-405E-8500-3AD3D454AAA4}" srcOrd="0" destOrd="0" parTransId="{1C1C3F9E-707A-46C6-B114-9FE5AF07E2B0}" sibTransId="{8E8893DD-6062-4110-B831-B625D37CC0F5}"/>
    <dgm:cxn modelId="{BF184F87-72B3-4ED2-BB92-350764902AD7}" type="presOf" srcId="{34E7F854-BF70-40B3-80AB-05C571CC1B5B}" destId="{E95A3130-ACEB-4BFD-94BA-1A81F19E2715}" srcOrd="0" destOrd="1" presId="urn:microsoft.com/office/officeart/2005/8/layout/vList5"/>
    <dgm:cxn modelId="{31A4E67A-57C3-4E18-94DF-7B6B9DC11EE8}" srcId="{74945AE8-85B8-4A4C-AFBD-8FD18D8021F7}" destId="{D1FA8EEC-7D3A-4424-A426-9C906BB533A5}" srcOrd="2" destOrd="0" parTransId="{20E9F5C6-B4C0-401F-A91C-7FCA9BC4686C}" sibTransId="{0254F176-BCFE-483A-B23B-03A944218AB9}"/>
    <dgm:cxn modelId="{5ED1EF42-CA3D-4BE9-ABFC-94032EE51C17}" srcId="{74945AE8-85B8-4A4C-AFBD-8FD18D8021F7}" destId="{EC84F96F-96A0-44F4-BB8A-EA41F530E2F4}" srcOrd="4" destOrd="0" parTransId="{534F0B76-71A2-4E85-BA80-CAD016A9B2FE}" sibTransId="{136B7168-81C6-44EC-85B7-1417DC788904}"/>
    <dgm:cxn modelId="{E934B0AF-C200-432C-A74F-CA7CA07EAD3C}" type="presOf" srcId="{58B51C50-72F6-405E-8500-3AD3D454AAA4}" destId="{E95A3130-ACEB-4BFD-94BA-1A81F19E2715}" srcOrd="0" destOrd="0" presId="urn:microsoft.com/office/officeart/2005/8/layout/vList5"/>
    <dgm:cxn modelId="{5AAB7347-4133-434B-93EC-DF3368ED32A6}" srcId="{4D217ED4-7198-413E-93F7-3578C3D18B29}" destId="{74945AE8-85B8-4A4C-AFBD-8FD18D8021F7}" srcOrd="0" destOrd="0" parTransId="{4C3E70A3-673D-4ECC-98B0-C3C771ED63D1}" sibTransId="{F89DDD73-52E9-4F89-A5E0-1C665AE0209C}"/>
    <dgm:cxn modelId="{A90C6038-74E5-45F1-A63F-8281206931A5}" type="presOf" srcId="{D1FA8EEC-7D3A-4424-A426-9C906BB533A5}" destId="{E95A3130-ACEB-4BFD-94BA-1A81F19E2715}" srcOrd="0" destOrd="2" presId="urn:microsoft.com/office/officeart/2005/8/layout/vList5"/>
    <dgm:cxn modelId="{784E17F3-8F1D-4735-BA51-B35207D678BC}" type="presOf" srcId="{6185F662-3F02-4498-A8CB-B54CEC8FE415}" destId="{E95A3130-ACEB-4BFD-94BA-1A81F19E2715}" srcOrd="0" destOrd="5" presId="urn:microsoft.com/office/officeart/2005/8/layout/vList5"/>
    <dgm:cxn modelId="{549F8FDA-AADA-49A3-AE0F-17DB1DD25BDF}" type="presOf" srcId="{74945AE8-85B8-4A4C-AFBD-8FD18D8021F7}" destId="{EA76D721-580E-4CFE-8AB1-08AB49290FD9}" srcOrd="0" destOrd="0" presId="urn:microsoft.com/office/officeart/2005/8/layout/vList5"/>
    <dgm:cxn modelId="{FC6EC367-00C1-4ECC-8114-657DD855FD22}" type="presOf" srcId="{EC84F96F-96A0-44F4-BB8A-EA41F530E2F4}" destId="{E95A3130-ACEB-4BFD-94BA-1A81F19E2715}" srcOrd="0" destOrd="4" presId="urn:microsoft.com/office/officeart/2005/8/layout/vList5"/>
    <dgm:cxn modelId="{FB4A82EF-5F2C-4DD6-BC0A-BE01DFA822F5}" srcId="{74945AE8-85B8-4A4C-AFBD-8FD18D8021F7}" destId="{34E7F854-BF70-40B3-80AB-05C571CC1B5B}" srcOrd="1" destOrd="0" parTransId="{B3C5D7DE-EF3B-48A5-BF12-37292D889606}" sibTransId="{FFBCD043-9752-4E8B-AB01-E8FD94467452}"/>
    <dgm:cxn modelId="{E92AEFB9-A79B-425A-B113-DB37CA1425E8}" srcId="{74945AE8-85B8-4A4C-AFBD-8FD18D8021F7}" destId="{6185F662-3F02-4498-A8CB-B54CEC8FE415}" srcOrd="5" destOrd="0" parTransId="{94783F0C-A0AF-438F-98B4-428CA3249DE8}" sibTransId="{C07B18C2-5AFB-446F-9A09-85C9919B5895}"/>
    <dgm:cxn modelId="{76DBE326-3A93-4851-86CD-BD28F28DED09}" type="presParOf" srcId="{8D9A727D-9FEF-4BA2-A58F-9228A744808D}" destId="{7447F2C5-841B-464A-ABA8-3BEDF3CB2266}" srcOrd="0" destOrd="0" presId="urn:microsoft.com/office/officeart/2005/8/layout/vList5"/>
    <dgm:cxn modelId="{6AF2834E-ECB5-417C-8C64-B680F949E469}" type="presParOf" srcId="{7447F2C5-841B-464A-ABA8-3BEDF3CB2266}" destId="{EA76D721-580E-4CFE-8AB1-08AB49290FD9}" srcOrd="0" destOrd="0" presId="urn:microsoft.com/office/officeart/2005/8/layout/vList5"/>
    <dgm:cxn modelId="{E970CB60-AB80-4C43-8572-9B839B2D2AAF}" type="presParOf" srcId="{7447F2C5-841B-464A-ABA8-3BEDF3CB2266}" destId="{E95A3130-ACEB-4BFD-94BA-1A81F19E271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D217ED4-7198-413E-93F7-3578C3D18B2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tr-TR"/>
        </a:p>
      </dgm:t>
    </dgm:pt>
    <dgm:pt modelId="{74945AE8-85B8-4A4C-AFBD-8FD18D8021F7}">
      <dgm:prSet phldrT="[Metin]" custT="1"/>
      <dgm:spPr/>
      <dgm:t>
        <a:bodyPr/>
        <a:lstStyle/>
        <a:p>
          <a:r>
            <a:rPr lang="tr-TR" sz="2400" b="1" dirty="0">
              <a:latin typeface="Calibri" panose="020F0502020204030204" pitchFamily="34" charset="0"/>
              <a:cs typeface="Calibri" panose="020F0502020204030204" pitchFamily="34" charset="0"/>
            </a:rPr>
            <a:t>Hizmet Alımı Giderleri</a:t>
          </a:r>
        </a:p>
        <a:p>
          <a:r>
            <a:rPr lang="tr-TR" sz="2400" i="1" u="none" dirty="0">
              <a:latin typeface="Calibri" panose="020F0502020204030204" pitchFamily="34" charset="0"/>
              <a:cs typeface="Calibri" panose="020F0502020204030204" pitchFamily="34" charset="0"/>
            </a:rPr>
            <a:t>(Üst Limit: 100.000 TL)</a:t>
          </a:r>
        </a:p>
      </dgm:t>
    </dgm:pt>
    <dgm:pt modelId="{4C3E70A3-673D-4ECC-98B0-C3C771ED63D1}" type="parTrans" cxnId="{5AAB7347-4133-434B-93EC-DF3368ED32A6}">
      <dgm:prSet/>
      <dgm:spPr/>
      <dgm:t>
        <a:bodyPr/>
        <a:lstStyle/>
        <a:p>
          <a:endParaRPr lang="tr-TR"/>
        </a:p>
      </dgm:t>
    </dgm:pt>
    <dgm:pt modelId="{F89DDD73-52E9-4F89-A5E0-1C665AE0209C}" type="sibTrans" cxnId="{5AAB7347-4133-434B-93EC-DF3368ED32A6}">
      <dgm:prSet/>
      <dgm:spPr/>
      <dgm:t>
        <a:bodyPr/>
        <a:lstStyle/>
        <a:p>
          <a:endParaRPr lang="tr-TR"/>
        </a:p>
      </dgm:t>
    </dgm:pt>
    <dgm:pt modelId="{58B51C50-72F6-405E-8500-3AD3D454AAA4}">
      <dgm:prSet phldrT="[Metin]" custT="1"/>
      <dgm:spPr/>
      <dgm:t>
        <a:bodyPr/>
        <a:lstStyle/>
        <a:p>
          <a:pPr algn="just"/>
          <a:r>
            <a:rPr lang="tr-TR" sz="1600" dirty="0">
              <a:latin typeface="Calibri" panose="020F0502020204030204" pitchFamily="34" charset="0"/>
              <a:cs typeface="Calibri" panose="020F0502020204030204" pitchFamily="34" charset="0"/>
            </a:rPr>
            <a:t>Eğitim ve danışmanlık giderleri; işletmelerin proje kapsamında ihracata yönelik alacakları eğitim ve danışmanlık (pazar araştırma danışmanlığı dahil) giderlerini kapsar.</a:t>
          </a:r>
        </a:p>
      </dgm:t>
    </dgm:pt>
    <dgm:pt modelId="{1C1C3F9E-707A-46C6-B114-9FE5AF07E2B0}" type="parTrans" cxnId="{9920D9A1-C445-461B-8E26-AE95859AF8E6}">
      <dgm:prSet/>
      <dgm:spPr/>
      <dgm:t>
        <a:bodyPr/>
        <a:lstStyle/>
        <a:p>
          <a:endParaRPr lang="tr-TR"/>
        </a:p>
      </dgm:t>
    </dgm:pt>
    <dgm:pt modelId="{8E8893DD-6062-4110-B831-B625D37CC0F5}" type="sibTrans" cxnId="{9920D9A1-C445-461B-8E26-AE95859AF8E6}">
      <dgm:prSet/>
      <dgm:spPr/>
      <dgm:t>
        <a:bodyPr/>
        <a:lstStyle/>
        <a:p>
          <a:endParaRPr lang="tr-TR"/>
        </a:p>
      </dgm:t>
    </dgm:pt>
    <dgm:pt modelId="{6185F662-3F02-4498-A8CB-B54CEC8FE415}">
      <dgm:prSet phldrT="[Metin]" custT="1"/>
      <dgm:spPr/>
      <dgm:t>
        <a:bodyPr/>
        <a:lstStyle/>
        <a:p>
          <a:pPr algn="just"/>
          <a:endParaRPr lang="tr-TR" sz="1000" dirty="0"/>
        </a:p>
      </dgm:t>
    </dgm:pt>
    <dgm:pt modelId="{94783F0C-A0AF-438F-98B4-428CA3249DE8}" type="parTrans" cxnId="{E92AEFB9-A79B-425A-B113-DB37CA1425E8}">
      <dgm:prSet/>
      <dgm:spPr/>
      <dgm:t>
        <a:bodyPr/>
        <a:lstStyle/>
        <a:p>
          <a:endParaRPr lang="tr-TR"/>
        </a:p>
      </dgm:t>
    </dgm:pt>
    <dgm:pt modelId="{C07B18C2-5AFB-446F-9A09-85C9919B5895}" type="sibTrans" cxnId="{E92AEFB9-A79B-425A-B113-DB37CA1425E8}">
      <dgm:prSet/>
      <dgm:spPr/>
      <dgm:t>
        <a:bodyPr/>
        <a:lstStyle/>
        <a:p>
          <a:endParaRPr lang="tr-TR"/>
        </a:p>
      </dgm:t>
    </dgm:pt>
    <dgm:pt modelId="{D1FA8EEC-7D3A-4424-A426-9C906BB533A5}">
      <dgm:prSet phldrT="[Metin]" custT="1"/>
      <dgm:spPr/>
      <dgm:t>
        <a:bodyPr/>
        <a:lstStyle/>
        <a:p>
          <a:pPr algn="just"/>
          <a:r>
            <a:rPr lang="tr-TR" sz="1600" b="1" dirty="0">
              <a:latin typeface="Calibri" panose="020F0502020204030204" pitchFamily="34" charset="0"/>
              <a:cs typeface="Calibri" panose="020F0502020204030204" pitchFamily="34" charset="0"/>
            </a:rPr>
            <a:t>Eğitim hizmeti alınabilecek kuruluşlar; </a:t>
          </a:r>
        </a:p>
      </dgm:t>
    </dgm:pt>
    <dgm:pt modelId="{20E9F5C6-B4C0-401F-A91C-7FCA9BC4686C}" type="parTrans" cxnId="{31A4E67A-57C3-4E18-94DF-7B6B9DC11EE8}">
      <dgm:prSet/>
      <dgm:spPr/>
      <dgm:t>
        <a:bodyPr/>
        <a:lstStyle/>
        <a:p>
          <a:endParaRPr lang="tr-TR"/>
        </a:p>
      </dgm:t>
    </dgm:pt>
    <dgm:pt modelId="{0254F176-BCFE-483A-B23B-03A944218AB9}" type="sibTrans" cxnId="{31A4E67A-57C3-4E18-94DF-7B6B9DC11EE8}">
      <dgm:prSet/>
      <dgm:spPr/>
      <dgm:t>
        <a:bodyPr/>
        <a:lstStyle/>
        <a:p>
          <a:endParaRPr lang="tr-TR"/>
        </a:p>
      </dgm:t>
    </dgm:pt>
    <dgm:pt modelId="{4DB3A64D-E90E-4A18-B76D-FFA6B0775695}">
      <dgm:prSet phldrT="[Metin]" custT="1"/>
      <dgm:spPr/>
      <dgm:t>
        <a:bodyPr/>
        <a:lstStyle/>
        <a:p>
          <a:pPr algn="just"/>
          <a:r>
            <a:rPr lang="tr-TR" sz="1600" dirty="0">
              <a:latin typeface="Calibri" panose="020F0502020204030204" pitchFamily="34" charset="0"/>
              <a:cs typeface="Calibri" panose="020F0502020204030204" pitchFamily="34" charset="0"/>
            </a:rPr>
            <a:t>Türkiye İhracatçılar Meclisi (TİM), </a:t>
          </a:r>
        </a:p>
      </dgm:t>
    </dgm:pt>
    <dgm:pt modelId="{5B5FEBBD-5357-4F08-82D0-8D53A784B6C7}" type="parTrans" cxnId="{2B05D049-89D9-49DA-8A3E-12E0B5E9C723}">
      <dgm:prSet/>
      <dgm:spPr/>
      <dgm:t>
        <a:bodyPr/>
        <a:lstStyle/>
        <a:p>
          <a:endParaRPr lang="tr-TR"/>
        </a:p>
      </dgm:t>
    </dgm:pt>
    <dgm:pt modelId="{5A8A76F3-B43B-49BF-87AE-9DBAF60FE7B5}" type="sibTrans" cxnId="{2B05D049-89D9-49DA-8A3E-12E0B5E9C723}">
      <dgm:prSet/>
      <dgm:spPr/>
      <dgm:t>
        <a:bodyPr/>
        <a:lstStyle/>
        <a:p>
          <a:endParaRPr lang="tr-TR"/>
        </a:p>
      </dgm:t>
    </dgm:pt>
    <dgm:pt modelId="{319E4480-AEAE-4F6A-ACC0-F0A4BECD9746}">
      <dgm:prSet phldrT="[Metin]" custT="1"/>
      <dgm:spPr/>
      <dgm:t>
        <a:bodyPr/>
        <a:lstStyle/>
        <a:p>
          <a:pPr algn="just"/>
          <a:r>
            <a:rPr lang="tr-TR" sz="1600" dirty="0">
              <a:latin typeface="Calibri" panose="020F0502020204030204" pitchFamily="34" charset="0"/>
              <a:cs typeface="Calibri" panose="020F0502020204030204" pitchFamily="34" charset="0"/>
            </a:rPr>
            <a:t>İhracatçı Birlikleri, </a:t>
          </a:r>
        </a:p>
      </dgm:t>
    </dgm:pt>
    <dgm:pt modelId="{C5805D43-EE40-4EE7-98BB-6AF9CB28406B}" type="parTrans" cxnId="{518BA5CE-2BBD-4792-8202-B30EAC843073}">
      <dgm:prSet/>
      <dgm:spPr/>
      <dgm:t>
        <a:bodyPr/>
        <a:lstStyle/>
        <a:p>
          <a:endParaRPr lang="tr-TR"/>
        </a:p>
      </dgm:t>
    </dgm:pt>
    <dgm:pt modelId="{4309ED12-776A-4A12-B469-F5C2F502850F}" type="sibTrans" cxnId="{518BA5CE-2BBD-4792-8202-B30EAC843073}">
      <dgm:prSet/>
      <dgm:spPr/>
      <dgm:t>
        <a:bodyPr/>
        <a:lstStyle/>
        <a:p>
          <a:endParaRPr lang="tr-TR"/>
        </a:p>
      </dgm:t>
    </dgm:pt>
    <dgm:pt modelId="{34058ABC-7C1A-4EF0-9D8A-B15F38BE86EC}">
      <dgm:prSet phldrT="[Metin]" custT="1"/>
      <dgm:spPr/>
      <dgm:t>
        <a:bodyPr/>
        <a:lstStyle/>
        <a:p>
          <a:pPr algn="just"/>
          <a:r>
            <a:rPr lang="tr-TR" sz="1600" dirty="0">
              <a:latin typeface="Calibri" panose="020F0502020204030204" pitchFamily="34" charset="0"/>
              <a:cs typeface="Calibri" panose="020F0502020204030204" pitchFamily="34" charset="0"/>
            </a:rPr>
            <a:t>Üniversitelerin işletmelere yönelik eğitim hizmeti vermek amacıyla kurulmuş birimleri, </a:t>
          </a:r>
        </a:p>
      </dgm:t>
    </dgm:pt>
    <dgm:pt modelId="{75152832-284C-4B0C-9545-5043288B7B03}" type="parTrans" cxnId="{531E7A85-9AB0-4305-8B30-7F9F3AE5FB71}">
      <dgm:prSet/>
      <dgm:spPr/>
      <dgm:t>
        <a:bodyPr/>
        <a:lstStyle/>
        <a:p>
          <a:endParaRPr lang="tr-TR"/>
        </a:p>
      </dgm:t>
    </dgm:pt>
    <dgm:pt modelId="{2744D2D9-ABF2-44E9-B8B1-4B08C9D10A59}" type="sibTrans" cxnId="{531E7A85-9AB0-4305-8B30-7F9F3AE5FB71}">
      <dgm:prSet/>
      <dgm:spPr/>
      <dgm:t>
        <a:bodyPr/>
        <a:lstStyle/>
        <a:p>
          <a:endParaRPr lang="tr-TR"/>
        </a:p>
      </dgm:t>
    </dgm:pt>
    <dgm:pt modelId="{DF263325-B9C3-44F4-9212-B60D514906A1}">
      <dgm:prSet phldrT="[Metin]" custT="1"/>
      <dgm:spPr/>
      <dgm:t>
        <a:bodyPr/>
        <a:lstStyle/>
        <a:p>
          <a:pPr algn="just"/>
          <a:r>
            <a:rPr lang="tr-TR" sz="1600" dirty="0">
              <a:latin typeface="Calibri" panose="020F0502020204030204" pitchFamily="34" charset="0"/>
              <a:cs typeface="Calibri" panose="020F0502020204030204" pitchFamily="34" charset="0"/>
            </a:rPr>
            <a:t>Mevzuatlarının dış ticaret kapsamında eğitim vermeye izin vermesi şartıyla kamu kurum/kuruluşları ve bunların eğitim hizmeti vermek amacıyla kurulmuş birimleri,</a:t>
          </a:r>
        </a:p>
      </dgm:t>
    </dgm:pt>
    <dgm:pt modelId="{26D69EE8-0114-4912-AA78-72AB625AE56E}" type="parTrans" cxnId="{6F59F958-C857-44C0-9AE2-973D8990722B}">
      <dgm:prSet/>
      <dgm:spPr/>
      <dgm:t>
        <a:bodyPr/>
        <a:lstStyle/>
        <a:p>
          <a:endParaRPr lang="tr-TR"/>
        </a:p>
      </dgm:t>
    </dgm:pt>
    <dgm:pt modelId="{49C82908-558F-45DF-8AE4-C9BE35C2C77C}" type="sibTrans" cxnId="{6F59F958-C857-44C0-9AE2-973D8990722B}">
      <dgm:prSet/>
      <dgm:spPr/>
      <dgm:t>
        <a:bodyPr/>
        <a:lstStyle/>
        <a:p>
          <a:endParaRPr lang="tr-TR"/>
        </a:p>
      </dgm:t>
    </dgm:pt>
    <dgm:pt modelId="{71BAFB3A-2BE8-474B-9204-7F910C947323}">
      <dgm:prSet phldrT="[Metin]" custT="1"/>
      <dgm:spPr/>
      <dgm:t>
        <a:bodyPr/>
        <a:lstStyle/>
        <a:p>
          <a:pPr algn="just"/>
          <a:r>
            <a:rPr lang="tr-TR" sz="1600" dirty="0">
              <a:latin typeface="Calibri" panose="020F0502020204030204" pitchFamily="34" charset="0"/>
              <a:cs typeface="Calibri" panose="020F0502020204030204" pitchFamily="34" charset="0"/>
            </a:rPr>
            <a:t> 08/02/2007 tarihli ve 5580 sayılı Özel Öğretim Kurumları Kanunu kapsamında kurum açma iznine sahip ve alanında program onayı olan kurum/kuruluşlardır.</a:t>
          </a:r>
        </a:p>
      </dgm:t>
    </dgm:pt>
    <dgm:pt modelId="{08FC79E8-2522-4C13-A24F-07D0FDA0C82E}" type="parTrans" cxnId="{D9D0EF1A-BA2A-45BB-A4FF-70B649F98751}">
      <dgm:prSet/>
      <dgm:spPr/>
      <dgm:t>
        <a:bodyPr/>
        <a:lstStyle/>
        <a:p>
          <a:endParaRPr lang="tr-TR"/>
        </a:p>
      </dgm:t>
    </dgm:pt>
    <dgm:pt modelId="{9F4F0A83-7134-42B4-AB2B-1669478F5C8C}" type="sibTrans" cxnId="{D9D0EF1A-BA2A-45BB-A4FF-70B649F98751}">
      <dgm:prSet/>
      <dgm:spPr/>
      <dgm:t>
        <a:bodyPr/>
        <a:lstStyle/>
        <a:p>
          <a:endParaRPr lang="tr-TR"/>
        </a:p>
      </dgm:t>
    </dgm:pt>
    <dgm:pt modelId="{7B0801E5-6E24-401A-AA3F-562C97BD9098}">
      <dgm:prSet phldrT="[Metin]" custT="1"/>
      <dgm:spPr/>
      <dgm:t>
        <a:bodyPr/>
        <a:lstStyle/>
        <a:p>
          <a:pPr algn="just"/>
          <a:endParaRPr lang="tr-TR" sz="1600" dirty="0">
            <a:latin typeface="Calibri" panose="020F0502020204030204" pitchFamily="34" charset="0"/>
            <a:cs typeface="Calibri" panose="020F0502020204030204" pitchFamily="34" charset="0"/>
          </a:endParaRPr>
        </a:p>
      </dgm:t>
    </dgm:pt>
    <dgm:pt modelId="{10F6E540-9730-494D-A2FF-D72D4A72E4BC}" type="parTrans" cxnId="{386D227A-4195-45EA-91A7-808B2845237E}">
      <dgm:prSet/>
      <dgm:spPr/>
      <dgm:t>
        <a:bodyPr/>
        <a:lstStyle/>
        <a:p>
          <a:endParaRPr lang="tr-TR"/>
        </a:p>
      </dgm:t>
    </dgm:pt>
    <dgm:pt modelId="{458EF5C1-15A1-46C2-BEA9-32B0D506378E}" type="sibTrans" cxnId="{386D227A-4195-45EA-91A7-808B2845237E}">
      <dgm:prSet/>
      <dgm:spPr/>
      <dgm:t>
        <a:bodyPr/>
        <a:lstStyle/>
        <a:p>
          <a:endParaRPr lang="tr-TR"/>
        </a:p>
      </dgm:t>
    </dgm:pt>
    <dgm:pt modelId="{8D9A727D-9FEF-4BA2-A58F-9228A744808D}" type="pres">
      <dgm:prSet presAssocID="{4D217ED4-7198-413E-93F7-3578C3D18B29}" presName="Name0" presStyleCnt="0">
        <dgm:presLayoutVars>
          <dgm:dir/>
          <dgm:animLvl val="lvl"/>
          <dgm:resizeHandles val="exact"/>
        </dgm:presLayoutVars>
      </dgm:prSet>
      <dgm:spPr/>
      <dgm:t>
        <a:bodyPr/>
        <a:lstStyle/>
        <a:p>
          <a:endParaRPr lang="tr-TR"/>
        </a:p>
      </dgm:t>
    </dgm:pt>
    <dgm:pt modelId="{7447F2C5-841B-464A-ABA8-3BEDF3CB2266}" type="pres">
      <dgm:prSet presAssocID="{74945AE8-85B8-4A4C-AFBD-8FD18D8021F7}" presName="linNode" presStyleCnt="0"/>
      <dgm:spPr/>
    </dgm:pt>
    <dgm:pt modelId="{EA76D721-580E-4CFE-8AB1-08AB49290FD9}" type="pres">
      <dgm:prSet presAssocID="{74945AE8-85B8-4A4C-AFBD-8FD18D8021F7}" presName="parentText" presStyleLbl="node1" presStyleIdx="0" presStyleCnt="1" custScaleX="74570" custScaleY="96955" custLinFactNeighborX="-12345" custLinFactNeighborY="-162">
        <dgm:presLayoutVars>
          <dgm:chMax val="1"/>
          <dgm:bulletEnabled val="1"/>
        </dgm:presLayoutVars>
      </dgm:prSet>
      <dgm:spPr/>
      <dgm:t>
        <a:bodyPr/>
        <a:lstStyle/>
        <a:p>
          <a:endParaRPr lang="tr-TR"/>
        </a:p>
      </dgm:t>
    </dgm:pt>
    <dgm:pt modelId="{E95A3130-ACEB-4BFD-94BA-1A81F19E2715}" type="pres">
      <dgm:prSet presAssocID="{74945AE8-85B8-4A4C-AFBD-8FD18D8021F7}" presName="descendantText" presStyleLbl="alignAccFollowNode1" presStyleIdx="0" presStyleCnt="1" custScaleX="114416" custScaleY="118856">
        <dgm:presLayoutVars>
          <dgm:bulletEnabled val="1"/>
        </dgm:presLayoutVars>
      </dgm:prSet>
      <dgm:spPr/>
      <dgm:t>
        <a:bodyPr/>
        <a:lstStyle/>
        <a:p>
          <a:endParaRPr lang="tr-TR"/>
        </a:p>
      </dgm:t>
    </dgm:pt>
  </dgm:ptLst>
  <dgm:cxnLst>
    <dgm:cxn modelId="{879CED48-6495-4095-80BB-D39F6B88BBAF}" type="presOf" srcId="{58B51C50-72F6-405E-8500-3AD3D454AAA4}" destId="{E95A3130-ACEB-4BFD-94BA-1A81F19E2715}" srcOrd="0" destOrd="0" presId="urn:microsoft.com/office/officeart/2005/8/layout/vList5"/>
    <dgm:cxn modelId="{83C43068-924A-423D-B49B-20A6A782DB57}" type="presOf" srcId="{DF263325-B9C3-44F4-9212-B60D514906A1}" destId="{E95A3130-ACEB-4BFD-94BA-1A81F19E2715}" srcOrd="0" destOrd="6" presId="urn:microsoft.com/office/officeart/2005/8/layout/vList5"/>
    <dgm:cxn modelId="{6F59F958-C857-44C0-9AE2-973D8990722B}" srcId="{74945AE8-85B8-4A4C-AFBD-8FD18D8021F7}" destId="{DF263325-B9C3-44F4-9212-B60D514906A1}" srcOrd="6" destOrd="0" parTransId="{26D69EE8-0114-4912-AA78-72AB625AE56E}" sibTransId="{49C82908-558F-45DF-8AE4-C9BE35C2C77C}"/>
    <dgm:cxn modelId="{9920D9A1-C445-461B-8E26-AE95859AF8E6}" srcId="{74945AE8-85B8-4A4C-AFBD-8FD18D8021F7}" destId="{58B51C50-72F6-405E-8500-3AD3D454AAA4}" srcOrd="0" destOrd="0" parTransId="{1C1C3F9E-707A-46C6-B114-9FE5AF07E2B0}" sibTransId="{8E8893DD-6062-4110-B831-B625D37CC0F5}"/>
    <dgm:cxn modelId="{6DBC817F-B9D3-483E-8517-E5015E3EC7E4}" type="presOf" srcId="{319E4480-AEAE-4F6A-ACC0-F0A4BECD9746}" destId="{E95A3130-ACEB-4BFD-94BA-1A81F19E2715}" srcOrd="0" destOrd="4" presId="urn:microsoft.com/office/officeart/2005/8/layout/vList5"/>
    <dgm:cxn modelId="{81CEBE25-475A-4E6A-B6C2-CAE4EFCACFD8}" type="presOf" srcId="{74945AE8-85B8-4A4C-AFBD-8FD18D8021F7}" destId="{EA76D721-580E-4CFE-8AB1-08AB49290FD9}" srcOrd="0" destOrd="0" presId="urn:microsoft.com/office/officeart/2005/8/layout/vList5"/>
    <dgm:cxn modelId="{1BF3CB30-A28C-482A-A71D-51AB0DB4244E}" type="presOf" srcId="{7B0801E5-6E24-401A-AA3F-562C97BD9098}" destId="{E95A3130-ACEB-4BFD-94BA-1A81F19E2715}" srcOrd="0" destOrd="1" presId="urn:microsoft.com/office/officeart/2005/8/layout/vList5"/>
    <dgm:cxn modelId="{D043B07E-6460-468C-888F-94009DDA8B3E}" type="presOf" srcId="{4DB3A64D-E90E-4A18-B76D-FFA6B0775695}" destId="{E95A3130-ACEB-4BFD-94BA-1A81F19E2715}" srcOrd="0" destOrd="3" presId="urn:microsoft.com/office/officeart/2005/8/layout/vList5"/>
    <dgm:cxn modelId="{31A4E67A-57C3-4E18-94DF-7B6B9DC11EE8}" srcId="{74945AE8-85B8-4A4C-AFBD-8FD18D8021F7}" destId="{D1FA8EEC-7D3A-4424-A426-9C906BB533A5}" srcOrd="2" destOrd="0" parTransId="{20E9F5C6-B4C0-401F-A91C-7FCA9BC4686C}" sibTransId="{0254F176-BCFE-483A-B23B-03A944218AB9}"/>
    <dgm:cxn modelId="{0B0F381E-AF4C-4AC5-9F8C-85261FFDDE7A}" type="presOf" srcId="{4D217ED4-7198-413E-93F7-3578C3D18B29}" destId="{8D9A727D-9FEF-4BA2-A58F-9228A744808D}" srcOrd="0" destOrd="0" presId="urn:microsoft.com/office/officeart/2005/8/layout/vList5"/>
    <dgm:cxn modelId="{5AAB7347-4133-434B-93EC-DF3368ED32A6}" srcId="{4D217ED4-7198-413E-93F7-3578C3D18B29}" destId="{74945AE8-85B8-4A4C-AFBD-8FD18D8021F7}" srcOrd="0" destOrd="0" parTransId="{4C3E70A3-673D-4ECC-98B0-C3C771ED63D1}" sibTransId="{F89DDD73-52E9-4F89-A5E0-1C665AE0209C}"/>
    <dgm:cxn modelId="{D9D0EF1A-BA2A-45BB-A4FF-70B649F98751}" srcId="{74945AE8-85B8-4A4C-AFBD-8FD18D8021F7}" destId="{71BAFB3A-2BE8-474B-9204-7F910C947323}" srcOrd="7" destOrd="0" parTransId="{08FC79E8-2522-4C13-A24F-07D0FDA0C82E}" sibTransId="{9F4F0A83-7134-42B4-AB2B-1669478F5C8C}"/>
    <dgm:cxn modelId="{F3CEFE3A-25D0-474C-B938-98891819EC46}" type="presOf" srcId="{D1FA8EEC-7D3A-4424-A426-9C906BB533A5}" destId="{E95A3130-ACEB-4BFD-94BA-1A81F19E2715}" srcOrd="0" destOrd="2" presId="urn:microsoft.com/office/officeart/2005/8/layout/vList5"/>
    <dgm:cxn modelId="{2B05D049-89D9-49DA-8A3E-12E0B5E9C723}" srcId="{74945AE8-85B8-4A4C-AFBD-8FD18D8021F7}" destId="{4DB3A64D-E90E-4A18-B76D-FFA6B0775695}" srcOrd="3" destOrd="0" parTransId="{5B5FEBBD-5357-4F08-82D0-8D53A784B6C7}" sibTransId="{5A8A76F3-B43B-49BF-87AE-9DBAF60FE7B5}"/>
    <dgm:cxn modelId="{77F635B5-F4A3-4D19-BA96-B5B66B0BE293}" type="presOf" srcId="{6185F662-3F02-4498-A8CB-B54CEC8FE415}" destId="{E95A3130-ACEB-4BFD-94BA-1A81F19E2715}" srcOrd="0" destOrd="8" presId="urn:microsoft.com/office/officeart/2005/8/layout/vList5"/>
    <dgm:cxn modelId="{D7395692-5D1D-4313-870B-6E580C323A61}" type="presOf" srcId="{71BAFB3A-2BE8-474B-9204-7F910C947323}" destId="{E95A3130-ACEB-4BFD-94BA-1A81F19E2715}" srcOrd="0" destOrd="7" presId="urn:microsoft.com/office/officeart/2005/8/layout/vList5"/>
    <dgm:cxn modelId="{E92AEFB9-A79B-425A-B113-DB37CA1425E8}" srcId="{74945AE8-85B8-4A4C-AFBD-8FD18D8021F7}" destId="{6185F662-3F02-4498-A8CB-B54CEC8FE415}" srcOrd="8" destOrd="0" parTransId="{94783F0C-A0AF-438F-98B4-428CA3249DE8}" sibTransId="{C07B18C2-5AFB-446F-9A09-85C9919B5895}"/>
    <dgm:cxn modelId="{531E7A85-9AB0-4305-8B30-7F9F3AE5FB71}" srcId="{74945AE8-85B8-4A4C-AFBD-8FD18D8021F7}" destId="{34058ABC-7C1A-4EF0-9D8A-B15F38BE86EC}" srcOrd="5" destOrd="0" parTransId="{75152832-284C-4B0C-9545-5043288B7B03}" sibTransId="{2744D2D9-ABF2-44E9-B8B1-4B08C9D10A59}"/>
    <dgm:cxn modelId="{C51DD8A6-1636-4ABF-8871-7E9B16D05ADF}" type="presOf" srcId="{34058ABC-7C1A-4EF0-9D8A-B15F38BE86EC}" destId="{E95A3130-ACEB-4BFD-94BA-1A81F19E2715}" srcOrd="0" destOrd="5" presId="urn:microsoft.com/office/officeart/2005/8/layout/vList5"/>
    <dgm:cxn modelId="{386D227A-4195-45EA-91A7-808B2845237E}" srcId="{74945AE8-85B8-4A4C-AFBD-8FD18D8021F7}" destId="{7B0801E5-6E24-401A-AA3F-562C97BD9098}" srcOrd="1" destOrd="0" parTransId="{10F6E540-9730-494D-A2FF-D72D4A72E4BC}" sibTransId="{458EF5C1-15A1-46C2-BEA9-32B0D506378E}"/>
    <dgm:cxn modelId="{518BA5CE-2BBD-4792-8202-B30EAC843073}" srcId="{74945AE8-85B8-4A4C-AFBD-8FD18D8021F7}" destId="{319E4480-AEAE-4F6A-ACC0-F0A4BECD9746}" srcOrd="4" destOrd="0" parTransId="{C5805D43-EE40-4EE7-98BB-6AF9CB28406B}" sibTransId="{4309ED12-776A-4A12-B469-F5C2F502850F}"/>
    <dgm:cxn modelId="{2E4A9EE1-0E78-4AEE-B39E-CFF18906753F}" type="presParOf" srcId="{8D9A727D-9FEF-4BA2-A58F-9228A744808D}" destId="{7447F2C5-841B-464A-ABA8-3BEDF3CB2266}" srcOrd="0" destOrd="0" presId="urn:microsoft.com/office/officeart/2005/8/layout/vList5"/>
    <dgm:cxn modelId="{1F3054A4-C4A5-48DA-A89F-C831118E6E82}" type="presParOf" srcId="{7447F2C5-841B-464A-ABA8-3BEDF3CB2266}" destId="{EA76D721-580E-4CFE-8AB1-08AB49290FD9}" srcOrd="0" destOrd="0" presId="urn:microsoft.com/office/officeart/2005/8/layout/vList5"/>
    <dgm:cxn modelId="{B1009901-52FF-425D-9C36-A6B0B855638A}" type="presParOf" srcId="{7447F2C5-841B-464A-ABA8-3BEDF3CB2266}" destId="{E95A3130-ACEB-4BFD-94BA-1A81F19E271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D217ED4-7198-413E-93F7-3578C3D18B2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tr-TR"/>
        </a:p>
      </dgm:t>
    </dgm:pt>
    <dgm:pt modelId="{74945AE8-85B8-4A4C-AFBD-8FD18D8021F7}">
      <dgm:prSet phldrT="[Metin]" custT="1"/>
      <dgm:spPr/>
      <dgm:t>
        <a:bodyPr/>
        <a:lstStyle/>
        <a:p>
          <a:r>
            <a:rPr lang="tr-TR" sz="2800" b="1" dirty="0">
              <a:latin typeface="Calibri" panose="020F0502020204030204" pitchFamily="34" charset="0"/>
              <a:cs typeface="Calibri" panose="020F0502020204030204" pitchFamily="34" charset="0"/>
            </a:rPr>
            <a:t>Hizmet Alımı Giderleri</a:t>
          </a:r>
        </a:p>
      </dgm:t>
    </dgm:pt>
    <dgm:pt modelId="{4C3E70A3-673D-4ECC-98B0-C3C771ED63D1}" type="parTrans" cxnId="{5AAB7347-4133-434B-93EC-DF3368ED32A6}">
      <dgm:prSet/>
      <dgm:spPr/>
      <dgm:t>
        <a:bodyPr/>
        <a:lstStyle/>
        <a:p>
          <a:endParaRPr lang="tr-TR"/>
        </a:p>
      </dgm:t>
    </dgm:pt>
    <dgm:pt modelId="{F89DDD73-52E9-4F89-A5E0-1C665AE0209C}" type="sibTrans" cxnId="{5AAB7347-4133-434B-93EC-DF3368ED32A6}">
      <dgm:prSet/>
      <dgm:spPr/>
      <dgm:t>
        <a:bodyPr/>
        <a:lstStyle/>
        <a:p>
          <a:endParaRPr lang="tr-TR"/>
        </a:p>
      </dgm:t>
    </dgm:pt>
    <dgm:pt modelId="{58B51C50-72F6-405E-8500-3AD3D454AAA4}">
      <dgm:prSet phldrT="[Metin]" custT="1"/>
      <dgm:spPr/>
      <dgm:t>
        <a:bodyPr/>
        <a:lstStyle/>
        <a:p>
          <a:pPr algn="just"/>
          <a:r>
            <a:rPr lang="tr-TR" sz="1400" dirty="0">
              <a:latin typeface="Calibri" panose="020F0502020204030204" pitchFamily="34" charset="0"/>
              <a:cs typeface="Calibri" panose="020F0502020204030204" pitchFamily="34" charset="0"/>
            </a:rPr>
            <a:t>Tasarım giderleri; işletmelerin ihracata konu ürün/ambalaj tasarım giderlerini kapsar.</a:t>
          </a:r>
        </a:p>
      </dgm:t>
    </dgm:pt>
    <dgm:pt modelId="{1C1C3F9E-707A-46C6-B114-9FE5AF07E2B0}" type="parTrans" cxnId="{9920D9A1-C445-461B-8E26-AE95859AF8E6}">
      <dgm:prSet/>
      <dgm:spPr/>
      <dgm:t>
        <a:bodyPr/>
        <a:lstStyle/>
        <a:p>
          <a:endParaRPr lang="tr-TR"/>
        </a:p>
      </dgm:t>
    </dgm:pt>
    <dgm:pt modelId="{8E8893DD-6062-4110-B831-B625D37CC0F5}" type="sibTrans" cxnId="{9920D9A1-C445-461B-8E26-AE95859AF8E6}">
      <dgm:prSet/>
      <dgm:spPr/>
      <dgm:t>
        <a:bodyPr/>
        <a:lstStyle/>
        <a:p>
          <a:endParaRPr lang="tr-TR"/>
        </a:p>
      </dgm:t>
    </dgm:pt>
    <dgm:pt modelId="{6185F662-3F02-4498-A8CB-B54CEC8FE415}">
      <dgm:prSet phldrT="[Metin]" custT="1"/>
      <dgm:spPr/>
      <dgm:t>
        <a:bodyPr/>
        <a:lstStyle/>
        <a:p>
          <a:pPr algn="just"/>
          <a:r>
            <a:rPr lang="tr-TR" sz="1400" dirty="0">
              <a:latin typeface="Calibri" panose="020F0502020204030204" pitchFamily="34" charset="0"/>
              <a:cs typeface="Calibri" panose="020F0502020204030204" pitchFamily="34" charset="0"/>
            </a:rPr>
            <a:t>Nakliye giderleri; işletmelerin ihracata konu ürün numunesinin yurt dışına havayolu/karayolu/demiryolu/denizyolu ile yapacağı ihracat işleminde ürün numunesinin alıcıya ulaşım sürecindeki tüm nakliye ve sigorta giderlerini kapsar.</a:t>
          </a:r>
        </a:p>
      </dgm:t>
    </dgm:pt>
    <dgm:pt modelId="{94783F0C-A0AF-438F-98B4-428CA3249DE8}" type="parTrans" cxnId="{E92AEFB9-A79B-425A-B113-DB37CA1425E8}">
      <dgm:prSet/>
      <dgm:spPr/>
      <dgm:t>
        <a:bodyPr/>
        <a:lstStyle/>
        <a:p>
          <a:endParaRPr lang="tr-TR"/>
        </a:p>
      </dgm:t>
    </dgm:pt>
    <dgm:pt modelId="{C07B18C2-5AFB-446F-9A09-85C9919B5895}" type="sibTrans" cxnId="{E92AEFB9-A79B-425A-B113-DB37CA1425E8}">
      <dgm:prSet/>
      <dgm:spPr/>
      <dgm:t>
        <a:bodyPr/>
        <a:lstStyle/>
        <a:p>
          <a:endParaRPr lang="tr-TR"/>
        </a:p>
      </dgm:t>
    </dgm:pt>
    <dgm:pt modelId="{1ED7ED1C-6D36-4D02-A4FF-CA83CD4FEDBA}">
      <dgm:prSet phldrT="[Metin]" custT="1"/>
      <dgm:spPr/>
      <dgm:t>
        <a:bodyPr/>
        <a:lstStyle/>
        <a:p>
          <a:pPr algn="just"/>
          <a:r>
            <a:rPr lang="tr-TR" sz="1400" dirty="0">
              <a:latin typeface="Calibri" panose="020F0502020204030204" pitchFamily="34" charset="0"/>
              <a:cs typeface="Calibri" panose="020F0502020204030204" pitchFamily="34" charset="0"/>
            </a:rPr>
            <a:t>Yurt dışı marka tescil giderleri; işletmelerin TÜRKPATENT (Türk Patent ve Marka Kurumu) muadili yurt dışı kurum/kuruluşlardan alacakları Marka Tescil Belgeleri için başvuru yapılan kurum/kuruluşlara yaptığı ödemelere ilişkin giderleri kapsar. </a:t>
          </a:r>
        </a:p>
      </dgm:t>
    </dgm:pt>
    <dgm:pt modelId="{17A9B065-D0E1-4018-BBCD-61389B39ABBF}" type="parTrans" cxnId="{90793B28-5EBD-4F01-9715-30576699736D}">
      <dgm:prSet/>
      <dgm:spPr/>
      <dgm:t>
        <a:bodyPr/>
        <a:lstStyle/>
        <a:p>
          <a:endParaRPr lang="tr-TR"/>
        </a:p>
      </dgm:t>
    </dgm:pt>
    <dgm:pt modelId="{1A234883-B5D5-45F2-B3DD-79F397B94E46}" type="sibTrans" cxnId="{90793B28-5EBD-4F01-9715-30576699736D}">
      <dgm:prSet/>
      <dgm:spPr/>
      <dgm:t>
        <a:bodyPr/>
        <a:lstStyle/>
        <a:p>
          <a:endParaRPr lang="tr-TR"/>
        </a:p>
      </dgm:t>
    </dgm:pt>
    <dgm:pt modelId="{D303EBE3-0575-4036-BCCC-E9F95290A3ED}">
      <dgm:prSet phldrT="[Metin]" custT="1"/>
      <dgm:spPr/>
      <dgm:t>
        <a:bodyPr/>
        <a:lstStyle/>
        <a:p>
          <a:pPr algn="just"/>
          <a:r>
            <a:rPr lang="tr-TR" sz="1400" dirty="0">
              <a:latin typeface="Calibri" panose="020F0502020204030204" pitchFamily="34" charset="0"/>
              <a:cs typeface="Calibri" panose="020F0502020204030204" pitchFamily="34" charset="0"/>
            </a:rPr>
            <a:t>Diğer hizmet alımları giderleri; proje ile ilişkilendirilebilecek diğer hizmet alım giderlerini kapsar.</a:t>
          </a:r>
        </a:p>
      </dgm:t>
    </dgm:pt>
    <dgm:pt modelId="{923A6A89-1888-4029-A1CE-61C45D035365}" type="parTrans" cxnId="{7DE35821-A9B5-427A-9815-6AFEC3D32629}">
      <dgm:prSet/>
      <dgm:spPr/>
      <dgm:t>
        <a:bodyPr/>
        <a:lstStyle/>
        <a:p>
          <a:endParaRPr lang="tr-TR"/>
        </a:p>
      </dgm:t>
    </dgm:pt>
    <dgm:pt modelId="{C9DFA86F-148E-450D-B40D-7ADFB61ECC73}" type="sibTrans" cxnId="{7DE35821-A9B5-427A-9815-6AFEC3D32629}">
      <dgm:prSet/>
      <dgm:spPr/>
      <dgm:t>
        <a:bodyPr/>
        <a:lstStyle/>
        <a:p>
          <a:endParaRPr lang="tr-TR"/>
        </a:p>
      </dgm:t>
    </dgm:pt>
    <dgm:pt modelId="{35DC7BEE-9529-4151-8B31-DD967E150AFA}">
      <dgm:prSet phldrT="[Metin]" custT="1"/>
      <dgm:spPr/>
      <dgm:t>
        <a:bodyPr/>
        <a:lstStyle/>
        <a:p>
          <a:pPr algn="just"/>
          <a:endParaRPr lang="tr-TR" sz="1400" dirty="0">
            <a:latin typeface="Calibri" panose="020F0502020204030204" pitchFamily="34" charset="0"/>
            <a:cs typeface="Calibri" panose="020F0502020204030204" pitchFamily="34" charset="0"/>
          </a:endParaRPr>
        </a:p>
      </dgm:t>
    </dgm:pt>
    <dgm:pt modelId="{C56D615C-369A-4A9B-A5E8-5167B0195D18}" type="parTrans" cxnId="{89A5B5D1-05C7-4798-ACB1-18B8FA4AC710}">
      <dgm:prSet/>
      <dgm:spPr/>
      <dgm:t>
        <a:bodyPr/>
        <a:lstStyle/>
        <a:p>
          <a:endParaRPr lang="tr-TR"/>
        </a:p>
      </dgm:t>
    </dgm:pt>
    <dgm:pt modelId="{B38E7984-AE74-47EF-BCCB-2B1CA4C41B68}" type="sibTrans" cxnId="{89A5B5D1-05C7-4798-ACB1-18B8FA4AC710}">
      <dgm:prSet/>
      <dgm:spPr/>
      <dgm:t>
        <a:bodyPr/>
        <a:lstStyle/>
        <a:p>
          <a:endParaRPr lang="tr-TR"/>
        </a:p>
      </dgm:t>
    </dgm:pt>
    <dgm:pt modelId="{1D7927F4-CE78-4DDC-823F-130DC103B3F3}">
      <dgm:prSet phldrT="[Metin]" custT="1"/>
      <dgm:spPr/>
      <dgm:t>
        <a:bodyPr/>
        <a:lstStyle/>
        <a:p>
          <a:pPr algn="just"/>
          <a:endParaRPr lang="tr-TR" sz="1400" dirty="0">
            <a:latin typeface="Calibri" panose="020F0502020204030204" pitchFamily="34" charset="0"/>
            <a:cs typeface="Calibri" panose="020F0502020204030204" pitchFamily="34" charset="0"/>
          </a:endParaRPr>
        </a:p>
      </dgm:t>
    </dgm:pt>
    <dgm:pt modelId="{310389DF-188F-438B-B9EE-82430B29DDDD}" type="parTrans" cxnId="{FE7755F4-3348-429F-96C3-A22F73E91970}">
      <dgm:prSet/>
      <dgm:spPr/>
      <dgm:t>
        <a:bodyPr/>
        <a:lstStyle/>
        <a:p>
          <a:endParaRPr lang="tr-TR"/>
        </a:p>
      </dgm:t>
    </dgm:pt>
    <dgm:pt modelId="{3ED0686B-6E2E-4390-BFED-5C8CDC74A0C3}" type="sibTrans" cxnId="{FE7755F4-3348-429F-96C3-A22F73E91970}">
      <dgm:prSet/>
      <dgm:spPr/>
      <dgm:t>
        <a:bodyPr/>
        <a:lstStyle/>
        <a:p>
          <a:endParaRPr lang="tr-TR"/>
        </a:p>
      </dgm:t>
    </dgm:pt>
    <dgm:pt modelId="{1FECDD9B-368A-498F-BDD9-5E051569DBEA}">
      <dgm:prSet phldrT="[Metin]" custT="1"/>
      <dgm:spPr/>
      <dgm:t>
        <a:bodyPr/>
        <a:lstStyle/>
        <a:p>
          <a:pPr algn="just"/>
          <a:endParaRPr lang="tr-TR" sz="1400" dirty="0">
            <a:latin typeface="Calibri" panose="020F0502020204030204" pitchFamily="34" charset="0"/>
            <a:cs typeface="Calibri" panose="020F0502020204030204" pitchFamily="34" charset="0"/>
          </a:endParaRPr>
        </a:p>
      </dgm:t>
    </dgm:pt>
    <dgm:pt modelId="{B46D62FC-5A2D-46AA-BFBA-256B326D9371}" type="parTrans" cxnId="{42AAA1D7-15A8-4E30-B58C-823F1D34E845}">
      <dgm:prSet/>
      <dgm:spPr/>
      <dgm:t>
        <a:bodyPr/>
        <a:lstStyle/>
        <a:p>
          <a:endParaRPr lang="tr-TR"/>
        </a:p>
      </dgm:t>
    </dgm:pt>
    <dgm:pt modelId="{96CF09E0-9712-40AD-B590-E8105A988713}" type="sibTrans" cxnId="{42AAA1D7-15A8-4E30-B58C-823F1D34E845}">
      <dgm:prSet/>
      <dgm:spPr/>
      <dgm:t>
        <a:bodyPr/>
        <a:lstStyle/>
        <a:p>
          <a:endParaRPr lang="tr-TR"/>
        </a:p>
      </dgm:t>
    </dgm:pt>
    <dgm:pt modelId="{1F2F186C-3FA4-4E5A-B10B-8377CF08181F}">
      <dgm:prSet phldrT="[Metin]" custT="1"/>
      <dgm:spPr/>
      <dgm:t>
        <a:bodyPr/>
        <a:lstStyle/>
        <a:p>
          <a:pPr algn="just"/>
          <a:r>
            <a:rPr lang="tr-TR" sz="1400" dirty="0">
              <a:latin typeface="Calibri" panose="020F0502020204030204" pitchFamily="34" charset="0"/>
              <a:cs typeface="Calibri" panose="020F0502020204030204" pitchFamily="34" charset="0"/>
            </a:rPr>
            <a:t>Eğitim, danışmanlık, tasarım, yurt dışı marka tescil, nakliye ve diğer hizmet alımı giderlerinin her biri için </a:t>
          </a:r>
          <a:r>
            <a:rPr lang="tr-TR" sz="1400" dirty="0">
              <a:solidFill>
                <a:srgbClr val="FF0000"/>
              </a:solidFill>
              <a:latin typeface="Calibri" panose="020F0502020204030204" pitchFamily="34" charset="0"/>
              <a:cs typeface="Calibri" panose="020F0502020204030204" pitchFamily="34" charset="0"/>
            </a:rPr>
            <a:t>20.000.-TL’ye kadar</a:t>
          </a:r>
          <a:r>
            <a:rPr lang="tr-TR" sz="1400" dirty="0">
              <a:latin typeface="Calibri" panose="020F0502020204030204" pitchFamily="34" charset="0"/>
              <a:cs typeface="Calibri" panose="020F0502020204030204" pitchFamily="34" charset="0"/>
            </a:rPr>
            <a:t> destek verilir.</a:t>
          </a:r>
        </a:p>
      </dgm:t>
    </dgm:pt>
    <dgm:pt modelId="{21C49292-CC93-4DD7-B19C-BCAE3C8A77AB}" type="parTrans" cxnId="{121E1FD4-CAFE-49BC-A2EF-93E33DAAFDAE}">
      <dgm:prSet/>
      <dgm:spPr/>
      <dgm:t>
        <a:bodyPr/>
        <a:lstStyle/>
        <a:p>
          <a:endParaRPr lang="tr-TR"/>
        </a:p>
      </dgm:t>
    </dgm:pt>
    <dgm:pt modelId="{6E481D59-69E8-489D-955F-E074D8650C22}" type="sibTrans" cxnId="{121E1FD4-CAFE-49BC-A2EF-93E33DAAFDAE}">
      <dgm:prSet/>
      <dgm:spPr/>
      <dgm:t>
        <a:bodyPr/>
        <a:lstStyle/>
        <a:p>
          <a:endParaRPr lang="tr-TR"/>
        </a:p>
      </dgm:t>
    </dgm:pt>
    <dgm:pt modelId="{32C8BF01-76B4-4C71-B4EA-02907D2752F5}">
      <dgm:prSet phldrT="[Metin]" custT="1"/>
      <dgm:spPr/>
      <dgm:t>
        <a:bodyPr/>
        <a:lstStyle/>
        <a:p>
          <a:pPr algn="just"/>
          <a:endParaRPr lang="tr-TR" sz="1400" dirty="0">
            <a:latin typeface="Calibri" panose="020F0502020204030204" pitchFamily="34" charset="0"/>
            <a:cs typeface="Calibri" panose="020F0502020204030204" pitchFamily="34" charset="0"/>
          </a:endParaRPr>
        </a:p>
      </dgm:t>
    </dgm:pt>
    <dgm:pt modelId="{C8E35510-8A87-45A1-8652-04365E73A71C}" type="parTrans" cxnId="{CFB7872F-3C70-4A7D-8DBF-9CEBDE3934E1}">
      <dgm:prSet/>
      <dgm:spPr/>
      <dgm:t>
        <a:bodyPr/>
        <a:lstStyle/>
        <a:p>
          <a:endParaRPr lang="tr-TR"/>
        </a:p>
      </dgm:t>
    </dgm:pt>
    <dgm:pt modelId="{61A3AB86-58C8-49EC-93EA-1C2E92E784B4}" type="sibTrans" cxnId="{CFB7872F-3C70-4A7D-8DBF-9CEBDE3934E1}">
      <dgm:prSet/>
      <dgm:spPr/>
      <dgm:t>
        <a:bodyPr/>
        <a:lstStyle/>
        <a:p>
          <a:endParaRPr lang="tr-TR"/>
        </a:p>
      </dgm:t>
    </dgm:pt>
    <dgm:pt modelId="{8D9A727D-9FEF-4BA2-A58F-9228A744808D}" type="pres">
      <dgm:prSet presAssocID="{4D217ED4-7198-413E-93F7-3578C3D18B29}" presName="Name0" presStyleCnt="0">
        <dgm:presLayoutVars>
          <dgm:dir/>
          <dgm:animLvl val="lvl"/>
          <dgm:resizeHandles val="exact"/>
        </dgm:presLayoutVars>
      </dgm:prSet>
      <dgm:spPr/>
      <dgm:t>
        <a:bodyPr/>
        <a:lstStyle/>
        <a:p>
          <a:endParaRPr lang="tr-TR"/>
        </a:p>
      </dgm:t>
    </dgm:pt>
    <dgm:pt modelId="{7447F2C5-841B-464A-ABA8-3BEDF3CB2266}" type="pres">
      <dgm:prSet presAssocID="{74945AE8-85B8-4A4C-AFBD-8FD18D8021F7}" presName="linNode" presStyleCnt="0"/>
      <dgm:spPr/>
    </dgm:pt>
    <dgm:pt modelId="{EA76D721-580E-4CFE-8AB1-08AB49290FD9}" type="pres">
      <dgm:prSet presAssocID="{74945AE8-85B8-4A4C-AFBD-8FD18D8021F7}" presName="parentText" presStyleLbl="node1" presStyleIdx="0" presStyleCnt="1" custScaleX="71947" custScaleY="96355" custLinFactNeighborX="-1335" custLinFactNeighborY="-162">
        <dgm:presLayoutVars>
          <dgm:chMax val="1"/>
          <dgm:bulletEnabled val="1"/>
        </dgm:presLayoutVars>
      </dgm:prSet>
      <dgm:spPr/>
      <dgm:t>
        <a:bodyPr/>
        <a:lstStyle/>
        <a:p>
          <a:endParaRPr lang="tr-TR"/>
        </a:p>
      </dgm:t>
    </dgm:pt>
    <dgm:pt modelId="{E95A3130-ACEB-4BFD-94BA-1A81F19E2715}" type="pres">
      <dgm:prSet presAssocID="{74945AE8-85B8-4A4C-AFBD-8FD18D8021F7}" presName="descendantText" presStyleLbl="alignAccFollowNode1" presStyleIdx="0" presStyleCnt="1" custScaleX="114416" custScaleY="118856">
        <dgm:presLayoutVars>
          <dgm:bulletEnabled val="1"/>
        </dgm:presLayoutVars>
      </dgm:prSet>
      <dgm:spPr/>
      <dgm:t>
        <a:bodyPr/>
        <a:lstStyle/>
        <a:p>
          <a:endParaRPr lang="tr-TR"/>
        </a:p>
      </dgm:t>
    </dgm:pt>
  </dgm:ptLst>
  <dgm:cxnLst>
    <dgm:cxn modelId="{F144D741-E4EC-4CC8-9BAB-31785AF0887A}" type="presOf" srcId="{74945AE8-85B8-4A4C-AFBD-8FD18D8021F7}" destId="{EA76D721-580E-4CFE-8AB1-08AB49290FD9}" srcOrd="0" destOrd="0" presId="urn:microsoft.com/office/officeart/2005/8/layout/vList5"/>
    <dgm:cxn modelId="{42AAA1D7-15A8-4E30-B58C-823F1D34E845}" srcId="{74945AE8-85B8-4A4C-AFBD-8FD18D8021F7}" destId="{1FECDD9B-368A-498F-BDD9-5E051569DBEA}" srcOrd="7" destOrd="0" parTransId="{B46D62FC-5A2D-46AA-BFBA-256B326D9371}" sibTransId="{96CF09E0-9712-40AD-B590-E8105A988713}"/>
    <dgm:cxn modelId="{E18D1550-6B84-4AE6-8828-687BDEC6BB73}" type="presOf" srcId="{35DC7BEE-9529-4151-8B31-DD967E150AFA}" destId="{E95A3130-ACEB-4BFD-94BA-1A81F19E2715}" srcOrd="0" destOrd="5" presId="urn:microsoft.com/office/officeart/2005/8/layout/vList5"/>
    <dgm:cxn modelId="{9920D9A1-C445-461B-8E26-AE95859AF8E6}" srcId="{74945AE8-85B8-4A4C-AFBD-8FD18D8021F7}" destId="{58B51C50-72F6-405E-8500-3AD3D454AAA4}" srcOrd="0" destOrd="0" parTransId="{1C1C3F9E-707A-46C6-B114-9FE5AF07E2B0}" sibTransId="{8E8893DD-6062-4110-B831-B625D37CC0F5}"/>
    <dgm:cxn modelId="{F0D59787-6928-4FA1-BDD6-B8923891E9B2}" type="presOf" srcId="{58B51C50-72F6-405E-8500-3AD3D454AAA4}" destId="{E95A3130-ACEB-4BFD-94BA-1A81F19E2715}" srcOrd="0" destOrd="0" presId="urn:microsoft.com/office/officeart/2005/8/layout/vList5"/>
    <dgm:cxn modelId="{89A5B5D1-05C7-4798-ACB1-18B8FA4AC710}" srcId="{74945AE8-85B8-4A4C-AFBD-8FD18D8021F7}" destId="{35DC7BEE-9529-4151-8B31-DD967E150AFA}" srcOrd="5" destOrd="0" parTransId="{C56D615C-369A-4A9B-A5E8-5167B0195D18}" sibTransId="{B38E7984-AE74-47EF-BCCB-2B1CA4C41B68}"/>
    <dgm:cxn modelId="{58EA9F0E-A08E-4E20-8D35-438106AB631A}" type="presOf" srcId="{1D7927F4-CE78-4DDC-823F-130DC103B3F3}" destId="{E95A3130-ACEB-4BFD-94BA-1A81F19E2715}" srcOrd="0" destOrd="1" presId="urn:microsoft.com/office/officeart/2005/8/layout/vList5"/>
    <dgm:cxn modelId="{CFB7872F-3C70-4A7D-8DBF-9CEBDE3934E1}" srcId="{74945AE8-85B8-4A4C-AFBD-8FD18D8021F7}" destId="{32C8BF01-76B4-4C71-B4EA-02907D2752F5}" srcOrd="3" destOrd="0" parTransId="{C8E35510-8A87-45A1-8652-04365E73A71C}" sibTransId="{61A3AB86-58C8-49EC-93EA-1C2E92E784B4}"/>
    <dgm:cxn modelId="{5AAB7347-4133-434B-93EC-DF3368ED32A6}" srcId="{4D217ED4-7198-413E-93F7-3578C3D18B29}" destId="{74945AE8-85B8-4A4C-AFBD-8FD18D8021F7}" srcOrd="0" destOrd="0" parTransId="{4C3E70A3-673D-4ECC-98B0-C3C771ED63D1}" sibTransId="{F89DDD73-52E9-4F89-A5E0-1C665AE0209C}"/>
    <dgm:cxn modelId="{FE7755F4-3348-429F-96C3-A22F73E91970}" srcId="{74945AE8-85B8-4A4C-AFBD-8FD18D8021F7}" destId="{1D7927F4-CE78-4DDC-823F-130DC103B3F3}" srcOrd="1" destOrd="0" parTransId="{310389DF-188F-438B-B9EE-82430B29DDDD}" sibTransId="{3ED0686B-6E2E-4390-BFED-5C8CDC74A0C3}"/>
    <dgm:cxn modelId="{7DE35821-A9B5-427A-9815-6AFEC3D32629}" srcId="{74945AE8-85B8-4A4C-AFBD-8FD18D8021F7}" destId="{D303EBE3-0575-4036-BCCC-E9F95290A3ED}" srcOrd="6" destOrd="0" parTransId="{923A6A89-1888-4029-A1CE-61C45D035365}" sibTransId="{C9DFA86F-148E-450D-B40D-7ADFB61ECC73}"/>
    <dgm:cxn modelId="{FC09EC6E-6C11-4638-8EA3-DAD6A3DDE0D8}" type="presOf" srcId="{1F2F186C-3FA4-4E5A-B10B-8377CF08181F}" destId="{E95A3130-ACEB-4BFD-94BA-1A81F19E2715}" srcOrd="0" destOrd="8" presId="urn:microsoft.com/office/officeart/2005/8/layout/vList5"/>
    <dgm:cxn modelId="{1DB2F11A-AC69-4825-A353-C9C84BBF5212}" type="presOf" srcId="{4D217ED4-7198-413E-93F7-3578C3D18B29}" destId="{8D9A727D-9FEF-4BA2-A58F-9228A744808D}" srcOrd="0" destOrd="0" presId="urn:microsoft.com/office/officeart/2005/8/layout/vList5"/>
    <dgm:cxn modelId="{7052ECCD-8016-479E-9BAF-BE2037091129}" type="presOf" srcId="{1FECDD9B-368A-498F-BDD9-5E051569DBEA}" destId="{E95A3130-ACEB-4BFD-94BA-1A81F19E2715}" srcOrd="0" destOrd="7" presId="urn:microsoft.com/office/officeart/2005/8/layout/vList5"/>
    <dgm:cxn modelId="{5F63A97E-E5D7-4169-8099-8E49723547F5}" type="presOf" srcId="{32C8BF01-76B4-4C71-B4EA-02907D2752F5}" destId="{E95A3130-ACEB-4BFD-94BA-1A81F19E2715}" srcOrd="0" destOrd="3" presId="urn:microsoft.com/office/officeart/2005/8/layout/vList5"/>
    <dgm:cxn modelId="{90793B28-5EBD-4F01-9715-30576699736D}" srcId="{74945AE8-85B8-4A4C-AFBD-8FD18D8021F7}" destId="{1ED7ED1C-6D36-4D02-A4FF-CA83CD4FEDBA}" srcOrd="2" destOrd="0" parTransId="{17A9B065-D0E1-4018-BBCD-61389B39ABBF}" sibTransId="{1A234883-B5D5-45F2-B3DD-79F397B94E46}"/>
    <dgm:cxn modelId="{29879BD6-22E0-4065-9088-F4C12AEA948B}" type="presOf" srcId="{1ED7ED1C-6D36-4D02-A4FF-CA83CD4FEDBA}" destId="{E95A3130-ACEB-4BFD-94BA-1A81F19E2715}" srcOrd="0" destOrd="2" presId="urn:microsoft.com/office/officeart/2005/8/layout/vList5"/>
    <dgm:cxn modelId="{2DBBC173-438A-441D-B254-DE7274F37A61}" type="presOf" srcId="{D303EBE3-0575-4036-BCCC-E9F95290A3ED}" destId="{E95A3130-ACEB-4BFD-94BA-1A81F19E2715}" srcOrd="0" destOrd="6" presId="urn:microsoft.com/office/officeart/2005/8/layout/vList5"/>
    <dgm:cxn modelId="{E92AEFB9-A79B-425A-B113-DB37CA1425E8}" srcId="{74945AE8-85B8-4A4C-AFBD-8FD18D8021F7}" destId="{6185F662-3F02-4498-A8CB-B54CEC8FE415}" srcOrd="4" destOrd="0" parTransId="{94783F0C-A0AF-438F-98B4-428CA3249DE8}" sibTransId="{C07B18C2-5AFB-446F-9A09-85C9919B5895}"/>
    <dgm:cxn modelId="{E16D1D00-C4B2-4A4D-86C4-195A4370D2F8}" type="presOf" srcId="{6185F662-3F02-4498-A8CB-B54CEC8FE415}" destId="{E95A3130-ACEB-4BFD-94BA-1A81F19E2715}" srcOrd="0" destOrd="4" presId="urn:microsoft.com/office/officeart/2005/8/layout/vList5"/>
    <dgm:cxn modelId="{121E1FD4-CAFE-49BC-A2EF-93E33DAAFDAE}" srcId="{74945AE8-85B8-4A4C-AFBD-8FD18D8021F7}" destId="{1F2F186C-3FA4-4E5A-B10B-8377CF08181F}" srcOrd="8" destOrd="0" parTransId="{21C49292-CC93-4DD7-B19C-BCAE3C8A77AB}" sibTransId="{6E481D59-69E8-489D-955F-E074D8650C22}"/>
    <dgm:cxn modelId="{50003FC3-7113-4C48-9514-B293EA3950E6}" type="presParOf" srcId="{8D9A727D-9FEF-4BA2-A58F-9228A744808D}" destId="{7447F2C5-841B-464A-ABA8-3BEDF3CB2266}" srcOrd="0" destOrd="0" presId="urn:microsoft.com/office/officeart/2005/8/layout/vList5"/>
    <dgm:cxn modelId="{283B001E-4186-419A-800E-C1ED7A98D69C}" type="presParOf" srcId="{7447F2C5-841B-464A-ABA8-3BEDF3CB2266}" destId="{EA76D721-580E-4CFE-8AB1-08AB49290FD9}" srcOrd="0" destOrd="0" presId="urn:microsoft.com/office/officeart/2005/8/layout/vList5"/>
    <dgm:cxn modelId="{75A223EB-D484-4AE9-9F8C-0A10A57B2591}" type="presParOf" srcId="{7447F2C5-841B-464A-ABA8-3BEDF3CB2266}" destId="{E95A3130-ACEB-4BFD-94BA-1A81F19E271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B0482593-5BF6-4769-93D3-4B8FCFB7F94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tr-TR"/>
        </a:p>
      </dgm:t>
    </dgm:pt>
    <dgm:pt modelId="{A4A0A337-1EBB-42BA-9140-DDBCE2CD44FF}">
      <dgm:prSet phldrT="[Metin]" custT="1"/>
      <dgm:spPr>
        <a:solidFill>
          <a:srgbClr val="00B050"/>
        </a:solidFill>
      </dgm:spPr>
      <dgm:t>
        <a:bodyPr/>
        <a:lstStyle/>
        <a:p>
          <a:r>
            <a:rPr lang="tr-TR" sz="1800" b="1" dirty="0" smtClean="0"/>
            <a:t>KOSGEB DESTEKLERİ</a:t>
          </a:r>
          <a:endParaRPr lang="tr-TR" sz="1800" b="1" dirty="0"/>
        </a:p>
      </dgm:t>
    </dgm:pt>
    <dgm:pt modelId="{21DC47FD-4133-4BEE-AF53-24220070A001}" type="parTrans" cxnId="{6C4BF16C-C791-41CF-A0E0-E7368A15B534}">
      <dgm:prSet/>
      <dgm:spPr/>
      <dgm:t>
        <a:bodyPr/>
        <a:lstStyle/>
        <a:p>
          <a:endParaRPr lang="tr-TR" sz="1800"/>
        </a:p>
      </dgm:t>
    </dgm:pt>
    <dgm:pt modelId="{0E4BBC78-0C01-4349-8EAB-89A774CFF371}" type="sibTrans" cxnId="{6C4BF16C-C791-41CF-A0E0-E7368A15B534}">
      <dgm:prSet/>
      <dgm:spPr/>
      <dgm:t>
        <a:bodyPr/>
        <a:lstStyle/>
        <a:p>
          <a:endParaRPr lang="tr-TR" sz="1800"/>
        </a:p>
      </dgm:t>
    </dgm:pt>
    <dgm:pt modelId="{6F98B325-1D87-4661-A744-F9F1615411AD}">
      <dgm:prSet phldrT="[Metin]" custT="1"/>
      <dgm:spPr>
        <a:solidFill>
          <a:schemeClr val="accent2">
            <a:lumMod val="60000"/>
            <a:lumOff val="40000"/>
          </a:schemeClr>
        </a:solidFill>
      </dgm:spPr>
      <dgm:t>
        <a:bodyPr/>
        <a:lstStyle/>
        <a:p>
          <a:r>
            <a:rPr lang="tr-TR" sz="1800" dirty="0" smtClean="0"/>
            <a:t>KOSGEB Destek Programları Yönetmeliği</a:t>
          </a:r>
          <a:endParaRPr lang="tr-TR" sz="1800" dirty="0"/>
        </a:p>
      </dgm:t>
    </dgm:pt>
    <dgm:pt modelId="{08328EBC-AC90-433E-A709-A3A34B1DFCD0}" type="parTrans" cxnId="{B7E8DC42-EC45-4BD2-8D47-E66838B4DF71}">
      <dgm:prSet/>
      <dgm:spPr/>
      <dgm:t>
        <a:bodyPr/>
        <a:lstStyle/>
        <a:p>
          <a:endParaRPr lang="tr-TR" sz="1800"/>
        </a:p>
      </dgm:t>
    </dgm:pt>
    <dgm:pt modelId="{31F16CD2-7194-4988-85B5-F9C087CFFBAA}" type="sibTrans" cxnId="{B7E8DC42-EC45-4BD2-8D47-E66838B4DF71}">
      <dgm:prSet/>
      <dgm:spPr/>
      <dgm:t>
        <a:bodyPr/>
        <a:lstStyle/>
        <a:p>
          <a:endParaRPr lang="tr-TR" sz="1800"/>
        </a:p>
      </dgm:t>
    </dgm:pt>
    <dgm:pt modelId="{D7C1CAE1-C940-4555-A8F5-2F8566866C61}">
      <dgm:prSet phldrT="[Metin]" custT="1"/>
      <dgm:spPr/>
      <dgm:t>
        <a:bodyPr/>
        <a:lstStyle/>
        <a:p>
          <a:r>
            <a:rPr lang="tr-TR" sz="1800" dirty="0" smtClean="0"/>
            <a:t>KOSGEB KOBİ Kredi Faiz Desteği Yönetmeliği</a:t>
          </a:r>
          <a:endParaRPr lang="tr-TR" sz="1800" dirty="0"/>
        </a:p>
      </dgm:t>
    </dgm:pt>
    <dgm:pt modelId="{4214DB15-1961-4D5A-9F8D-3453F91BEB04}" type="parTrans" cxnId="{21C62F6E-8204-4BAC-BD81-5E25591006CA}">
      <dgm:prSet/>
      <dgm:spPr/>
      <dgm:t>
        <a:bodyPr/>
        <a:lstStyle/>
        <a:p>
          <a:endParaRPr lang="tr-TR" sz="1800"/>
        </a:p>
      </dgm:t>
    </dgm:pt>
    <dgm:pt modelId="{3E3D619F-7747-4DBE-9F92-192B29CC3EB7}" type="sibTrans" cxnId="{21C62F6E-8204-4BAC-BD81-5E25591006CA}">
      <dgm:prSet/>
      <dgm:spPr/>
      <dgm:t>
        <a:bodyPr/>
        <a:lstStyle/>
        <a:p>
          <a:endParaRPr lang="tr-TR" sz="1800"/>
        </a:p>
      </dgm:t>
    </dgm:pt>
    <dgm:pt modelId="{2D4B8004-CA52-42BD-AE5B-78C4F17DF93A}" type="pres">
      <dgm:prSet presAssocID="{B0482593-5BF6-4769-93D3-4B8FCFB7F94F}" presName="hierChild1" presStyleCnt="0">
        <dgm:presLayoutVars>
          <dgm:orgChart val="1"/>
          <dgm:chPref val="1"/>
          <dgm:dir/>
          <dgm:animOne val="branch"/>
          <dgm:animLvl val="lvl"/>
          <dgm:resizeHandles/>
        </dgm:presLayoutVars>
      </dgm:prSet>
      <dgm:spPr/>
      <dgm:t>
        <a:bodyPr/>
        <a:lstStyle/>
        <a:p>
          <a:endParaRPr lang="tr-TR"/>
        </a:p>
      </dgm:t>
    </dgm:pt>
    <dgm:pt modelId="{C788D6AB-248F-4AE9-B880-E42D649D947A}" type="pres">
      <dgm:prSet presAssocID="{A4A0A337-1EBB-42BA-9140-DDBCE2CD44FF}" presName="hierRoot1" presStyleCnt="0">
        <dgm:presLayoutVars>
          <dgm:hierBranch val="init"/>
        </dgm:presLayoutVars>
      </dgm:prSet>
      <dgm:spPr/>
    </dgm:pt>
    <dgm:pt modelId="{9FD7E135-EF0E-4AED-9224-3D028DD5A10B}" type="pres">
      <dgm:prSet presAssocID="{A4A0A337-1EBB-42BA-9140-DDBCE2CD44FF}" presName="rootComposite1" presStyleCnt="0"/>
      <dgm:spPr/>
    </dgm:pt>
    <dgm:pt modelId="{14D26D49-F624-4F72-8D61-C8E80A365A0C}" type="pres">
      <dgm:prSet presAssocID="{A4A0A337-1EBB-42BA-9140-DDBCE2CD44FF}" presName="rootText1" presStyleLbl="node0" presStyleIdx="0" presStyleCnt="1" custScaleY="35757">
        <dgm:presLayoutVars>
          <dgm:chPref val="3"/>
        </dgm:presLayoutVars>
      </dgm:prSet>
      <dgm:spPr/>
      <dgm:t>
        <a:bodyPr/>
        <a:lstStyle/>
        <a:p>
          <a:endParaRPr lang="tr-TR"/>
        </a:p>
      </dgm:t>
    </dgm:pt>
    <dgm:pt modelId="{B0F35254-47BF-422A-9F26-9F12C45267E7}" type="pres">
      <dgm:prSet presAssocID="{A4A0A337-1EBB-42BA-9140-DDBCE2CD44FF}" presName="rootConnector1" presStyleLbl="node1" presStyleIdx="0" presStyleCnt="0"/>
      <dgm:spPr/>
      <dgm:t>
        <a:bodyPr/>
        <a:lstStyle/>
        <a:p>
          <a:endParaRPr lang="tr-TR"/>
        </a:p>
      </dgm:t>
    </dgm:pt>
    <dgm:pt modelId="{A1367041-6901-46DF-B985-1814D1A265CD}" type="pres">
      <dgm:prSet presAssocID="{A4A0A337-1EBB-42BA-9140-DDBCE2CD44FF}" presName="hierChild2" presStyleCnt="0"/>
      <dgm:spPr/>
    </dgm:pt>
    <dgm:pt modelId="{5DE762F5-4EA3-4DC9-839B-60205E636102}" type="pres">
      <dgm:prSet presAssocID="{08328EBC-AC90-433E-A709-A3A34B1DFCD0}" presName="Name37" presStyleLbl="parChTrans1D2" presStyleIdx="0" presStyleCnt="2"/>
      <dgm:spPr/>
      <dgm:t>
        <a:bodyPr/>
        <a:lstStyle/>
        <a:p>
          <a:endParaRPr lang="tr-TR"/>
        </a:p>
      </dgm:t>
    </dgm:pt>
    <dgm:pt modelId="{B7DA7608-5D3F-440C-82E4-A3F31B78419B}" type="pres">
      <dgm:prSet presAssocID="{6F98B325-1D87-4661-A744-F9F1615411AD}" presName="hierRoot2" presStyleCnt="0">
        <dgm:presLayoutVars>
          <dgm:hierBranch val="init"/>
        </dgm:presLayoutVars>
      </dgm:prSet>
      <dgm:spPr/>
    </dgm:pt>
    <dgm:pt modelId="{BEDB12C4-24E9-45FA-A9CA-FD60DDE15D06}" type="pres">
      <dgm:prSet presAssocID="{6F98B325-1D87-4661-A744-F9F1615411AD}" presName="rootComposite" presStyleCnt="0"/>
      <dgm:spPr/>
    </dgm:pt>
    <dgm:pt modelId="{9C6B4F22-AE35-4FE6-922D-D02F670330D7}" type="pres">
      <dgm:prSet presAssocID="{6F98B325-1D87-4661-A744-F9F1615411AD}" presName="rootText" presStyleLbl="node2" presStyleIdx="0" presStyleCnt="2" custScaleY="47609">
        <dgm:presLayoutVars>
          <dgm:chPref val="3"/>
        </dgm:presLayoutVars>
      </dgm:prSet>
      <dgm:spPr/>
      <dgm:t>
        <a:bodyPr/>
        <a:lstStyle/>
        <a:p>
          <a:endParaRPr lang="tr-TR"/>
        </a:p>
      </dgm:t>
    </dgm:pt>
    <dgm:pt modelId="{AC2AAFF9-1EDA-46BB-8ADA-E3854AA22734}" type="pres">
      <dgm:prSet presAssocID="{6F98B325-1D87-4661-A744-F9F1615411AD}" presName="rootConnector" presStyleLbl="node2" presStyleIdx="0" presStyleCnt="2"/>
      <dgm:spPr/>
      <dgm:t>
        <a:bodyPr/>
        <a:lstStyle/>
        <a:p>
          <a:endParaRPr lang="tr-TR"/>
        </a:p>
      </dgm:t>
    </dgm:pt>
    <dgm:pt modelId="{50001C5C-C128-4948-BC70-FF0176AAE9A9}" type="pres">
      <dgm:prSet presAssocID="{6F98B325-1D87-4661-A744-F9F1615411AD}" presName="hierChild4" presStyleCnt="0"/>
      <dgm:spPr/>
    </dgm:pt>
    <dgm:pt modelId="{63F755D9-6480-47A1-8434-32576CA9B05F}" type="pres">
      <dgm:prSet presAssocID="{6F98B325-1D87-4661-A744-F9F1615411AD}" presName="hierChild5" presStyleCnt="0"/>
      <dgm:spPr/>
    </dgm:pt>
    <dgm:pt modelId="{72076172-5268-482A-B3CE-050FEEB6D416}" type="pres">
      <dgm:prSet presAssocID="{4214DB15-1961-4D5A-9F8D-3453F91BEB04}" presName="Name37" presStyleLbl="parChTrans1D2" presStyleIdx="1" presStyleCnt="2"/>
      <dgm:spPr/>
      <dgm:t>
        <a:bodyPr/>
        <a:lstStyle/>
        <a:p>
          <a:endParaRPr lang="tr-TR"/>
        </a:p>
      </dgm:t>
    </dgm:pt>
    <dgm:pt modelId="{16262A2A-D9B4-43F4-8AED-7EE869FA649F}" type="pres">
      <dgm:prSet presAssocID="{D7C1CAE1-C940-4555-A8F5-2F8566866C61}" presName="hierRoot2" presStyleCnt="0">
        <dgm:presLayoutVars>
          <dgm:hierBranch val="init"/>
        </dgm:presLayoutVars>
      </dgm:prSet>
      <dgm:spPr/>
    </dgm:pt>
    <dgm:pt modelId="{CF063DCA-5814-4CFF-8B06-21795D26E41C}" type="pres">
      <dgm:prSet presAssocID="{D7C1CAE1-C940-4555-A8F5-2F8566866C61}" presName="rootComposite" presStyleCnt="0"/>
      <dgm:spPr/>
    </dgm:pt>
    <dgm:pt modelId="{AB2A34E5-A170-4D76-9EC0-E064ECE61FC1}" type="pres">
      <dgm:prSet presAssocID="{D7C1CAE1-C940-4555-A8F5-2F8566866C61}" presName="rootText" presStyleLbl="node2" presStyleIdx="1" presStyleCnt="2" custScaleY="49324">
        <dgm:presLayoutVars>
          <dgm:chPref val="3"/>
        </dgm:presLayoutVars>
      </dgm:prSet>
      <dgm:spPr/>
      <dgm:t>
        <a:bodyPr/>
        <a:lstStyle/>
        <a:p>
          <a:endParaRPr lang="tr-TR"/>
        </a:p>
      </dgm:t>
    </dgm:pt>
    <dgm:pt modelId="{72C9D6C6-DA90-4666-9A44-C04C6D8D4C80}" type="pres">
      <dgm:prSet presAssocID="{D7C1CAE1-C940-4555-A8F5-2F8566866C61}" presName="rootConnector" presStyleLbl="node2" presStyleIdx="1" presStyleCnt="2"/>
      <dgm:spPr/>
      <dgm:t>
        <a:bodyPr/>
        <a:lstStyle/>
        <a:p>
          <a:endParaRPr lang="tr-TR"/>
        </a:p>
      </dgm:t>
    </dgm:pt>
    <dgm:pt modelId="{B37FE4B0-41D7-4B90-B437-1BA506D10A97}" type="pres">
      <dgm:prSet presAssocID="{D7C1CAE1-C940-4555-A8F5-2F8566866C61}" presName="hierChild4" presStyleCnt="0"/>
      <dgm:spPr/>
    </dgm:pt>
    <dgm:pt modelId="{D798B900-467D-44E4-97BB-0401ECF2255A}" type="pres">
      <dgm:prSet presAssocID="{D7C1CAE1-C940-4555-A8F5-2F8566866C61}" presName="hierChild5" presStyleCnt="0"/>
      <dgm:spPr/>
    </dgm:pt>
    <dgm:pt modelId="{1A8E364B-1ADD-4432-A506-BEAE81602613}" type="pres">
      <dgm:prSet presAssocID="{A4A0A337-1EBB-42BA-9140-DDBCE2CD44FF}" presName="hierChild3" presStyleCnt="0"/>
      <dgm:spPr/>
    </dgm:pt>
  </dgm:ptLst>
  <dgm:cxnLst>
    <dgm:cxn modelId="{6C4BF16C-C791-41CF-A0E0-E7368A15B534}" srcId="{B0482593-5BF6-4769-93D3-4B8FCFB7F94F}" destId="{A4A0A337-1EBB-42BA-9140-DDBCE2CD44FF}" srcOrd="0" destOrd="0" parTransId="{21DC47FD-4133-4BEE-AF53-24220070A001}" sibTransId="{0E4BBC78-0C01-4349-8EAB-89A774CFF371}"/>
    <dgm:cxn modelId="{07EF4619-985C-4848-8F7E-C5AAA1C3E7D5}" type="presOf" srcId="{B0482593-5BF6-4769-93D3-4B8FCFB7F94F}" destId="{2D4B8004-CA52-42BD-AE5B-78C4F17DF93A}" srcOrd="0" destOrd="0" presId="urn:microsoft.com/office/officeart/2005/8/layout/orgChart1"/>
    <dgm:cxn modelId="{68CF6DC0-D3DF-4E51-A66E-8B42D04DE7AD}" type="presOf" srcId="{A4A0A337-1EBB-42BA-9140-DDBCE2CD44FF}" destId="{14D26D49-F624-4F72-8D61-C8E80A365A0C}" srcOrd="0" destOrd="0" presId="urn:microsoft.com/office/officeart/2005/8/layout/orgChart1"/>
    <dgm:cxn modelId="{F3DAA3FD-C153-4469-A554-CF606971E7F9}" type="presOf" srcId="{4214DB15-1961-4D5A-9F8D-3453F91BEB04}" destId="{72076172-5268-482A-B3CE-050FEEB6D416}" srcOrd="0" destOrd="0" presId="urn:microsoft.com/office/officeart/2005/8/layout/orgChart1"/>
    <dgm:cxn modelId="{80AD6E65-B661-47E1-AFFF-B9EFD35AA9D6}" type="presOf" srcId="{D7C1CAE1-C940-4555-A8F5-2F8566866C61}" destId="{72C9D6C6-DA90-4666-9A44-C04C6D8D4C80}" srcOrd="1" destOrd="0" presId="urn:microsoft.com/office/officeart/2005/8/layout/orgChart1"/>
    <dgm:cxn modelId="{E4637080-9F9B-45B1-B321-617C6315F90F}" type="presOf" srcId="{6F98B325-1D87-4661-A744-F9F1615411AD}" destId="{9C6B4F22-AE35-4FE6-922D-D02F670330D7}" srcOrd="0" destOrd="0" presId="urn:microsoft.com/office/officeart/2005/8/layout/orgChart1"/>
    <dgm:cxn modelId="{21C62F6E-8204-4BAC-BD81-5E25591006CA}" srcId="{A4A0A337-1EBB-42BA-9140-DDBCE2CD44FF}" destId="{D7C1CAE1-C940-4555-A8F5-2F8566866C61}" srcOrd="1" destOrd="0" parTransId="{4214DB15-1961-4D5A-9F8D-3453F91BEB04}" sibTransId="{3E3D619F-7747-4DBE-9F92-192B29CC3EB7}"/>
    <dgm:cxn modelId="{9B1044B4-0E79-40E1-BBF2-8E0E2D0E9FDC}" type="presOf" srcId="{D7C1CAE1-C940-4555-A8F5-2F8566866C61}" destId="{AB2A34E5-A170-4D76-9EC0-E064ECE61FC1}" srcOrd="0" destOrd="0" presId="urn:microsoft.com/office/officeart/2005/8/layout/orgChart1"/>
    <dgm:cxn modelId="{E4AD5125-D1AD-4CAC-A02E-D04251BAD5B8}" type="presOf" srcId="{A4A0A337-1EBB-42BA-9140-DDBCE2CD44FF}" destId="{B0F35254-47BF-422A-9F26-9F12C45267E7}" srcOrd="1" destOrd="0" presId="urn:microsoft.com/office/officeart/2005/8/layout/orgChart1"/>
    <dgm:cxn modelId="{F67E6E54-F07B-442D-848B-005BBA78631E}" type="presOf" srcId="{6F98B325-1D87-4661-A744-F9F1615411AD}" destId="{AC2AAFF9-1EDA-46BB-8ADA-E3854AA22734}" srcOrd="1" destOrd="0" presId="urn:microsoft.com/office/officeart/2005/8/layout/orgChart1"/>
    <dgm:cxn modelId="{B7E8DC42-EC45-4BD2-8D47-E66838B4DF71}" srcId="{A4A0A337-1EBB-42BA-9140-DDBCE2CD44FF}" destId="{6F98B325-1D87-4661-A744-F9F1615411AD}" srcOrd="0" destOrd="0" parTransId="{08328EBC-AC90-433E-A709-A3A34B1DFCD0}" sibTransId="{31F16CD2-7194-4988-85B5-F9C087CFFBAA}"/>
    <dgm:cxn modelId="{C2C2705A-2C23-420D-8181-407C295E9EF3}" type="presOf" srcId="{08328EBC-AC90-433E-A709-A3A34B1DFCD0}" destId="{5DE762F5-4EA3-4DC9-839B-60205E636102}" srcOrd="0" destOrd="0" presId="urn:microsoft.com/office/officeart/2005/8/layout/orgChart1"/>
    <dgm:cxn modelId="{8EBB1370-E6C0-4EF5-B369-3A2295B3750C}" type="presParOf" srcId="{2D4B8004-CA52-42BD-AE5B-78C4F17DF93A}" destId="{C788D6AB-248F-4AE9-B880-E42D649D947A}" srcOrd="0" destOrd="0" presId="urn:microsoft.com/office/officeart/2005/8/layout/orgChart1"/>
    <dgm:cxn modelId="{ABEFA6F6-539D-4AD3-9768-CA1CBC02FB80}" type="presParOf" srcId="{C788D6AB-248F-4AE9-B880-E42D649D947A}" destId="{9FD7E135-EF0E-4AED-9224-3D028DD5A10B}" srcOrd="0" destOrd="0" presId="urn:microsoft.com/office/officeart/2005/8/layout/orgChart1"/>
    <dgm:cxn modelId="{140997C1-429F-4792-BC01-7B2D57B5118C}" type="presParOf" srcId="{9FD7E135-EF0E-4AED-9224-3D028DD5A10B}" destId="{14D26D49-F624-4F72-8D61-C8E80A365A0C}" srcOrd="0" destOrd="0" presId="urn:microsoft.com/office/officeart/2005/8/layout/orgChart1"/>
    <dgm:cxn modelId="{2760B066-D47E-4B6E-AFFB-B92C52B09463}" type="presParOf" srcId="{9FD7E135-EF0E-4AED-9224-3D028DD5A10B}" destId="{B0F35254-47BF-422A-9F26-9F12C45267E7}" srcOrd="1" destOrd="0" presId="urn:microsoft.com/office/officeart/2005/8/layout/orgChart1"/>
    <dgm:cxn modelId="{F1107FCE-DB74-4B17-929F-9ED679B6B29D}" type="presParOf" srcId="{C788D6AB-248F-4AE9-B880-E42D649D947A}" destId="{A1367041-6901-46DF-B985-1814D1A265CD}" srcOrd="1" destOrd="0" presId="urn:microsoft.com/office/officeart/2005/8/layout/orgChart1"/>
    <dgm:cxn modelId="{0D138E2F-BAE3-4426-A00D-DA2962A18FB9}" type="presParOf" srcId="{A1367041-6901-46DF-B985-1814D1A265CD}" destId="{5DE762F5-4EA3-4DC9-839B-60205E636102}" srcOrd="0" destOrd="0" presId="urn:microsoft.com/office/officeart/2005/8/layout/orgChart1"/>
    <dgm:cxn modelId="{35D3EB92-FB8F-4786-BF51-D792A70BE77D}" type="presParOf" srcId="{A1367041-6901-46DF-B985-1814D1A265CD}" destId="{B7DA7608-5D3F-440C-82E4-A3F31B78419B}" srcOrd="1" destOrd="0" presId="urn:microsoft.com/office/officeart/2005/8/layout/orgChart1"/>
    <dgm:cxn modelId="{7089424C-C3C8-4C6E-B15F-F257E60596BE}" type="presParOf" srcId="{B7DA7608-5D3F-440C-82E4-A3F31B78419B}" destId="{BEDB12C4-24E9-45FA-A9CA-FD60DDE15D06}" srcOrd="0" destOrd="0" presId="urn:microsoft.com/office/officeart/2005/8/layout/orgChart1"/>
    <dgm:cxn modelId="{B6956324-1CE5-4812-847A-B9108D9247BA}" type="presParOf" srcId="{BEDB12C4-24E9-45FA-A9CA-FD60DDE15D06}" destId="{9C6B4F22-AE35-4FE6-922D-D02F670330D7}" srcOrd="0" destOrd="0" presId="urn:microsoft.com/office/officeart/2005/8/layout/orgChart1"/>
    <dgm:cxn modelId="{86555DB1-117F-4F74-8797-3AC2A65FC416}" type="presParOf" srcId="{BEDB12C4-24E9-45FA-A9CA-FD60DDE15D06}" destId="{AC2AAFF9-1EDA-46BB-8ADA-E3854AA22734}" srcOrd="1" destOrd="0" presId="urn:microsoft.com/office/officeart/2005/8/layout/orgChart1"/>
    <dgm:cxn modelId="{901DFF1D-B511-4F28-84AF-5082C9C3C9BA}" type="presParOf" srcId="{B7DA7608-5D3F-440C-82E4-A3F31B78419B}" destId="{50001C5C-C128-4948-BC70-FF0176AAE9A9}" srcOrd="1" destOrd="0" presId="urn:microsoft.com/office/officeart/2005/8/layout/orgChart1"/>
    <dgm:cxn modelId="{69ABA581-DABD-40C2-AEE9-B0D3FC0296D5}" type="presParOf" srcId="{B7DA7608-5D3F-440C-82E4-A3F31B78419B}" destId="{63F755D9-6480-47A1-8434-32576CA9B05F}" srcOrd="2" destOrd="0" presId="urn:microsoft.com/office/officeart/2005/8/layout/orgChart1"/>
    <dgm:cxn modelId="{3A5362CD-7E33-45D4-A5E2-63ECCB86334B}" type="presParOf" srcId="{A1367041-6901-46DF-B985-1814D1A265CD}" destId="{72076172-5268-482A-B3CE-050FEEB6D416}" srcOrd="2" destOrd="0" presId="urn:microsoft.com/office/officeart/2005/8/layout/orgChart1"/>
    <dgm:cxn modelId="{93ECF629-8F1E-404B-BA87-72DA063FB01A}" type="presParOf" srcId="{A1367041-6901-46DF-B985-1814D1A265CD}" destId="{16262A2A-D9B4-43F4-8AED-7EE869FA649F}" srcOrd="3" destOrd="0" presId="urn:microsoft.com/office/officeart/2005/8/layout/orgChart1"/>
    <dgm:cxn modelId="{0E202400-07F9-430C-9B22-47C9F9059349}" type="presParOf" srcId="{16262A2A-D9B4-43F4-8AED-7EE869FA649F}" destId="{CF063DCA-5814-4CFF-8B06-21795D26E41C}" srcOrd="0" destOrd="0" presId="urn:microsoft.com/office/officeart/2005/8/layout/orgChart1"/>
    <dgm:cxn modelId="{ED066D56-D497-4391-8F64-8D91C133B676}" type="presParOf" srcId="{CF063DCA-5814-4CFF-8B06-21795D26E41C}" destId="{AB2A34E5-A170-4D76-9EC0-E064ECE61FC1}" srcOrd="0" destOrd="0" presId="urn:microsoft.com/office/officeart/2005/8/layout/orgChart1"/>
    <dgm:cxn modelId="{79600072-451B-4668-AB32-F1AD0A396671}" type="presParOf" srcId="{CF063DCA-5814-4CFF-8B06-21795D26E41C}" destId="{72C9D6C6-DA90-4666-9A44-C04C6D8D4C80}" srcOrd="1" destOrd="0" presId="urn:microsoft.com/office/officeart/2005/8/layout/orgChart1"/>
    <dgm:cxn modelId="{04368E80-C12E-4D8D-96D7-1E7AC39E2946}" type="presParOf" srcId="{16262A2A-D9B4-43F4-8AED-7EE869FA649F}" destId="{B37FE4B0-41D7-4B90-B437-1BA506D10A97}" srcOrd="1" destOrd="0" presId="urn:microsoft.com/office/officeart/2005/8/layout/orgChart1"/>
    <dgm:cxn modelId="{997578EC-E953-4060-BBBB-66130BC619D7}" type="presParOf" srcId="{16262A2A-D9B4-43F4-8AED-7EE869FA649F}" destId="{D798B900-467D-44E4-97BB-0401ECF2255A}" srcOrd="2" destOrd="0" presId="urn:microsoft.com/office/officeart/2005/8/layout/orgChart1"/>
    <dgm:cxn modelId="{111A5B42-F7D5-4AEA-9F33-619585D9F56F}" type="presParOf" srcId="{C788D6AB-248F-4AE9-B880-E42D649D947A}" destId="{1A8E364B-1ADD-4432-A506-BEAE81602613}"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BE98D3D-C38C-4E3C-B04F-8DCBA45A2D05}" type="doc">
      <dgm:prSet loTypeId="urn:microsoft.com/office/officeart/2008/layout/VerticalCurvedList" loCatId="list" qsTypeId="urn:microsoft.com/office/officeart/2005/8/quickstyle/simple1" qsCatId="simple" csTypeId="urn:microsoft.com/office/officeart/2005/8/colors/accent2_2" csCatId="accent2" phldr="1"/>
      <dgm:spPr/>
      <dgm:t>
        <a:bodyPr/>
        <a:lstStyle/>
        <a:p>
          <a:endParaRPr lang="tr-TR"/>
        </a:p>
      </dgm:t>
    </dgm:pt>
    <dgm:pt modelId="{DB3005AE-C8B4-402A-AD71-A573CF72EE03}">
      <dgm:prSet phldrT="[Metin]" custT="1">
        <dgm:style>
          <a:lnRef idx="0">
            <a:schemeClr val="accent1"/>
          </a:lnRef>
          <a:fillRef idx="3">
            <a:schemeClr val="accent1"/>
          </a:fillRef>
          <a:effectRef idx="3">
            <a:schemeClr val="accent1"/>
          </a:effectRef>
          <a:fontRef idx="minor">
            <a:schemeClr val="lt1"/>
          </a:fontRef>
        </dgm:style>
      </dgm:prSet>
      <dgm:spPr/>
      <dgm:t>
        <a:bodyPr/>
        <a:lstStyle/>
        <a:p>
          <a:r>
            <a:rPr lang="tr-TR" sz="2400" b="1" cap="none" spc="50" dirty="0" smtClean="0">
              <a:ln w="12700" cmpd="sng">
                <a:prstDash val="solid"/>
              </a:ln>
              <a:effectLst>
                <a:glow rad="53100">
                  <a:schemeClr val="accent6">
                    <a:satMod val="180000"/>
                    <a:alpha val="30000"/>
                  </a:schemeClr>
                </a:glow>
              </a:effectLst>
            </a:rPr>
            <a:t>     İşletme Kredisi</a:t>
          </a:r>
          <a:endParaRPr lang="tr-TR" sz="2400" b="1" cap="none" spc="50" dirty="0">
            <a:ln w="12700" cmpd="sng">
              <a:prstDash val="solid"/>
            </a:ln>
            <a:effectLst>
              <a:glow rad="53100">
                <a:schemeClr val="accent6">
                  <a:satMod val="180000"/>
                  <a:alpha val="30000"/>
                </a:schemeClr>
              </a:glow>
            </a:effectLst>
          </a:endParaRPr>
        </a:p>
      </dgm:t>
    </dgm:pt>
    <dgm:pt modelId="{45DC30F4-8399-4249-B93E-B3CAAE9F52A1}" type="parTrans" cxnId="{35D8E58F-45ED-4236-BFFD-CA2CA485BEA5}">
      <dgm:prSet/>
      <dgm:spPr/>
      <dgm:t>
        <a:bodyPr/>
        <a:lstStyle/>
        <a:p>
          <a:endParaRPr lang="tr-TR" sz="2400" b="1" cap="none" spc="5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endParaRPr>
        </a:p>
      </dgm:t>
    </dgm:pt>
    <dgm:pt modelId="{B48B9F8D-36FC-4B76-8436-F8C18FA93F1E}" type="sibTrans" cxnId="{35D8E58F-45ED-4236-BFFD-CA2CA485BEA5}">
      <dgm:prSet/>
      <dgm:spPr/>
      <dgm:t>
        <a:bodyPr/>
        <a:lstStyle/>
        <a:p>
          <a:endParaRPr lang="tr-TR" sz="2400" b="1" cap="none" spc="5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endParaRPr>
        </a:p>
      </dgm:t>
    </dgm:pt>
    <dgm:pt modelId="{0E561990-E8EA-4276-BF6E-A0BEB53B506A}">
      <dgm:prSet phldrT="[Metin]" custT="1">
        <dgm:style>
          <a:lnRef idx="0">
            <a:schemeClr val="accent1"/>
          </a:lnRef>
          <a:fillRef idx="3">
            <a:schemeClr val="accent1"/>
          </a:fillRef>
          <a:effectRef idx="3">
            <a:schemeClr val="accent1"/>
          </a:effectRef>
          <a:fontRef idx="minor">
            <a:schemeClr val="lt1"/>
          </a:fontRef>
        </dgm:style>
      </dgm:prSet>
      <dgm:spPr/>
      <dgm:t>
        <a:bodyPr/>
        <a:lstStyle/>
        <a:p>
          <a:r>
            <a:rPr lang="tr-TR" sz="2400" b="1" cap="none" spc="50" dirty="0" smtClean="0">
              <a:ln w="12700" cmpd="sng">
                <a:prstDash val="solid"/>
              </a:ln>
              <a:effectLst>
                <a:glow rad="53100">
                  <a:schemeClr val="accent6">
                    <a:satMod val="180000"/>
                    <a:alpha val="30000"/>
                  </a:schemeClr>
                </a:glow>
              </a:effectLst>
            </a:rPr>
            <a:t>     Makine- Teçhizat Kredisi</a:t>
          </a:r>
          <a:endParaRPr lang="tr-TR" sz="2400" b="1" cap="none" spc="50" dirty="0">
            <a:ln w="12700" cmpd="sng">
              <a:prstDash val="solid"/>
            </a:ln>
            <a:effectLst>
              <a:glow rad="53100">
                <a:schemeClr val="accent6">
                  <a:satMod val="180000"/>
                  <a:alpha val="30000"/>
                </a:schemeClr>
              </a:glow>
            </a:effectLst>
          </a:endParaRPr>
        </a:p>
      </dgm:t>
    </dgm:pt>
    <dgm:pt modelId="{FBCA61B6-B04E-4E87-8CC9-E88FAFFB63DA}" type="parTrans" cxnId="{9ADF4BAC-AD66-4BDB-B2E7-40C53B8733BC}">
      <dgm:prSet/>
      <dgm:spPr/>
      <dgm:t>
        <a:bodyPr/>
        <a:lstStyle/>
        <a:p>
          <a:endParaRPr lang="tr-TR" sz="2400" b="1" cap="none" spc="5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endParaRPr>
        </a:p>
      </dgm:t>
    </dgm:pt>
    <dgm:pt modelId="{C4AFCE1F-9220-4ECB-B671-223FDB117393}" type="sibTrans" cxnId="{9ADF4BAC-AD66-4BDB-B2E7-40C53B8733BC}">
      <dgm:prSet/>
      <dgm:spPr/>
      <dgm:t>
        <a:bodyPr/>
        <a:lstStyle/>
        <a:p>
          <a:endParaRPr lang="tr-TR" sz="2400" b="1" cap="none" spc="5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endParaRPr>
        </a:p>
      </dgm:t>
    </dgm:pt>
    <dgm:pt modelId="{0913B245-C574-4982-B12D-9B8EAD405308}">
      <dgm:prSet phldrT="[Metin]" custT="1">
        <dgm:style>
          <a:lnRef idx="0">
            <a:schemeClr val="accent1"/>
          </a:lnRef>
          <a:fillRef idx="3">
            <a:schemeClr val="accent1"/>
          </a:fillRef>
          <a:effectRef idx="3">
            <a:schemeClr val="accent1"/>
          </a:effectRef>
          <a:fontRef idx="minor">
            <a:schemeClr val="lt1"/>
          </a:fontRef>
        </dgm:style>
      </dgm:prSet>
      <dgm:spPr/>
      <dgm:t>
        <a:bodyPr/>
        <a:lstStyle/>
        <a:p>
          <a:r>
            <a:rPr lang="tr-TR" sz="2400" b="1" cap="none" spc="50" dirty="0" smtClean="0">
              <a:ln w="12700" cmpd="sng">
                <a:prstDash val="solid"/>
              </a:ln>
              <a:effectLst>
                <a:glow rad="53100">
                  <a:schemeClr val="accent6">
                    <a:satMod val="180000"/>
                    <a:alpha val="30000"/>
                  </a:schemeClr>
                </a:glow>
              </a:effectLst>
            </a:rPr>
            <a:t>     Acil </a:t>
          </a:r>
          <a:r>
            <a:rPr lang="tr-TR" sz="2400" b="1" cap="none" spc="50" smtClean="0">
              <a:ln w="12700" cmpd="sng">
                <a:prstDash val="solid"/>
              </a:ln>
              <a:effectLst>
                <a:glow rad="53100">
                  <a:schemeClr val="accent6">
                    <a:satMod val="180000"/>
                    <a:alpha val="30000"/>
                  </a:schemeClr>
                </a:glow>
              </a:effectLst>
            </a:rPr>
            <a:t>Destek Kredisi</a:t>
          </a:r>
          <a:endParaRPr lang="tr-TR" sz="2400" b="1" cap="none" spc="50" dirty="0">
            <a:ln w="12700" cmpd="sng">
              <a:prstDash val="solid"/>
            </a:ln>
            <a:effectLst>
              <a:glow rad="53100">
                <a:schemeClr val="accent6">
                  <a:satMod val="180000"/>
                  <a:alpha val="30000"/>
                </a:schemeClr>
              </a:glow>
            </a:effectLst>
          </a:endParaRPr>
        </a:p>
      </dgm:t>
    </dgm:pt>
    <dgm:pt modelId="{AA896559-54C4-48A7-B7A3-CADFB899AB61}" type="sibTrans" cxnId="{120EF094-1398-4D67-B8EC-5BA386DBBF61}">
      <dgm:prSet/>
      <dgm:spPr/>
      <dgm:t>
        <a:bodyPr/>
        <a:lstStyle/>
        <a:p>
          <a:endParaRPr lang="tr-TR" sz="2400" b="1" cap="none" spc="5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endParaRPr>
        </a:p>
      </dgm:t>
    </dgm:pt>
    <dgm:pt modelId="{011F8F4E-16B2-47B8-883C-7E571779A463}" type="parTrans" cxnId="{120EF094-1398-4D67-B8EC-5BA386DBBF61}">
      <dgm:prSet/>
      <dgm:spPr/>
      <dgm:t>
        <a:bodyPr/>
        <a:lstStyle/>
        <a:p>
          <a:endParaRPr lang="tr-TR" sz="2400" b="1" cap="none" spc="5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endParaRPr>
        </a:p>
      </dgm:t>
    </dgm:pt>
    <dgm:pt modelId="{33A29BE2-787C-49DC-8FA7-B43340F867F7}" type="pres">
      <dgm:prSet presAssocID="{CBE98D3D-C38C-4E3C-B04F-8DCBA45A2D05}" presName="Name0" presStyleCnt="0">
        <dgm:presLayoutVars>
          <dgm:chMax val="7"/>
          <dgm:chPref val="7"/>
          <dgm:dir/>
        </dgm:presLayoutVars>
      </dgm:prSet>
      <dgm:spPr/>
      <dgm:t>
        <a:bodyPr/>
        <a:lstStyle/>
        <a:p>
          <a:endParaRPr lang="tr-TR"/>
        </a:p>
      </dgm:t>
    </dgm:pt>
    <dgm:pt modelId="{7ECFF5E4-6911-4932-B2F7-4F2EE37DFC80}" type="pres">
      <dgm:prSet presAssocID="{CBE98D3D-C38C-4E3C-B04F-8DCBA45A2D05}" presName="Name1" presStyleCnt="0"/>
      <dgm:spPr/>
      <dgm:t>
        <a:bodyPr/>
        <a:lstStyle/>
        <a:p>
          <a:endParaRPr lang="tr-TR"/>
        </a:p>
      </dgm:t>
    </dgm:pt>
    <dgm:pt modelId="{7A6E5949-E260-4718-8DB2-52AAD2EA9231}" type="pres">
      <dgm:prSet presAssocID="{CBE98D3D-C38C-4E3C-B04F-8DCBA45A2D05}" presName="cycle" presStyleCnt="0"/>
      <dgm:spPr/>
      <dgm:t>
        <a:bodyPr/>
        <a:lstStyle/>
        <a:p>
          <a:endParaRPr lang="tr-TR"/>
        </a:p>
      </dgm:t>
    </dgm:pt>
    <dgm:pt modelId="{B9B2725B-94AC-4D9A-A94B-A4F4A962CB9C}" type="pres">
      <dgm:prSet presAssocID="{CBE98D3D-C38C-4E3C-B04F-8DCBA45A2D05}" presName="srcNode" presStyleLbl="node1" presStyleIdx="0" presStyleCnt="3"/>
      <dgm:spPr/>
      <dgm:t>
        <a:bodyPr/>
        <a:lstStyle/>
        <a:p>
          <a:endParaRPr lang="tr-TR"/>
        </a:p>
      </dgm:t>
    </dgm:pt>
    <dgm:pt modelId="{4E301C2A-5354-4786-BE53-DA61A6997258}" type="pres">
      <dgm:prSet presAssocID="{CBE98D3D-C38C-4E3C-B04F-8DCBA45A2D05}" presName="conn" presStyleLbl="parChTrans1D2" presStyleIdx="0" presStyleCnt="1"/>
      <dgm:spPr/>
      <dgm:t>
        <a:bodyPr/>
        <a:lstStyle/>
        <a:p>
          <a:endParaRPr lang="tr-TR"/>
        </a:p>
      </dgm:t>
    </dgm:pt>
    <dgm:pt modelId="{855AB399-AA5D-4E98-9AD3-389CEB2E6609}" type="pres">
      <dgm:prSet presAssocID="{CBE98D3D-C38C-4E3C-B04F-8DCBA45A2D05}" presName="extraNode" presStyleLbl="node1" presStyleIdx="0" presStyleCnt="3"/>
      <dgm:spPr/>
      <dgm:t>
        <a:bodyPr/>
        <a:lstStyle/>
        <a:p>
          <a:endParaRPr lang="tr-TR"/>
        </a:p>
      </dgm:t>
    </dgm:pt>
    <dgm:pt modelId="{AFED8137-18A1-4979-82FD-EDF372CFDF76}" type="pres">
      <dgm:prSet presAssocID="{CBE98D3D-C38C-4E3C-B04F-8DCBA45A2D05}" presName="dstNode" presStyleLbl="node1" presStyleIdx="0" presStyleCnt="3"/>
      <dgm:spPr/>
      <dgm:t>
        <a:bodyPr/>
        <a:lstStyle/>
        <a:p>
          <a:endParaRPr lang="tr-TR"/>
        </a:p>
      </dgm:t>
    </dgm:pt>
    <dgm:pt modelId="{FDFB845F-7269-411B-B587-0485C5DE495F}" type="pres">
      <dgm:prSet presAssocID="{DB3005AE-C8B4-402A-AD71-A573CF72EE03}" presName="text_1" presStyleLbl="node1" presStyleIdx="0" presStyleCnt="3">
        <dgm:presLayoutVars>
          <dgm:bulletEnabled val="1"/>
        </dgm:presLayoutVars>
      </dgm:prSet>
      <dgm:spPr/>
      <dgm:t>
        <a:bodyPr/>
        <a:lstStyle/>
        <a:p>
          <a:endParaRPr lang="tr-TR"/>
        </a:p>
      </dgm:t>
    </dgm:pt>
    <dgm:pt modelId="{266C1234-8B3F-4E34-B828-7DDD5CE246CF}" type="pres">
      <dgm:prSet presAssocID="{DB3005AE-C8B4-402A-AD71-A573CF72EE03}" presName="accent_1" presStyleCnt="0"/>
      <dgm:spPr/>
      <dgm:t>
        <a:bodyPr/>
        <a:lstStyle/>
        <a:p>
          <a:endParaRPr lang="tr-TR"/>
        </a:p>
      </dgm:t>
    </dgm:pt>
    <dgm:pt modelId="{86A3F47F-AD4F-4AF4-8B1D-950389CCC72F}" type="pres">
      <dgm:prSet presAssocID="{DB3005AE-C8B4-402A-AD71-A573CF72EE03}" presName="accentRepeatNode" presStyleLbl="solidFgAcc1" presStyleIdx="0" presStyleCnt="3"/>
      <dgm:spPr/>
      <dgm:t>
        <a:bodyPr/>
        <a:lstStyle/>
        <a:p>
          <a:endParaRPr lang="tr-TR"/>
        </a:p>
      </dgm:t>
    </dgm:pt>
    <dgm:pt modelId="{500F4F4C-BF2B-42E5-826E-A7A509353275}" type="pres">
      <dgm:prSet presAssocID="{0E561990-E8EA-4276-BF6E-A0BEB53B506A}" presName="text_2" presStyleLbl="node1" presStyleIdx="1" presStyleCnt="3">
        <dgm:presLayoutVars>
          <dgm:bulletEnabled val="1"/>
        </dgm:presLayoutVars>
      </dgm:prSet>
      <dgm:spPr/>
      <dgm:t>
        <a:bodyPr/>
        <a:lstStyle/>
        <a:p>
          <a:endParaRPr lang="tr-TR"/>
        </a:p>
      </dgm:t>
    </dgm:pt>
    <dgm:pt modelId="{90EBA513-2545-4ACD-8F0F-E440F24F41C4}" type="pres">
      <dgm:prSet presAssocID="{0E561990-E8EA-4276-BF6E-A0BEB53B506A}" presName="accent_2" presStyleCnt="0"/>
      <dgm:spPr/>
      <dgm:t>
        <a:bodyPr/>
        <a:lstStyle/>
        <a:p>
          <a:endParaRPr lang="tr-TR"/>
        </a:p>
      </dgm:t>
    </dgm:pt>
    <dgm:pt modelId="{CE2B6A86-F834-47AD-88E8-8B5CEC57607A}" type="pres">
      <dgm:prSet presAssocID="{0E561990-E8EA-4276-BF6E-A0BEB53B506A}" presName="accentRepeatNode" presStyleLbl="solidFgAcc1" presStyleIdx="1" presStyleCnt="3"/>
      <dgm:spPr/>
      <dgm:t>
        <a:bodyPr/>
        <a:lstStyle/>
        <a:p>
          <a:endParaRPr lang="tr-TR"/>
        </a:p>
      </dgm:t>
    </dgm:pt>
    <dgm:pt modelId="{1BC408CC-7F2A-41BA-9CD5-84B6EF5D1919}" type="pres">
      <dgm:prSet presAssocID="{0913B245-C574-4982-B12D-9B8EAD405308}" presName="text_3" presStyleLbl="node1" presStyleIdx="2" presStyleCnt="3">
        <dgm:presLayoutVars>
          <dgm:bulletEnabled val="1"/>
        </dgm:presLayoutVars>
      </dgm:prSet>
      <dgm:spPr/>
      <dgm:t>
        <a:bodyPr/>
        <a:lstStyle/>
        <a:p>
          <a:endParaRPr lang="tr-TR"/>
        </a:p>
      </dgm:t>
    </dgm:pt>
    <dgm:pt modelId="{39ECE54D-35F8-49B5-AE71-896A362E21F6}" type="pres">
      <dgm:prSet presAssocID="{0913B245-C574-4982-B12D-9B8EAD405308}" presName="accent_3" presStyleCnt="0"/>
      <dgm:spPr/>
      <dgm:t>
        <a:bodyPr/>
        <a:lstStyle/>
        <a:p>
          <a:endParaRPr lang="tr-TR"/>
        </a:p>
      </dgm:t>
    </dgm:pt>
    <dgm:pt modelId="{EED654A5-A827-43F3-AFAA-D91541F18871}" type="pres">
      <dgm:prSet presAssocID="{0913B245-C574-4982-B12D-9B8EAD405308}" presName="accentRepeatNode" presStyleLbl="solidFgAcc1" presStyleIdx="2" presStyleCnt="3"/>
      <dgm:spPr/>
      <dgm:t>
        <a:bodyPr/>
        <a:lstStyle/>
        <a:p>
          <a:endParaRPr lang="tr-TR"/>
        </a:p>
      </dgm:t>
    </dgm:pt>
  </dgm:ptLst>
  <dgm:cxnLst>
    <dgm:cxn modelId="{6AC1B9BC-8203-4302-B924-F75E25653F3C}" type="presOf" srcId="{0E561990-E8EA-4276-BF6E-A0BEB53B506A}" destId="{500F4F4C-BF2B-42E5-826E-A7A509353275}" srcOrd="0" destOrd="0" presId="urn:microsoft.com/office/officeart/2008/layout/VerticalCurvedList"/>
    <dgm:cxn modelId="{45A502A1-D037-47F3-938F-D38810FEA77F}" type="presOf" srcId="{B48B9F8D-36FC-4B76-8436-F8C18FA93F1E}" destId="{4E301C2A-5354-4786-BE53-DA61A6997258}" srcOrd="0" destOrd="0" presId="urn:microsoft.com/office/officeart/2008/layout/VerticalCurvedList"/>
    <dgm:cxn modelId="{120EF094-1398-4D67-B8EC-5BA386DBBF61}" srcId="{CBE98D3D-C38C-4E3C-B04F-8DCBA45A2D05}" destId="{0913B245-C574-4982-B12D-9B8EAD405308}" srcOrd="2" destOrd="0" parTransId="{011F8F4E-16B2-47B8-883C-7E571779A463}" sibTransId="{AA896559-54C4-48A7-B7A3-CADFB899AB61}"/>
    <dgm:cxn modelId="{51A2D3E3-B91C-4783-838A-B678B11F55B5}" type="presOf" srcId="{DB3005AE-C8B4-402A-AD71-A573CF72EE03}" destId="{FDFB845F-7269-411B-B587-0485C5DE495F}" srcOrd="0" destOrd="0" presId="urn:microsoft.com/office/officeart/2008/layout/VerticalCurvedList"/>
    <dgm:cxn modelId="{582DA6E9-24E7-4E0D-B09E-4F6E48A478A8}" type="presOf" srcId="{CBE98D3D-C38C-4E3C-B04F-8DCBA45A2D05}" destId="{33A29BE2-787C-49DC-8FA7-B43340F867F7}" srcOrd="0" destOrd="0" presId="urn:microsoft.com/office/officeart/2008/layout/VerticalCurvedList"/>
    <dgm:cxn modelId="{9ADF4BAC-AD66-4BDB-B2E7-40C53B8733BC}" srcId="{CBE98D3D-C38C-4E3C-B04F-8DCBA45A2D05}" destId="{0E561990-E8EA-4276-BF6E-A0BEB53B506A}" srcOrd="1" destOrd="0" parTransId="{FBCA61B6-B04E-4E87-8CC9-E88FAFFB63DA}" sibTransId="{C4AFCE1F-9220-4ECB-B671-223FDB117393}"/>
    <dgm:cxn modelId="{F020CB2A-027D-40F2-AF71-44C8E3CCBDC6}" type="presOf" srcId="{0913B245-C574-4982-B12D-9B8EAD405308}" destId="{1BC408CC-7F2A-41BA-9CD5-84B6EF5D1919}" srcOrd="0" destOrd="0" presId="urn:microsoft.com/office/officeart/2008/layout/VerticalCurvedList"/>
    <dgm:cxn modelId="{35D8E58F-45ED-4236-BFFD-CA2CA485BEA5}" srcId="{CBE98D3D-C38C-4E3C-B04F-8DCBA45A2D05}" destId="{DB3005AE-C8B4-402A-AD71-A573CF72EE03}" srcOrd="0" destOrd="0" parTransId="{45DC30F4-8399-4249-B93E-B3CAAE9F52A1}" sibTransId="{B48B9F8D-36FC-4B76-8436-F8C18FA93F1E}"/>
    <dgm:cxn modelId="{08983E8B-9CFC-43F5-9E15-9ADDAA794835}" type="presParOf" srcId="{33A29BE2-787C-49DC-8FA7-B43340F867F7}" destId="{7ECFF5E4-6911-4932-B2F7-4F2EE37DFC80}" srcOrd="0" destOrd="0" presId="urn:microsoft.com/office/officeart/2008/layout/VerticalCurvedList"/>
    <dgm:cxn modelId="{76D45DF1-C9E4-4D4F-9237-EF5D2118A30D}" type="presParOf" srcId="{7ECFF5E4-6911-4932-B2F7-4F2EE37DFC80}" destId="{7A6E5949-E260-4718-8DB2-52AAD2EA9231}" srcOrd="0" destOrd="0" presId="urn:microsoft.com/office/officeart/2008/layout/VerticalCurvedList"/>
    <dgm:cxn modelId="{60D089B8-9B86-4DD0-B224-AE853E462259}" type="presParOf" srcId="{7A6E5949-E260-4718-8DB2-52AAD2EA9231}" destId="{B9B2725B-94AC-4D9A-A94B-A4F4A962CB9C}" srcOrd="0" destOrd="0" presId="urn:microsoft.com/office/officeart/2008/layout/VerticalCurvedList"/>
    <dgm:cxn modelId="{FD0F5C3A-AC64-4123-9C45-1957A66BED36}" type="presParOf" srcId="{7A6E5949-E260-4718-8DB2-52AAD2EA9231}" destId="{4E301C2A-5354-4786-BE53-DA61A6997258}" srcOrd="1" destOrd="0" presId="urn:microsoft.com/office/officeart/2008/layout/VerticalCurvedList"/>
    <dgm:cxn modelId="{35F6B434-3D5D-4C40-A02A-67366DC26A48}" type="presParOf" srcId="{7A6E5949-E260-4718-8DB2-52AAD2EA9231}" destId="{855AB399-AA5D-4E98-9AD3-389CEB2E6609}" srcOrd="2" destOrd="0" presId="urn:microsoft.com/office/officeart/2008/layout/VerticalCurvedList"/>
    <dgm:cxn modelId="{82BF89DA-FBE8-440F-A2FB-0255D4FD447E}" type="presParOf" srcId="{7A6E5949-E260-4718-8DB2-52AAD2EA9231}" destId="{AFED8137-18A1-4979-82FD-EDF372CFDF76}" srcOrd="3" destOrd="0" presId="urn:microsoft.com/office/officeart/2008/layout/VerticalCurvedList"/>
    <dgm:cxn modelId="{1FAB4604-FCCA-4915-A2E1-C2D25FA7A849}" type="presParOf" srcId="{7ECFF5E4-6911-4932-B2F7-4F2EE37DFC80}" destId="{FDFB845F-7269-411B-B587-0485C5DE495F}" srcOrd="1" destOrd="0" presId="urn:microsoft.com/office/officeart/2008/layout/VerticalCurvedList"/>
    <dgm:cxn modelId="{63113D1E-1F78-496B-ACA0-0251EC52BDE3}" type="presParOf" srcId="{7ECFF5E4-6911-4932-B2F7-4F2EE37DFC80}" destId="{266C1234-8B3F-4E34-B828-7DDD5CE246CF}" srcOrd="2" destOrd="0" presId="urn:microsoft.com/office/officeart/2008/layout/VerticalCurvedList"/>
    <dgm:cxn modelId="{20F21320-AAA7-4767-8271-4A1A3744F5C8}" type="presParOf" srcId="{266C1234-8B3F-4E34-B828-7DDD5CE246CF}" destId="{86A3F47F-AD4F-4AF4-8B1D-950389CCC72F}" srcOrd="0" destOrd="0" presId="urn:microsoft.com/office/officeart/2008/layout/VerticalCurvedList"/>
    <dgm:cxn modelId="{B31D2DFD-588B-471A-9444-4C029D6BC7F3}" type="presParOf" srcId="{7ECFF5E4-6911-4932-B2F7-4F2EE37DFC80}" destId="{500F4F4C-BF2B-42E5-826E-A7A509353275}" srcOrd="3" destOrd="0" presId="urn:microsoft.com/office/officeart/2008/layout/VerticalCurvedList"/>
    <dgm:cxn modelId="{9072F365-ED7A-498A-ABDD-AAF8689DE122}" type="presParOf" srcId="{7ECFF5E4-6911-4932-B2F7-4F2EE37DFC80}" destId="{90EBA513-2545-4ACD-8F0F-E440F24F41C4}" srcOrd="4" destOrd="0" presId="urn:microsoft.com/office/officeart/2008/layout/VerticalCurvedList"/>
    <dgm:cxn modelId="{D396E22E-DDC7-4BA9-ABF1-A62B4363516E}" type="presParOf" srcId="{90EBA513-2545-4ACD-8F0F-E440F24F41C4}" destId="{CE2B6A86-F834-47AD-88E8-8B5CEC57607A}" srcOrd="0" destOrd="0" presId="urn:microsoft.com/office/officeart/2008/layout/VerticalCurvedList"/>
    <dgm:cxn modelId="{651D495E-6B3E-4A73-949A-3DA7807E877B}" type="presParOf" srcId="{7ECFF5E4-6911-4932-B2F7-4F2EE37DFC80}" destId="{1BC408CC-7F2A-41BA-9CD5-84B6EF5D1919}" srcOrd="5" destOrd="0" presId="urn:microsoft.com/office/officeart/2008/layout/VerticalCurvedList"/>
    <dgm:cxn modelId="{E02641ED-7BB1-4FB9-AE2E-8AA92235E539}" type="presParOf" srcId="{7ECFF5E4-6911-4932-B2F7-4F2EE37DFC80}" destId="{39ECE54D-35F8-49B5-AE71-896A362E21F6}" srcOrd="6" destOrd="0" presId="urn:microsoft.com/office/officeart/2008/layout/VerticalCurvedList"/>
    <dgm:cxn modelId="{F3DC2F59-6956-4C6A-B2DD-ECF7AAF7DD53}" type="presParOf" srcId="{39ECE54D-35F8-49B5-AE71-896A362E21F6}" destId="{EED654A5-A827-43F3-AFAA-D91541F1887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C111377-7A9B-4BA1-8F0D-78E61738D854}"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tr-TR"/>
        </a:p>
      </dgm:t>
    </dgm:pt>
    <dgm:pt modelId="{522CA0F4-1403-49C9-B5CA-A29B3703BDFD}">
      <dgm:prSet custT="1">
        <dgm:style>
          <a:lnRef idx="2">
            <a:schemeClr val="accent1"/>
          </a:lnRef>
          <a:fillRef idx="1">
            <a:schemeClr val="lt1"/>
          </a:fillRef>
          <a:effectRef idx="0">
            <a:schemeClr val="accent1"/>
          </a:effectRef>
          <a:fontRef idx="minor">
            <a:schemeClr val="dk1"/>
          </a:fontRef>
        </dgm:style>
      </dgm:prSet>
      <dgm:spPr/>
      <dgm:t>
        <a:bodyPr/>
        <a:lstStyle/>
        <a:p>
          <a:pPr algn="just" rtl="0"/>
          <a:r>
            <a:rPr lang="tr-TR" sz="2400" b="1" u="none" dirty="0" smtClean="0"/>
            <a:t>Teknoloji Odaklı Sanayi Hamlesi Programı kapsamında Türkiye’de orta-yüksek ve yüksek teknoloji seviyeli sektörlerdeki katma değeri yüksek ürünlerin ve bu sektörlerin gelişimi için kritik önemi haiz ürünlerin üretimini artırmaya yönelik</a:t>
          </a:r>
          <a:endParaRPr lang="tr-TR" sz="2000" b="1" u="none" dirty="0">
            <a:solidFill>
              <a:srgbClr val="FFC000"/>
            </a:solidFill>
          </a:endParaRPr>
        </a:p>
      </dgm:t>
    </dgm:pt>
    <dgm:pt modelId="{9511C184-4E09-49F3-99D2-FFB5EC81AC24}" type="parTrans" cxnId="{6C678CB7-32A1-47D6-8D17-2492A6C32163}">
      <dgm:prSet/>
      <dgm:spPr/>
      <dgm:t>
        <a:bodyPr/>
        <a:lstStyle/>
        <a:p>
          <a:pPr algn="just"/>
          <a:endParaRPr lang="tr-TR"/>
        </a:p>
      </dgm:t>
    </dgm:pt>
    <dgm:pt modelId="{F11F1821-4621-4B78-8349-B370D1ED35B3}" type="sibTrans" cxnId="{6C678CB7-32A1-47D6-8D17-2492A6C32163}">
      <dgm:prSet/>
      <dgm:spPr/>
      <dgm:t>
        <a:bodyPr/>
        <a:lstStyle/>
        <a:p>
          <a:pPr algn="just"/>
          <a:endParaRPr lang="tr-TR"/>
        </a:p>
      </dgm:t>
    </dgm:pt>
    <dgm:pt modelId="{74D7606F-B2C4-491B-9212-E1E8267D6188}">
      <dgm:prSet custT="1">
        <dgm:style>
          <a:lnRef idx="2">
            <a:schemeClr val="accent1"/>
          </a:lnRef>
          <a:fillRef idx="1">
            <a:schemeClr val="lt1"/>
          </a:fillRef>
          <a:effectRef idx="0">
            <a:schemeClr val="accent1"/>
          </a:effectRef>
          <a:fontRef idx="minor">
            <a:schemeClr val="dk1"/>
          </a:fontRef>
        </dgm:style>
      </dgm:prSet>
      <dgm:spPr/>
      <dgm:t>
        <a:bodyPr/>
        <a:lstStyle/>
        <a:p>
          <a:pPr algn="l" rtl="0"/>
          <a:r>
            <a:rPr lang="tr-TR" sz="2400" b="1" u="none" dirty="0" smtClean="0"/>
            <a:t>KOBİ’lere ait yatırım projelerinin desteklenmesidir.</a:t>
          </a:r>
          <a:endParaRPr lang="tr-TR" sz="2800" b="1" u="none" dirty="0"/>
        </a:p>
      </dgm:t>
    </dgm:pt>
    <dgm:pt modelId="{78739B65-8A67-4F39-8ED2-F06039C430DE}" type="parTrans" cxnId="{5987CF08-E551-423C-9209-83C841C135FA}">
      <dgm:prSet/>
      <dgm:spPr/>
      <dgm:t>
        <a:bodyPr/>
        <a:lstStyle/>
        <a:p>
          <a:pPr algn="just"/>
          <a:endParaRPr lang="tr-TR"/>
        </a:p>
      </dgm:t>
    </dgm:pt>
    <dgm:pt modelId="{BC7C975F-DDFD-442D-A2EE-238F58FD749B}" type="sibTrans" cxnId="{5987CF08-E551-423C-9209-83C841C135FA}">
      <dgm:prSet/>
      <dgm:spPr/>
      <dgm:t>
        <a:bodyPr/>
        <a:lstStyle/>
        <a:p>
          <a:pPr algn="just"/>
          <a:endParaRPr lang="tr-TR"/>
        </a:p>
      </dgm:t>
    </dgm:pt>
    <dgm:pt modelId="{42B6BF81-0840-4F2E-83AF-FF4EFB2CA4EE}" type="pres">
      <dgm:prSet presAssocID="{5C111377-7A9B-4BA1-8F0D-78E61738D854}" presName="Name0" presStyleCnt="0">
        <dgm:presLayoutVars>
          <dgm:dir/>
          <dgm:resizeHandles val="exact"/>
        </dgm:presLayoutVars>
      </dgm:prSet>
      <dgm:spPr/>
      <dgm:t>
        <a:bodyPr/>
        <a:lstStyle/>
        <a:p>
          <a:endParaRPr lang="tr-TR"/>
        </a:p>
      </dgm:t>
    </dgm:pt>
    <dgm:pt modelId="{9F918478-FCEF-4F06-8BB5-ECDC4C274354}" type="pres">
      <dgm:prSet presAssocID="{522CA0F4-1403-49C9-B5CA-A29B3703BDFD}" presName="node" presStyleLbl="node1" presStyleIdx="0" presStyleCnt="2" custScaleX="270546" custLinFactX="-70979" custLinFactNeighborX="-100000" custLinFactNeighborY="58720">
        <dgm:presLayoutVars>
          <dgm:bulletEnabled val="1"/>
        </dgm:presLayoutVars>
      </dgm:prSet>
      <dgm:spPr/>
      <dgm:t>
        <a:bodyPr/>
        <a:lstStyle/>
        <a:p>
          <a:endParaRPr lang="tr-TR"/>
        </a:p>
      </dgm:t>
    </dgm:pt>
    <dgm:pt modelId="{238E140D-9CF2-4B72-BC89-D2C9FD59427E}" type="pres">
      <dgm:prSet presAssocID="{F11F1821-4621-4B78-8349-B370D1ED35B3}" presName="sibTrans" presStyleLbl="sibTrans2D1" presStyleIdx="0" presStyleCnt="1" custScaleX="176763"/>
      <dgm:spPr/>
      <dgm:t>
        <a:bodyPr/>
        <a:lstStyle/>
        <a:p>
          <a:endParaRPr lang="tr-TR"/>
        </a:p>
      </dgm:t>
    </dgm:pt>
    <dgm:pt modelId="{7F5F4D1F-C1F0-4372-AAE8-16237DC6AAB5}" type="pres">
      <dgm:prSet presAssocID="{F11F1821-4621-4B78-8349-B370D1ED35B3}" presName="connectorText" presStyleLbl="sibTrans2D1" presStyleIdx="0" presStyleCnt="1"/>
      <dgm:spPr/>
      <dgm:t>
        <a:bodyPr/>
        <a:lstStyle/>
        <a:p>
          <a:endParaRPr lang="tr-TR"/>
        </a:p>
      </dgm:t>
    </dgm:pt>
    <dgm:pt modelId="{58771618-7CB8-4D5A-B60D-FC784BBAD5DA}" type="pres">
      <dgm:prSet presAssocID="{74D7606F-B2C4-491B-9212-E1E8267D6188}" presName="node" presStyleLbl="node1" presStyleIdx="1" presStyleCnt="2" custScaleX="115914" custLinFactNeighborX="-12513" custLinFactNeighborY="59018">
        <dgm:presLayoutVars>
          <dgm:bulletEnabled val="1"/>
        </dgm:presLayoutVars>
      </dgm:prSet>
      <dgm:spPr/>
      <dgm:t>
        <a:bodyPr/>
        <a:lstStyle/>
        <a:p>
          <a:endParaRPr lang="tr-TR"/>
        </a:p>
      </dgm:t>
    </dgm:pt>
  </dgm:ptLst>
  <dgm:cxnLst>
    <dgm:cxn modelId="{6C678CB7-32A1-47D6-8D17-2492A6C32163}" srcId="{5C111377-7A9B-4BA1-8F0D-78E61738D854}" destId="{522CA0F4-1403-49C9-B5CA-A29B3703BDFD}" srcOrd="0" destOrd="0" parTransId="{9511C184-4E09-49F3-99D2-FFB5EC81AC24}" sibTransId="{F11F1821-4621-4B78-8349-B370D1ED35B3}"/>
    <dgm:cxn modelId="{31C27920-3BFC-44D6-BC5E-4889C5936198}" type="presOf" srcId="{F11F1821-4621-4B78-8349-B370D1ED35B3}" destId="{238E140D-9CF2-4B72-BC89-D2C9FD59427E}" srcOrd="0" destOrd="0" presId="urn:microsoft.com/office/officeart/2005/8/layout/process1"/>
    <dgm:cxn modelId="{B2A6F0DC-2987-4350-ADB2-A14A8ED53154}" type="presOf" srcId="{522CA0F4-1403-49C9-B5CA-A29B3703BDFD}" destId="{9F918478-FCEF-4F06-8BB5-ECDC4C274354}" srcOrd="0" destOrd="0" presId="urn:microsoft.com/office/officeart/2005/8/layout/process1"/>
    <dgm:cxn modelId="{BC70A303-8FB4-41DD-8B31-D8A562DB0CBF}" type="presOf" srcId="{5C111377-7A9B-4BA1-8F0D-78E61738D854}" destId="{42B6BF81-0840-4F2E-83AF-FF4EFB2CA4EE}" srcOrd="0" destOrd="0" presId="urn:microsoft.com/office/officeart/2005/8/layout/process1"/>
    <dgm:cxn modelId="{496E77B4-2CC6-403A-9A58-C0E6218BB6BB}" type="presOf" srcId="{F11F1821-4621-4B78-8349-B370D1ED35B3}" destId="{7F5F4D1F-C1F0-4372-AAE8-16237DC6AAB5}" srcOrd="1" destOrd="0" presId="urn:microsoft.com/office/officeart/2005/8/layout/process1"/>
    <dgm:cxn modelId="{C923A703-28A0-42C2-9B80-64D48168664A}" type="presOf" srcId="{74D7606F-B2C4-491B-9212-E1E8267D6188}" destId="{58771618-7CB8-4D5A-B60D-FC784BBAD5DA}" srcOrd="0" destOrd="0" presId="urn:microsoft.com/office/officeart/2005/8/layout/process1"/>
    <dgm:cxn modelId="{5987CF08-E551-423C-9209-83C841C135FA}" srcId="{5C111377-7A9B-4BA1-8F0D-78E61738D854}" destId="{74D7606F-B2C4-491B-9212-E1E8267D6188}" srcOrd="1" destOrd="0" parTransId="{78739B65-8A67-4F39-8ED2-F06039C430DE}" sibTransId="{BC7C975F-DDFD-442D-A2EE-238F58FD749B}"/>
    <dgm:cxn modelId="{C69902C3-0E39-4EAB-8A6D-D2F456EB9501}" type="presParOf" srcId="{42B6BF81-0840-4F2E-83AF-FF4EFB2CA4EE}" destId="{9F918478-FCEF-4F06-8BB5-ECDC4C274354}" srcOrd="0" destOrd="0" presId="urn:microsoft.com/office/officeart/2005/8/layout/process1"/>
    <dgm:cxn modelId="{82384D67-155A-4335-92D0-7C612E5780E8}" type="presParOf" srcId="{42B6BF81-0840-4F2E-83AF-FF4EFB2CA4EE}" destId="{238E140D-9CF2-4B72-BC89-D2C9FD59427E}" srcOrd="1" destOrd="0" presId="urn:microsoft.com/office/officeart/2005/8/layout/process1"/>
    <dgm:cxn modelId="{66A7B9C5-E93D-4050-B113-46BDC3387E65}" type="presParOf" srcId="{238E140D-9CF2-4B72-BC89-D2C9FD59427E}" destId="{7F5F4D1F-C1F0-4372-AAE8-16237DC6AAB5}" srcOrd="0" destOrd="0" presId="urn:microsoft.com/office/officeart/2005/8/layout/process1"/>
    <dgm:cxn modelId="{469BFDBD-E132-47E9-B2E1-98F721AA8A75}" type="presParOf" srcId="{42B6BF81-0840-4F2E-83AF-FF4EFB2CA4EE}" destId="{58771618-7CB8-4D5A-B60D-FC784BBAD5DA}"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CBE98D3D-C38C-4E3C-B04F-8DCBA45A2D0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tr-TR"/>
        </a:p>
      </dgm:t>
    </dgm:pt>
    <dgm:pt modelId="{DB3005AE-C8B4-402A-AD71-A573CF72EE03}">
      <dgm:prSet phldrT="[Metin]" custT="1">
        <dgm:style>
          <a:lnRef idx="0">
            <a:schemeClr val="accent1"/>
          </a:lnRef>
          <a:fillRef idx="3">
            <a:schemeClr val="accent1"/>
          </a:fillRef>
          <a:effectRef idx="3">
            <a:schemeClr val="accent1"/>
          </a:effectRef>
          <a:fontRef idx="minor">
            <a:schemeClr val="lt1"/>
          </a:fontRef>
        </dgm:style>
      </dgm:prSet>
      <dgm:spPr/>
      <dgm:t>
        <a:bodyPr/>
        <a:lstStyle/>
        <a:p>
          <a:r>
            <a:rPr lang="tr-TR" sz="2400" b="0" dirty="0" smtClean="0"/>
            <a:t>     Stratejik ve Öncelikli Sektörlerdeki İşletmeler</a:t>
          </a:r>
          <a:endParaRPr lang="tr-TR" sz="2400" b="0" dirty="0"/>
        </a:p>
      </dgm:t>
    </dgm:pt>
    <dgm:pt modelId="{45DC30F4-8399-4249-B93E-B3CAAE9F52A1}" type="parTrans" cxnId="{35D8E58F-45ED-4236-BFFD-CA2CA485BEA5}">
      <dgm:prSet/>
      <dgm:spPr/>
      <dgm:t>
        <a:bodyPr/>
        <a:lstStyle/>
        <a:p>
          <a:endParaRPr lang="tr-TR" sz="2400" b="0"/>
        </a:p>
      </dgm:t>
    </dgm:pt>
    <dgm:pt modelId="{B48B9F8D-36FC-4B76-8436-F8C18FA93F1E}" type="sibTrans" cxnId="{35D8E58F-45ED-4236-BFFD-CA2CA485BEA5}">
      <dgm:prSet/>
      <dgm:spPr/>
      <dgm:t>
        <a:bodyPr/>
        <a:lstStyle/>
        <a:p>
          <a:endParaRPr lang="tr-TR" sz="2400" b="0"/>
        </a:p>
      </dgm:t>
    </dgm:pt>
    <dgm:pt modelId="{0E561990-E8EA-4276-BF6E-A0BEB53B506A}">
      <dgm:prSet phldrT="[Metin]" custT="1">
        <dgm:style>
          <a:lnRef idx="0">
            <a:schemeClr val="accent1"/>
          </a:lnRef>
          <a:fillRef idx="3">
            <a:schemeClr val="accent1"/>
          </a:fillRef>
          <a:effectRef idx="3">
            <a:schemeClr val="accent1"/>
          </a:effectRef>
          <a:fontRef idx="minor">
            <a:schemeClr val="lt1"/>
          </a:fontRef>
        </dgm:style>
      </dgm:prSet>
      <dgm:spPr/>
      <dgm:t>
        <a:bodyPr/>
        <a:lstStyle/>
        <a:p>
          <a:r>
            <a:rPr lang="tr-TR" sz="2400" b="0" dirty="0" smtClean="0"/>
            <a:t>     Girişimci İşletmeler </a:t>
          </a:r>
          <a:endParaRPr lang="tr-TR" sz="2400" b="0" dirty="0"/>
        </a:p>
      </dgm:t>
    </dgm:pt>
    <dgm:pt modelId="{FBCA61B6-B04E-4E87-8CC9-E88FAFFB63DA}" type="parTrans" cxnId="{9ADF4BAC-AD66-4BDB-B2E7-40C53B8733BC}">
      <dgm:prSet/>
      <dgm:spPr/>
      <dgm:t>
        <a:bodyPr/>
        <a:lstStyle/>
        <a:p>
          <a:endParaRPr lang="tr-TR" sz="2400" b="0"/>
        </a:p>
      </dgm:t>
    </dgm:pt>
    <dgm:pt modelId="{C4AFCE1F-9220-4ECB-B671-223FDB117393}" type="sibTrans" cxnId="{9ADF4BAC-AD66-4BDB-B2E7-40C53B8733BC}">
      <dgm:prSet/>
      <dgm:spPr/>
      <dgm:t>
        <a:bodyPr/>
        <a:lstStyle/>
        <a:p>
          <a:endParaRPr lang="tr-TR" sz="2400" b="0"/>
        </a:p>
      </dgm:t>
    </dgm:pt>
    <dgm:pt modelId="{33A29BE2-787C-49DC-8FA7-B43340F867F7}" type="pres">
      <dgm:prSet presAssocID="{CBE98D3D-C38C-4E3C-B04F-8DCBA45A2D05}" presName="Name0" presStyleCnt="0">
        <dgm:presLayoutVars>
          <dgm:chMax val="7"/>
          <dgm:chPref val="7"/>
          <dgm:dir/>
        </dgm:presLayoutVars>
      </dgm:prSet>
      <dgm:spPr/>
      <dgm:t>
        <a:bodyPr/>
        <a:lstStyle/>
        <a:p>
          <a:endParaRPr lang="tr-TR"/>
        </a:p>
      </dgm:t>
    </dgm:pt>
    <dgm:pt modelId="{7ECFF5E4-6911-4932-B2F7-4F2EE37DFC80}" type="pres">
      <dgm:prSet presAssocID="{CBE98D3D-C38C-4E3C-B04F-8DCBA45A2D05}" presName="Name1" presStyleCnt="0"/>
      <dgm:spPr/>
    </dgm:pt>
    <dgm:pt modelId="{7A6E5949-E260-4718-8DB2-52AAD2EA9231}" type="pres">
      <dgm:prSet presAssocID="{CBE98D3D-C38C-4E3C-B04F-8DCBA45A2D05}" presName="cycle" presStyleCnt="0"/>
      <dgm:spPr/>
    </dgm:pt>
    <dgm:pt modelId="{B9B2725B-94AC-4D9A-A94B-A4F4A962CB9C}" type="pres">
      <dgm:prSet presAssocID="{CBE98D3D-C38C-4E3C-B04F-8DCBA45A2D05}" presName="srcNode" presStyleLbl="node1" presStyleIdx="0" presStyleCnt="2"/>
      <dgm:spPr/>
    </dgm:pt>
    <dgm:pt modelId="{4E301C2A-5354-4786-BE53-DA61A6997258}" type="pres">
      <dgm:prSet presAssocID="{CBE98D3D-C38C-4E3C-B04F-8DCBA45A2D05}" presName="conn" presStyleLbl="parChTrans1D2" presStyleIdx="0" presStyleCnt="1"/>
      <dgm:spPr/>
      <dgm:t>
        <a:bodyPr/>
        <a:lstStyle/>
        <a:p>
          <a:endParaRPr lang="tr-TR"/>
        </a:p>
      </dgm:t>
    </dgm:pt>
    <dgm:pt modelId="{855AB399-AA5D-4E98-9AD3-389CEB2E6609}" type="pres">
      <dgm:prSet presAssocID="{CBE98D3D-C38C-4E3C-B04F-8DCBA45A2D05}" presName="extraNode" presStyleLbl="node1" presStyleIdx="0" presStyleCnt="2"/>
      <dgm:spPr/>
    </dgm:pt>
    <dgm:pt modelId="{AFED8137-18A1-4979-82FD-EDF372CFDF76}" type="pres">
      <dgm:prSet presAssocID="{CBE98D3D-C38C-4E3C-B04F-8DCBA45A2D05}" presName="dstNode" presStyleLbl="node1" presStyleIdx="0" presStyleCnt="2"/>
      <dgm:spPr/>
    </dgm:pt>
    <dgm:pt modelId="{FDFB845F-7269-411B-B587-0485C5DE495F}" type="pres">
      <dgm:prSet presAssocID="{DB3005AE-C8B4-402A-AD71-A573CF72EE03}" presName="text_1" presStyleLbl="node1" presStyleIdx="0" presStyleCnt="2" custScaleY="43494">
        <dgm:presLayoutVars>
          <dgm:bulletEnabled val="1"/>
        </dgm:presLayoutVars>
      </dgm:prSet>
      <dgm:spPr/>
      <dgm:t>
        <a:bodyPr/>
        <a:lstStyle/>
        <a:p>
          <a:endParaRPr lang="tr-TR"/>
        </a:p>
      </dgm:t>
    </dgm:pt>
    <dgm:pt modelId="{266C1234-8B3F-4E34-B828-7DDD5CE246CF}" type="pres">
      <dgm:prSet presAssocID="{DB3005AE-C8B4-402A-AD71-A573CF72EE03}" presName="accent_1" presStyleCnt="0"/>
      <dgm:spPr/>
    </dgm:pt>
    <dgm:pt modelId="{86A3F47F-AD4F-4AF4-8B1D-950389CCC72F}" type="pres">
      <dgm:prSet presAssocID="{DB3005AE-C8B4-402A-AD71-A573CF72EE03}" presName="accentRepeatNode" presStyleLbl="solidFgAcc1" presStyleIdx="0" presStyleCnt="2"/>
      <dgm:spPr/>
    </dgm:pt>
    <dgm:pt modelId="{500F4F4C-BF2B-42E5-826E-A7A509353275}" type="pres">
      <dgm:prSet presAssocID="{0E561990-E8EA-4276-BF6E-A0BEB53B506A}" presName="text_2" presStyleLbl="node1" presStyleIdx="1" presStyleCnt="2" custScaleY="47822">
        <dgm:presLayoutVars>
          <dgm:bulletEnabled val="1"/>
        </dgm:presLayoutVars>
      </dgm:prSet>
      <dgm:spPr/>
      <dgm:t>
        <a:bodyPr/>
        <a:lstStyle/>
        <a:p>
          <a:endParaRPr lang="tr-TR"/>
        </a:p>
      </dgm:t>
    </dgm:pt>
    <dgm:pt modelId="{90EBA513-2545-4ACD-8F0F-E440F24F41C4}" type="pres">
      <dgm:prSet presAssocID="{0E561990-E8EA-4276-BF6E-A0BEB53B506A}" presName="accent_2" presStyleCnt="0"/>
      <dgm:spPr/>
    </dgm:pt>
    <dgm:pt modelId="{CE2B6A86-F834-47AD-88E8-8B5CEC57607A}" type="pres">
      <dgm:prSet presAssocID="{0E561990-E8EA-4276-BF6E-A0BEB53B506A}" presName="accentRepeatNode" presStyleLbl="solidFgAcc1" presStyleIdx="1" presStyleCnt="2"/>
      <dgm:spPr/>
    </dgm:pt>
  </dgm:ptLst>
  <dgm:cxnLst>
    <dgm:cxn modelId="{35D8E58F-45ED-4236-BFFD-CA2CA485BEA5}" srcId="{CBE98D3D-C38C-4E3C-B04F-8DCBA45A2D05}" destId="{DB3005AE-C8B4-402A-AD71-A573CF72EE03}" srcOrd="0" destOrd="0" parTransId="{45DC30F4-8399-4249-B93E-B3CAAE9F52A1}" sibTransId="{B48B9F8D-36FC-4B76-8436-F8C18FA93F1E}"/>
    <dgm:cxn modelId="{E1625D69-37A4-4440-9579-DBE782DE5202}" type="presOf" srcId="{B48B9F8D-36FC-4B76-8436-F8C18FA93F1E}" destId="{4E301C2A-5354-4786-BE53-DA61A6997258}" srcOrd="0" destOrd="0" presId="urn:microsoft.com/office/officeart/2008/layout/VerticalCurvedList"/>
    <dgm:cxn modelId="{FDCFF362-6E2D-4138-B914-E721EC60A05E}" type="presOf" srcId="{0E561990-E8EA-4276-BF6E-A0BEB53B506A}" destId="{500F4F4C-BF2B-42E5-826E-A7A509353275}" srcOrd="0" destOrd="0" presId="urn:microsoft.com/office/officeart/2008/layout/VerticalCurvedList"/>
    <dgm:cxn modelId="{9ADF4BAC-AD66-4BDB-B2E7-40C53B8733BC}" srcId="{CBE98D3D-C38C-4E3C-B04F-8DCBA45A2D05}" destId="{0E561990-E8EA-4276-BF6E-A0BEB53B506A}" srcOrd="1" destOrd="0" parTransId="{FBCA61B6-B04E-4E87-8CC9-E88FAFFB63DA}" sibTransId="{C4AFCE1F-9220-4ECB-B671-223FDB117393}"/>
    <dgm:cxn modelId="{4CD8D4BD-D299-4A7D-8E53-19E575AB92DB}" type="presOf" srcId="{CBE98D3D-C38C-4E3C-B04F-8DCBA45A2D05}" destId="{33A29BE2-787C-49DC-8FA7-B43340F867F7}" srcOrd="0" destOrd="0" presId="urn:microsoft.com/office/officeart/2008/layout/VerticalCurvedList"/>
    <dgm:cxn modelId="{397C8157-3153-4F88-A47C-14376F1AF5D2}" type="presOf" srcId="{DB3005AE-C8B4-402A-AD71-A573CF72EE03}" destId="{FDFB845F-7269-411B-B587-0485C5DE495F}" srcOrd="0" destOrd="0" presId="urn:microsoft.com/office/officeart/2008/layout/VerticalCurvedList"/>
    <dgm:cxn modelId="{380F8312-3D2F-4A42-8CED-95EE48F618AD}" type="presParOf" srcId="{33A29BE2-787C-49DC-8FA7-B43340F867F7}" destId="{7ECFF5E4-6911-4932-B2F7-4F2EE37DFC80}" srcOrd="0" destOrd="0" presId="urn:microsoft.com/office/officeart/2008/layout/VerticalCurvedList"/>
    <dgm:cxn modelId="{273129E4-0257-47E3-BAB2-7AEF2CFF7E81}" type="presParOf" srcId="{7ECFF5E4-6911-4932-B2F7-4F2EE37DFC80}" destId="{7A6E5949-E260-4718-8DB2-52AAD2EA9231}" srcOrd="0" destOrd="0" presId="urn:microsoft.com/office/officeart/2008/layout/VerticalCurvedList"/>
    <dgm:cxn modelId="{15FE8CBF-D9C5-46BB-BBCC-3D073E1D0C92}" type="presParOf" srcId="{7A6E5949-E260-4718-8DB2-52AAD2EA9231}" destId="{B9B2725B-94AC-4D9A-A94B-A4F4A962CB9C}" srcOrd="0" destOrd="0" presId="urn:microsoft.com/office/officeart/2008/layout/VerticalCurvedList"/>
    <dgm:cxn modelId="{4FDE026A-7DB6-4138-BD79-84C2D7EA92BA}" type="presParOf" srcId="{7A6E5949-E260-4718-8DB2-52AAD2EA9231}" destId="{4E301C2A-5354-4786-BE53-DA61A6997258}" srcOrd="1" destOrd="0" presId="urn:microsoft.com/office/officeart/2008/layout/VerticalCurvedList"/>
    <dgm:cxn modelId="{AF302560-711C-4460-9B06-3A0F3046AED1}" type="presParOf" srcId="{7A6E5949-E260-4718-8DB2-52AAD2EA9231}" destId="{855AB399-AA5D-4E98-9AD3-389CEB2E6609}" srcOrd="2" destOrd="0" presId="urn:microsoft.com/office/officeart/2008/layout/VerticalCurvedList"/>
    <dgm:cxn modelId="{EF2C7355-EF1E-471E-87A4-EC6D59E2924A}" type="presParOf" srcId="{7A6E5949-E260-4718-8DB2-52AAD2EA9231}" destId="{AFED8137-18A1-4979-82FD-EDF372CFDF76}" srcOrd="3" destOrd="0" presId="urn:microsoft.com/office/officeart/2008/layout/VerticalCurvedList"/>
    <dgm:cxn modelId="{8D72C323-BD80-414B-BD2E-89BA1C6C6A5C}" type="presParOf" srcId="{7ECFF5E4-6911-4932-B2F7-4F2EE37DFC80}" destId="{FDFB845F-7269-411B-B587-0485C5DE495F}" srcOrd="1" destOrd="0" presId="urn:microsoft.com/office/officeart/2008/layout/VerticalCurvedList"/>
    <dgm:cxn modelId="{561DF913-9EB2-482E-A544-85C694192BCD}" type="presParOf" srcId="{7ECFF5E4-6911-4932-B2F7-4F2EE37DFC80}" destId="{266C1234-8B3F-4E34-B828-7DDD5CE246CF}" srcOrd="2" destOrd="0" presId="urn:microsoft.com/office/officeart/2008/layout/VerticalCurvedList"/>
    <dgm:cxn modelId="{BF67095D-5369-42EF-92F8-4F1E478E202F}" type="presParOf" srcId="{266C1234-8B3F-4E34-B828-7DDD5CE246CF}" destId="{86A3F47F-AD4F-4AF4-8B1D-950389CCC72F}" srcOrd="0" destOrd="0" presId="urn:microsoft.com/office/officeart/2008/layout/VerticalCurvedList"/>
    <dgm:cxn modelId="{14EB7A9E-3AA0-4596-A0DA-936BFDE1BBD2}" type="presParOf" srcId="{7ECFF5E4-6911-4932-B2F7-4F2EE37DFC80}" destId="{500F4F4C-BF2B-42E5-826E-A7A509353275}" srcOrd="3" destOrd="0" presId="urn:microsoft.com/office/officeart/2008/layout/VerticalCurvedList"/>
    <dgm:cxn modelId="{FF20D0A7-B032-45F6-9F6D-776E231B3DE1}" type="presParOf" srcId="{7ECFF5E4-6911-4932-B2F7-4F2EE37DFC80}" destId="{90EBA513-2545-4ACD-8F0F-E440F24F41C4}" srcOrd="4" destOrd="0" presId="urn:microsoft.com/office/officeart/2008/layout/VerticalCurvedList"/>
    <dgm:cxn modelId="{E107BECE-BA51-4182-A8B6-26D1D7FA6B8D}" type="presParOf" srcId="{90EBA513-2545-4ACD-8F0F-E440F24F41C4}" destId="{CE2B6A86-F834-47AD-88E8-8B5CEC57607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8D2B730-91FA-46CD-8DAC-7D496E9EF55B}" type="doc">
      <dgm:prSet loTypeId="urn:microsoft.com/office/officeart/2008/layout/VerticalCurvedList" loCatId="list" qsTypeId="urn:microsoft.com/office/officeart/2005/8/quickstyle/simple1" qsCatId="simple" csTypeId="urn:microsoft.com/office/officeart/2005/8/colors/accent1_1" csCatId="accent1" phldr="1"/>
      <dgm:spPr/>
      <dgm:t>
        <a:bodyPr/>
        <a:lstStyle/>
        <a:p>
          <a:endParaRPr lang="tr-TR"/>
        </a:p>
      </dgm:t>
    </dgm:pt>
    <dgm:pt modelId="{A0A882F6-4BEE-4F8F-9668-2DDE5B83FEC3}">
      <dgm:prSet custT="1"/>
      <dgm:spPr/>
      <dgm:t>
        <a:bodyPr/>
        <a:lstStyle/>
        <a:p>
          <a:r>
            <a:rPr lang="tr-TR" sz="2500" b="1" dirty="0" smtClean="0"/>
            <a:t>Bakanlığa ön başvuruda bulunup kesin başvuru yapmaya davet edilerek Portal üzerinden KOSGEB’e yönlendirilen, </a:t>
          </a:r>
          <a:endParaRPr lang="tr-TR" sz="2500" b="1" dirty="0"/>
        </a:p>
      </dgm:t>
    </dgm:pt>
    <dgm:pt modelId="{FCDA1A1D-CDFB-45CA-B3DB-7FE102AB8422}" type="sibTrans" cxnId="{51D67E5C-A844-4371-B796-C26564188312}">
      <dgm:prSet/>
      <dgm:spPr/>
      <dgm:t>
        <a:bodyPr/>
        <a:lstStyle/>
        <a:p>
          <a:endParaRPr lang="tr-TR" sz="2500"/>
        </a:p>
      </dgm:t>
    </dgm:pt>
    <dgm:pt modelId="{DDB48437-C353-4CE3-B950-4E0AE2FFBBBD}" type="parTrans" cxnId="{51D67E5C-A844-4371-B796-C26564188312}">
      <dgm:prSet/>
      <dgm:spPr/>
      <dgm:t>
        <a:bodyPr/>
        <a:lstStyle/>
        <a:p>
          <a:endParaRPr lang="tr-TR" sz="2500"/>
        </a:p>
      </dgm:t>
    </dgm:pt>
    <dgm:pt modelId="{C25DF7FD-0449-4B30-8B4B-B2BA3B97880F}">
      <dgm:prSet custT="1"/>
      <dgm:spPr/>
      <dgm:t>
        <a:bodyPr/>
        <a:lstStyle/>
        <a:p>
          <a:r>
            <a:rPr lang="tr-TR" sz="2500" b="1" dirty="0" smtClean="0"/>
            <a:t>Türkiye’de yerleşik sermaye şirketi statüsünde olan,</a:t>
          </a:r>
          <a:endParaRPr lang="tr-TR" sz="2500" b="1" dirty="0"/>
        </a:p>
      </dgm:t>
    </dgm:pt>
    <dgm:pt modelId="{83B39314-9EF8-470F-A898-7CBC66417B0B}" type="sibTrans" cxnId="{1CE1CC20-622D-4774-B236-D3CB9FF7FD1F}">
      <dgm:prSet/>
      <dgm:spPr/>
      <dgm:t>
        <a:bodyPr/>
        <a:lstStyle/>
        <a:p>
          <a:endParaRPr lang="tr-TR" sz="2500"/>
        </a:p>
      </dgm:t>
    </dgm:pt>
    <dgm:pt modelId="{21773798-99BA-43BE-8775-3D503E5DEBBC}" type="parTrans" cxnId="{1CE1CC20-622D-4774-B236-D3CB9FF7FD1F}">
      <dgm:prSet/>
      <dgm:spPr/>
      <dgm:t>
        <a:bodyPr/>
        <a:lstStyle/>
        <a:p>
          <a:endParaRPr lang="tr-TR" sz="2500"/>
        </a:p>
      </dgm:t>
    </dgm:pt>
    <dgm:pt modelId="{2DCFF71B-4309-493C-A229-B2BB7724E18D}" type="pres">
      <dgm:prSet presAssocID="{28D2B730-91FA-46CD-8DAC-7D496E9EF55B}" presName="Name0" presStyleCnt="0">
        <dgm:presLayoutVars>
          <dgm:chMax val="7"/>
          <dgm:chPref val="7"/>
          <dgm:dir/>
        </dgm:presLayoutVars>
      </dgm:prSet>
      <dgm:spPr/>
      <dgm:t>
        <a:bodyPr/>
        <a:lstStyle/>
        <a:p>
          <a:endParaRPr lang="tr-TR"/>
        </a:p>
      </dgm:t>
    </dgm:pt>
    <dgm:pt modelId="{74AEBF00-FD1F-481B-B1D1-7C37CA780E00}" type="pres">
      <dgm:prSet presAssocID="{28D2B730-91FA-46CD-8DAC-7D496E9EF55B}" presName="Name1" presStyleCnt="0"/>
      <dgm:spPr/>
    </dgm:pt>
    <dgm:pt modelId="{7B626749-A4BC-4C3D-9371-56B6329CD8CC}" type="pres">
      <dgm:prSet presAssocID="{28D2B730-91FA-46CD-8DAC-7D496E9EF55B}" presName="cycle" presStyleCnt="0"/>
      <dgm:spPr/>
    </dgm:pt>
    <dgm:pt modelId="{961EA65B-4EC7-434D-9C47-43FF852901F6}" type="pres">
      <dgm:prSet presAssocID="{28D2B730-91FA-46CD-8DAC-7D496E9EF55B}" presName="srcNode" presStyleLbl="node1" presStyleIdx="0" presStyleCnt="2"/>
      <dgm:spPr/>
    </dgm:pt>
    <dgm:pt modelId="{63AC3FBD-CF9E-41BD-91DB-72403EE4297E}" type="pres">
      <dgm:prSet presAssocID="{28D2B730-91FA-46CD-8DAC-7D496E9EF55B}" presName="conn" presStyleLbl="parChTrans1D2" presStyleIdx="0" presStyleCnt="1"/>
      <dgm:spPr/>
      <dgm:t>
        <a:bodyPr/>
        <a:lstStyle/>
        <a:p>
          <a:endParaRPr lang="tr-TR"/>
        </a:p>
      </dgm:t>
    </dgm:pt>
    <dgm:pt modelId="{47BEFA3E-8CF1-4C2D-9EF5-E14AAD4A7C2F}" type="pres">
      <dgm:prSet presAssocID="{28D2B730-91FA-46CD-8DAC-7D496E9EF55B}" presName="extraNode" presStyleLbl="node1" presStyleIdx="0" presStyleCnt="2"/>
      <dgm:spPr/>
    </dgm:pt>
    <dgm:pt modelId="{0783FB1C-EEC4-49E5-9F13-737E2BDAD5DD}" type="pres">
      <dgm:prSet presAssocID="{28D2B730-91FA-46CD-8DAC-7D496E9EF55B}" presName="dstNode" presStyleLbl="node1" presStyleIdx="0" presStyleCnt="2"/>
      <dgm:spPr/>
    </dgm:pt>
    <dgm:pt modelId="{85E63987-7293-41BE-87CC-35C9432AF470}" type="pres">
      <dgm:prSet presAssocID="{A0A882F6-4BEE-4F8F-9668-2DDE5B83FEC3}" presName="text_1" presStyleLbl="node1" presStyleIdx="0" presStyleCnt="2" custScaleX="99586" custScaleY="80455" custLinFactNeighborY="4224">
        <dgm:presLayoutVars>
          <dgm:bulletEnabled val="1"/>
        </dgm:presLayoutVars>
      </dgm:prSet>
      <dgm:spPr/>
      <dgm:t>
        <a:bodyPr/>
        <a:lstStyle/>
        <a:p>
          <a:endParaRPr lang="tr-TR"/>
        </a:p>
      </dgm:t>
    </dgm:pt>
    <dgm:pt modelId="{EBD19DE2-38AE-4110-979E-1D6ADFE261BA}" type="pres">
      <dgm:prSet presAssocID="{A0A882F6-4BEE-4F8F-9668-2DDE5B83FEC3}" presName="accent_1" presStyleCnt="0"/>
      <dgm:spPr/>
    </dgm:pt>
    <dgm:pt modelId="{0EA6DFC3-57A4-4A06-BD2C-ECBE8E2EEA09}" type="pres">
      <dgm:prSet presAssocID="{A0A882F6-4BEE-4F8F-9668-2DDE5B83FEC3}" presName="accentRepeatNode" presStyleLbl="solidFgAcc1" presStyleIdx="0" presStyleCnt="2" custScaleX="56076" custScaleY="65731" custLinFactNeighborY="3380"/>
      <dgm:spPr/>
      <dgm:t>
        <a:bodyPr/>
        <a:lstStyle/>
        <a:p>
          <a:endParaRPr lang="tr-TR"/>
        </a:p>
      </dgm:t>
    </dgm:pt>
    <dgm:pt modelId="{9186AE06-E7F0-489F-A1D2-910C94DCD904}" type="pres">
      <dgm:prSet presAssocID="{C25DF7FD-0449-4B30-8B4B-B2BA3B97880F}" presName="text_2" presStyleLbl="node1" presStyleIdx="1" presStyleCnt="2" custScaleY="74177" custLinFactNeighborY="-7677">
        <dgm:presLayoutVars>
          <dgm:bulletEnabled val="1"/>
        </dgm:presLayoutVars>
      </dgm:prSet>
      <dgm:spPr/>
      <dgm:t>
        <a:bodyPr/>
        <a:lstStyle/>
        <a:p>
          <a:endParaRPr lang="tr-TR"/>
        </a:p>
      </dgm:t>
    </dgm:pt>
    <dgm:pt modelId="{4786FF0F-5091-4AC0-9964-0454E8C9CFC9}" type="pres">
      <dgm:prSet presAssocID="{C25DF7FD-0449-4B30-8B4B-B2BA3B97880F}" presName="accent_2" presStyleCnt="0"/>
      <dgm:spPr/>
    </dgm:pt>
    <dgm:pt modelId="{8EAF64B9-3E09-4B57-BB23-BF31D37DE8D2}" type="pres">
      <dgm:prSet presAssocID="{C25DF7FD-0449-4B30-8B4B-B2BA3B97880F}" presName="accentRepeatNode" presStyleLbl="solidFgAcc1" presStyleIdx="1" presStyleCnt="2" custScaleX="58059" custScaleY="71128" custLinFactNeighborY="-6760"/>
      <dgm:spPr/>
      <dgm:t>
        <a:bodyPr/>
        <a:lstStyle/>
        <a:p>
          <a:endParaRPr lang="tr-TR"/>
        </a:p>
      </dgm:t>
    </dgm:pt>
  </dgm:ptLst>
  <dgm:cxnLst>
    <dgm:cxn modelId="{51D67E5C-A844-4371-B796-C26564188312}" srcId="{28D2B730-91FA-46CD-8DAC-7D496E9EF55B}" destId="{A0A882F6-4BEE-4F8F-9668-2DDE5B83FEC3}" srcOrd="0" destOrd="0" parTransId="{DDB48437-C353-4CE3-B950-4E0AE2FFBBBD}" sibTransId="{FCDA1A1D-CDFB-45CA-B3DB-7FE102AB8422}"/>
    <dgm:cxn modelId="{6533E8D5-7019-4748-B58E-79EC20556D28}" type="presOf" srcId="{C25DF7FD-0449-4B30-8B4B-B2BA3B97880F}" destId="{9186AE06-E7F0-489F-A1D2-910C94DCD904}" srcOrd="0" destOrd="0" presId="urn:microsoft.com/office/officeart/2008/layout/VerticalCurvedList"/>
    <dgm:cxn modelId="{90A94F81-F38D-450E-9B7F-1EC3913C3B36}" type="presOf" srcId="{FCDA1A1D-CDFB-45CA-B3DB-7FE102AB8422}" destId="{63AC3FBD-CF9E-41BD-91DB-72403EE4297E}" srcOrd="0" destOrd="0" presId="urn:microsoft.com/office/officeart/2008/layout/VerticalCurvedList"/>
    <dgm:cxn modelId="{755DF6FC-BC41-469D-9D14-A32682B4820E}" type="presOf" srcId="{28D2B730-91FA-46CD-8DAC-7D496E9EF55B}" destId="{2DCFF71B-4309-493C-A229-B2BB7724E18D}" srcOrd="0" destOrd="0" presId="urn:microsoft.com/office/officeart/2008/layout/VerticalCurvedList"/>
    <dgm:cxn modelId="{4FEAA051-0ED2-493C-8D3A-46BFF571E852}" type="presOf" srcId="{A0A882F6-4BEE-4F8F-9668-2DDE5B83FEC3}" destId="{85E63987-7293-41BE-87CC-35C9432AF470}" srcOrd="0" destOrd="0" presId="urn:microsoft.com/office/officeart/2008/layout/VerticalCurvedList"/>
    <dgm:cxn modelId="{1CE1CC20-622D-4774-B236-D3CB9FF7FD1F}" srcId="{28D2B730-91FA-46CD-8DAC-7D496E9EF55B}" destId="{C25DF7FD-0449-4B30-8B4B-B2BA3B97880F}" srcOrd="1" destOrd="0" parTransId="{21773798-99BA-43BE-8775-3D503E5DEBBC}" sibTransId="{83B39314-9EF8-470F-A898-7CBC66417B0B}"/>
    <dgm:cxn modelId="{E4F126C2-71C1-45A8-B4B8-358973D8ED02}" type="presParOf" srcId="{2DCFF71B-4309-493C-A229-B2BB7724E18D}" destId="{74AEBF00-FD1F-481B-B1D1-7C37CA780E00}" srcOrd="0" destOrd="0" presId="urn:microsoft.com/office/officeart/2008/layout/VerticalCurvedList"/>
    <dgm:cxn modelId="{8EE10983-0F0B-4746-8DB2-1C0D9ECA473D}" type="presParOf" srcId="{74AEBF00-FD1F-481B-B1D1-7C37CA780E00}" destId="{7B626749-A4BC-4C3D-9371-56B6329CD8CC}" srcOrd="0" destOrd="0" presId="urn:microsoft.com/office/officeart/2008/layout/VerticalCurvedList"/>
    <dgm:cxn modelId="{1238F867-F731-4C53-8367-894BFA3F8C45}" type="presParOf" srcId="{7B626749-A4BC-4C3D-9371-56B6329CD8CC}" destId="{961EA65B-4EC7-434D-9C47-43FF852901F6}" srcOrd="0" destOrd="0" presId="urn:microsoft.com/office/officeart/2008/layout/VerticalCurvedList"/>
    <dgm:cxn modelId="{0F6CF783-4F18-4CE2-81BF-868F268773CA}" type="presParOf" srcId="{7B626749-A4BC-4C3D-9371-56B6329CD8CC}" destId="{63AC3FBD-CF9E-41BD-91DB-72403EE4297E}" srcOrd="1" destOrd="0" presId="urn:microsoft.com/office/officeart/2008/layout/VerticalCurvedList"/>
    <dgm:cxn modelId="{8204B9ED-9CCE-4B90-A3FA-FF8EB77C11CB}" type="presParOf" srcId="{7B626749-A4BC-4C3D-9371-56B6329CD8CC}" destId="{47BEFA3E-8CF1-4C2D-9EF5-E14AAD4A7C2F}" srcOrd="2" destOrd="0" presId="urn:microsoft.com/office/officeart/2008/layout/VerticalCurvedList"/>
    <dgm:cxn modelId="{A6D0C660-B081-4BA5-A6F4-D802FEF7715F}" type="presParOf" srcId="{7B626749-A4BC-4C3D-9371-56B6329CD8CC}" destId="{0783FB1C-EEC4-49E5-9F13-737E2BDAD5DD}" srcOrd="3" destOrd="0" presId="urn:microsoft.com/office/officeart/2008/layout/VerticalCurvedList"/>
    <dgm:cxn modelId="{467CA041-374D-494C-8D9F-4BABE5AC8E5D}" type="presParOf" srcId="{74AEBF00-FD1F-481B-B1D1-7C37CA780E00}" destId="{85E63987-7293-41BE-87CC-35C9432AF470}" srcOrd="1" destOrd="0" presId="urn:microsoft.com/office/officeart/2008/layout/VerticalCurvedList"/>
    <dgm:cxn modelId="{4308D339-64CE-4B3C-8FFA-578126330C06}" type="presParOf" srcId="{74AEBF00-FD1F-481B-B1D1-7C37CA780E00}" destId="{EBD19DE2-38AE-4110-979E-1D6ADFE261BA}" srcOrd="2" destOrd="0" presId="urn:microsoft.com/office/officeart/2008/layout/VerticalCurvedList"/>
    <dgm:cxn modelId="{3A1831C9-0177-4167-BF94-8A98C49CCF13}" type="presParOf" srcId="{EBD19DE2-38AE-4110-979E-1D6ADFE261BA}" destId="{0EA6DFC3-57A4-4A06-BD2C-ECBE8E2EEA09}" srcOrd="0" destOrd="0" presId="urn:microsoft.com/office/officeart/2008/layout/VerticalCurvedList"/>
    <dgm:cxn modelId="{C0BF8A9D-F9BF-45E0-8069-0CA838E14759}" type="presParOf" srcId="{74AEBF00-FD1F-481B-B1D1-7C37CA780E00}" destId="{9186AE06-E7F0-489F-A1D2-910C94DCD904}" srcOrd="3" destOrd="0" presId="urn:microsoft.com/office/officeart/2008/layout/VerticalCurvedList"/>
    <dgm:cxn modelId="{B6A9576A-2A92-4470-BCB3-52F8B3301CD8}" type="presParOf" srcId="{74AEBF00-FD1F-481B-B1D1-7C37CA780E00}" destId="{4786FF0F-5091-4AC0-9964-0454E8C9CFC9}" srcOrd="4" destOrd="0" presId="urn:microsoft.com/office/officeart/2008/layout/VerticalCurvedList"/>
    <dgm:cxn modelId="{8F16162C-E2F6-4A80-AF4B-5817E4F46EE1}" type="presParOf" srcId="{4786FF0F-5091-4AC0-9964-0454E8C9CFC9}" destId="{8EAF64B9-3E09-4B57-BB23-BF31D37DE8D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59F5241-F410-4063-AE56-15E93976D74A}" type="doc">
      <dgm:prSet loTypeId="urn:microsoft.com/office/officeart/2005/8/layout/vList3" loCatId="picture" qsTypeId="urn:microsoft.com/office/officeart/2005/8/quickstyle/simple1" qsCatId="simple" csTypeId="urn:microsoft.com/office/officeart/2005/8/colors/colorful4" csCatId="colorful" phldr="1"/>
      <dgm:spPr/>
    </dgm:pt>
    <dgm:pt modelId="{8010A0B5-385B-4321-8AE4-9E3105456174}">
      <dgm:prSet phldrT="[Metin]" custT="1"/>
      <dgm:spPr>
        <a:solidFill>
          <a:srgbClr val="FFC000"/>
        </a:solidFill>
      </dgm:spPr>
      <dgm:t>
        <a:bodyPr/>
        <a:lstStyle/>
        <a:p>
          <a:r>
            <a:rPr lang="tr-TR" sz="2400" b="1" dirty="0">
              <a:solidFill>
                <a:schemeClr val="bg1"/>
              </a:solidFill>
            </a:rPr>
            <a:t>Ar-Ge/Yenilik Faaliyetleri Sonucu Ortaya Çıkan Ürünlerin</a:t>
          </a:r>
          <a:endParaRPr lang="tr-TR" sz="2400" dirty="0">
            <a:solidFill>
              <a:schemeClr val="bg1"/>
            </a:solidFill>
          </a:endParaRPr>
        </a:p>
      </dgm:t>
    </dgm:pt>
    <dgm:pt modelId="{6364F455-9DB1-43A1-8E52-A70440C5832C}" type="parTrans" cxnId="{A48AF193-B017-4797-B0C8-7A8BE313579B}">
      <dgm:prSet/>
      <dgm:spPr/>
      <dgm:t>
        <a:bodyPr/>
        <a:lstStyle/>
        <a:p>
          <a:endParaRPr lang="tr-TR" sz="2400">
            <a:solidFill>
              <a:schemeClr val="bg1"/>
            </a:solidFill>
          </a:endParaRPr>
        </a:p>
      </dgm:t>
    </dgm:pt>
    <dgm:pt modelId="{182B128E-A084-4F3D-AB95-48C34EBD59C2}" type="sibTrans" cxnId="{A48AF193-B017-4797-B0C8-7A8BE313579B}">
      <dgm:prSet/>
      <dgm:spPr/>
      <dgm:t>
        <a:bodyPr/>
        <a:lstStyle/>
        <a:p>
          <a:endParaRPr lang="tr-TR" sz="2400">
            <a:solidFill>
              <a:schemeClr val="bg1"/>
            </a:solidFill>
          </a:endParaRPr>
        </a:p>
      </dgm:t>
    </dgm:pt>
    <dgm:pt modelId="{7BA915BC-728D-4412-97F8-D31430959CCF}">
      <dgm:prSet custT="1"/>
      <dgm:spPr/>
      <dgm:t>
        <a:bodyPr/>
        <a:lstStyle/>
        <a:p>
          <a:pPr algn="ctr"/>
          <a:r>
            <a:rPr lang="tr-TR" sz="2400" b="1" dirty="0">
              <a:solidFill>
                <a:schemeClr val="bg1"/>
              </a:solidFill>
            </a:rPr>
            <a:t>Orta - Yüksek veya Yüksek Teknoloji Alanında Yer Alan ve Cari İşlemler Hesabına Katkı Sağlayacak Ürünlerin</a:t>
          </a:r>
        </a:p>
      </dgm:t>
    </dgm:pt>
    <dgm:pt modelId="{544D15E6-91AF-42C1-AEDB-043279D18524}" type="parTrans" cxnId="{E7738072-E667-45EE-992D-FC382DA9C0CA}">
      <dgm:prSet/>
      <dgm:spPr/>
      <dgm:t>
        <a:bodyPr/>
        <a:lstStyle/>
        <a:p>
          <a:endParaRPr lang="tr-TR" sz="2400">
            <a:solidFill>
              <a:schemeClr val="bg1"/>
            </a:solidFill>
          </a:endParaRPr>
        </a:p>
      </dgm:t>
    </dgm:pt>
    <dgm:pt modelId="{04E9C9A9-8403-48C6-8B66-CF6868E8FE9B}" type="sibTrans" cxnId="{E7738072-E667-45EE-992D-FC382DA9C0CA}">
      <dgm:prSet/>
      <dgm:spPr/>
      <dgm:t>
        <a:bodyPr/>
        <a:lstStyle/>
        <a:p>
          <a:endParaRPr lang="tr-TR" sz="2400">
            <a:solidFill>
              <a:schemeClr val="bg1"/>
            </a:solidFill>
          </a:endParaRPr>
        </a:p>
      </dgm:t>
    </dgm:pt>
    <dgm:pt modelId="{D0F64E74-58D1-4666-A398-D10ACE25602A}" type="pres">
      <dgm:prSet presAssocID="{F59F5241-F410-4063-AE56-15E93976D74A}" presName="linearFlow" presStyleCnt="0">
        <dgm:presLayoutVars>
          <dgm:dir/>
          <dgm:resizeHandles val="exact"/>
        </dgm:presLayoutVars>
      </dgm:prSet>
      <dgm:spPr/>
    </dgm:pt>
    <dgm:pt modelId="{5FEB5852-1DA3-451E-B89A-79785740CDD9}" type="pres">
      <dgm:prSet presAssocID="{8010A0B5-385B-4321-8AE4-9E3105456174}" presName="composite" presStyleCnt="0"/>
      <dgm:spPr/>
    </dgm:pt>
    <dgm:pt modelId="{07A1539B-01E1-4027-BBF2-D61886B160B3}" type="pres">
      <dgm:prSet presAssocID="{8010A0B5-385B-4321-8AE4-9E3105456174}" presName="imgShp" presStyleLbl="fgImgPlace1" presStyleIdx="0" presStyleCnt="2" custLinFactNeighborX="1200" custLinFactNeighborY="274"/>
      <dgm:spPr>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dgm:spPr>
    </dgm:pt>
    <dgm:pt modelId="{FA65EE03-901D-428F-B61F-E11B15DC4521}" type="pres">
      <dgm:prSet presAssocID="{8010A0B5-385B-4321-8AE4-9E3105456174}" presName="txShp" presStyleLbl="node1" presStyleIdx="0" presStyleCnt="2" custScaleX="112609" custLinFactNeighborX="437">
        <dgm:presLayoutVars>
          <dgm:bulletEnabled val="1"/>
        </dgm:presLayoutVars>
      </dgm:prSet>
      <dgm:spPr/>
      <dgm:t>
        <a:bodyPr/>
        <a:lstStyle/>
        <a:p>
          <a:endParaRPr lang="tr-TR"/>
        </a:p>
      </dgm:t>
    </dgm:pt>
    <dgm:pt modelId="{7445F4CB-E5D1-49E0-B6A1-FBB37774D341}" type="pres">
      <dgm:prSet presAssocID="{182B128E-A084-4F3D-AB95-48C34EBD59C2}" presName="spacing" presStyleCnt="0"/>
      <dgm:spPr/>
    </dgm:pt>
    <dgm:pt modelId="{FA579E8C-2BE7-4511-B6FC-AF85C1FBD7AE}" type="pres">
      <dgm:prSet presAssocID="{7BA915BC-728D-4412-97F8-D31430959CCF}" presName="composite" presStyleCnt="0"/>
      <dgm:spPr/>
    </dgm:pt>
    <dgm:pt modelId="{60714F35-6766-4AD7-B1E7-AA5AFAB9D698}" type="pres">
      <dgm:prSet presAssocID="{7BA915BC-728D-4412-97F8-D31430959CCF}" presName="imgShp" presStyleLbl="fgImgPlace1" presStyleIdx="1" presStyleCnt="2"/>
      <dgm:spPr>
        <a:blipFill>
          <a:blip xmlns:r="http://schemas.openxmlformats.org/officeDocument/2006/relationships" r:embed="rId2">
            <a:extLst>
              <a:ext uri="{28A0092B-C50C-407E-A947-70E740481C1C}">
                <a14:useLocalDpi xmlns:a14="http://schemas.microsoft.com/office/drawing/2010/main" val="0"/>
              </a:ext>
            </a:extLst>
          </a:blip>
          <a:srcRect/>
          <a:stretch>
            <a:fillRect l="-32000" r="-32000"/>
          </a:stretch>
        </a:blipFill>
      </dgm:spPr>
    </dgm:pt>
    <dgm:pt modelId="{10B8BA8E-C81E-4514-809C-620F18C3917B}" type="pres">
      <dgm:prSet presAssocID="{7BA915BC-728D-4412-97F8-D31430959CCF}" presName="txShp" presStyleLbl="node1" presStyleIdx="1" presStyleCnt="2" custScaleX="112161" custLinFactNeighborX="1153" custLinFactNeighborY="41">
        <dgm:presLayoutVars>
          <dgm:bulletEnabled val="1"/>
        </dgm:presLayoutVars>
      </dgm:prSet>
      <dgm:spPr/>
      <dgm:t>
        <a:bodyPr/>
        <a:lstStyle/>
        <a:p>
          <a:endParaRPr lang="tr-TR"/>
        </a:p>
      </dgm:t>
    </dgm:pt>
  </dgm:ptLst>
  <dgm:cxnLst>
    <dgm:cxn modelId="{4D1E5340-6156-4E21-BC7C-E4DCF211EC6D}" type="presOf" srcId="{8010A0B5-385B-4321-8AE4-9E3105456174}" destId="{FA65EE03-901D-428F-B61F-E11B15DC4521}" srcOrd="0" destOrd="0" presId="urn:microsoft.com/office/officeart/2005/8/layout/vList3"/>
    <dgm:cxn modelId="{E7738072-E667-45EE-992D-FC382DA9C0CA}" srcId="{F59F5241-F410-4063-AE56-15E93976D74A}" destId="{7BA915BC-728D-4412-97F8-D31430959CCF}" srcOrd="1" destOrd="0" parTransId="{544D15E6-91AF-42C1-AEDB-043279D18524}" sibTransId="{04E9C9A9-8403-48C6-8B66-CF6868E8FE9B}"/>
    <dgm:cxn modelId="{A48AF193-B017-4797-B0C8-7A8BE313579B}" srcId="{F59F5241-F410-4063-AE56-15E93976D74A}" destId="{8010A0B5-385B-4321-8AE4-9E3105456174}" srcOrd="0" destOrd="0" parTransId="{6364F455-9DB1-43A1-8E52-A70440C5832C}" sibTransId="{182B128E-A084-4F3D-AB95-48C34EBD59C2}"/>
    <dgm:cxn modelId="{4B1C60BD-7EF7-4F7D-93A4-0CE7D5225C73}" type="presOf" srcId="{F59F5241-F410-4063-AE56-15E93976D74A}" destId="{D0F64E74-58D1-4666-A398-D10ACE25602A}" srcOrd="0" destOrd="0" presId="urn:microsoft.com/office/officeart/2005/8/layout/vList3"/>
    <dgm:cxn modelId="{95360969-A751-439E-9825-8C4CBD05D9CE}" type="presOf" srcId="{7BA915BC-728D-4412-97F8-D31430959CCF}" destId="{10B8BA8E-C81E-4514-809C-620F18C3917B}" srcOrd="0" destOrd="0" presId="urn:microsoft.com/office/officeart/2005/8/layout/vList3"/>
    <dgm:cxn modelId="{785EEC1B-90AF-4ACE-A297-0BE726852C61}" type="presParOf" srcId="{D0F64E74-58D1-4666-A398-D10ACE25602A}" destId="{5FEB5852-1DA3-451E-B89A-79785740CDD9}" srcOrd="0" destOrd="0" presId="urn:microsoft.com/office/officeart/2005/8/layout/vList3"/>
    <dgm:cxn modelId="{A1C5BDF9-C5E0-4EB9-8EA1-DE60D627FC0F}" type="presParOf" srcId="{5FEB5852-1DA3-451E-B89A-79785740CDD9}" destId="{07A1539B-01E1-4027-BBF2-D61886B160B3}" srcOrd="0" destOrd="0" presId="urn:microsoft.com/office/officeart/2005/8/layout/vList3"/>
    <dgm:cxn modelId="{ABF62528-FDC3-4CB2-93D3-60628D2BC4EE}" type="presParOf" srcId="{5FEB5852-1DA3-451E-B89A-79785740CDD9}" destId="{FA65EE03-901D-428F-B61F-E11B15DC4521}" srcOrd="1" destOrd="0" presId="urn:microsoft.com/office/officeart/2005/8/layout/vList3"/>
    <dgm:cxn modelId="{49137202-F708-4542-96CD-E4339E9DEB1F}" type="presParOf" srcId="{D0F64E74-58D1-4666-A398-D10ACE25602A}" destId="{7445F4CB-E5D1-49E0-B6A1-FBB37774D341}" srcOrd="1" destOrd="0" presId="urn:microsoft.com/office/officeart/2005/8/layout/vList3"/>
    <dgm:cxn modelId="{7572544B-6DDB-473C-BC68-5AA90487837F}" type="presParOf" srcId="{D0F64E74-58D1-4666-A398-D10ACE25602A}" destId="{FA579E8C-2BE7-4511-B6FC-AF85C1FBD7AE}" srcOrd="2" destOrd="0" presId="urn:microsoft.com/office/officeart/2005/8/layout/vList3"/>
    <dgm:cxn modelId="{5C3A2AF7-D320-4573-BE8E-7D6E2648B8D8}" type="presParOf" srcId="{FA579E8C-2BE7-4511-B6FC-AF85C1FBD7AE}" destId="{60714F35-6766-4AD7-B1E7-AA5AFAB9D698}" srcOrd="0" destOrd="0" presId="urn:microsoft.com/office/officeart/2005/8/layout/vList3"/>
    <dgm:cxn modelId="{405C95BC-39FE-4B84-B204-95FB35AFE468}" type="presParOf" srcId="{FA579E8C-2BE7-4511-B6FC-AF85C1FBD7AE}" destId="{10B8BA8E-C81E-4514-809C-620F18C3917B}"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47D6A97-CB2C-4FCD-B3C2-DACAD82E2B4D}"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tr-TR"/>
        </a:p>
      </dgm:t>
    </dgm:pt>
    <dgm:pt modelId="{A5D988EC-1D9B-454D-AC82-5FAB063771C2}">
      <dgm:prSet phldrT="[Metin]"/>
      <dgm:spPr/>
      <dgm:t>
        <a:bodyPr/>
        <a:lstStyle/>
        <a:p>
          <a:pPr>
            <a:lnSpc>
              <a:spcPct val="100000"/>
            </a:lnSpc>
            <a:spcAft>
              <a:spcPts val="0"/>
            </a:spcAft>
          </a:pPr>
          <a:r>
            <a:rPr lang="tr-TR" b="1" dirty="0">
              <a:solidFill>
                <a:schemeClr val="bg1"/>
              </a:solidFill>
            </a:rPr>
            <a:t>Ar-Ge veya yenilik projesi/faaliyetinin başarı ile tamamlanma tarihinden itibaren </a:t>
          </a:r>
        </a:p>
        <a:p>
          <a:pPr>
            <a:lnSpc>
              <a:spcPct val="100000"/>
            </a:lnSpc>
            <a:spcAft>
              <a:spcPts val="0"/>
            </a:spcAft>
          </a:pPr>
          <a:r>
            <a:rPr lang="tr-TR" b="1" dirty="0">
              <a:solidFill>
                <a:schemeClr val="bg1"/>
              </a:solidFill>
            </a:rPr>
            <a:t>5 (beş) yıl içerisinde</a:t>
          </a:r>
          <a:endParaRPr lang="tr-TR" dirty="0">
            <a:solidFill>
              <a:schemeClr val="bg1"/>
            </a:solidFill>
          </a:endParaRPr>
        </a:p>
      </dgm:t>
    </dgm:pt>
    <dgm:pt modelId="{CDC60353-D4A4-4F45-8B11-2F2A51F7E91A}" type="parTrans" cxnId="{E149ECB6-5550-4094-8BAB-C3156FA090E3}">
      <dgm:prSet/>
      <dgm:spPr/>
      <dgm:t>
        <a:bodyPr/>
        <a:lstStyle/>
        <a:p>
          <a:endParaRPr lang="tr-TR"/>
        </a:p>
      </dgm:t>
    </dgm:pt>
    <dgm:pt modelId="{82602E1D-C8E2-4CD8-9F91-4EA83563657F}" type="sibTrans" cxnId="{E149ECB6-5550-4094-8BAB-C3156FA090E3}">
      <dgm:prSet/>
      <dgm:spPr/>
      <dgm:t>
        <a:bodyPr/>
        <a:lstStyle/>
        <a:p>
          <a:endParaRPr lang="tr-TR"/>
        </a:p>
      </dgm:t>
    </dgm:pt>
    <dgm:pt modelId="{5814E3A5-B779-4C2C-B0FF-6B9728C39E9C}">
      <dgm:prSet phldrT="[Metin]"/>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tr-TR" b="1" i="0" u="none" strike="noStrike" baseline="0" dirty="0">
              <a:solidFill>
                <a:prstClr val="black"/>
              </a:solidFill>
              <a:latin typeface="AvenirNextCondensed-DemiBold"/>
              <a:ea typeface="+mn-ea"/>
              <a:cs typeface="+mn-cs"/>
            </a:rPr>
            <a:t>Kamu Desteği, Vakıflar veya Uluslararası Fonlar Tarafından Desteklenmiş</a:t>
          </a:r>
          <a:endParaRPr lang="tr-TR" dirty="0"/>
        </a:p>
      </dgm:t>
    </dgm:pt>
    <dgm:pt modelId="{5922A8D8-3098-401E-ABAE-4C1FF8860567}" type="parTrans" cxnId="{F5FF6CD8-95F7-4AEF-99DD-26222ECE166A}">
      <dgm:prSet/>
      <dgm:spPr/>
      <dgm:t>
        <a:bodyPr/>
        <a:lstStyle/>
        <a:p>
          <a:endParaRPr lang="tr-TR"/>
        </a:p>
      </dgm:t>
    </dgm:pt>
    <dgm:pt modelId="{3E458288-AF90-4B8A-A712-ABB3B00D5BA3}" type="sibTrans" cxnId="{F5FF6CD8-95F7-4AEF-99DD-26222ECE166A}">
      <dgm:prSet/>
      <dgm:spPr/>
      <dgm:t>
        <a:bodyPr/>
        <a:lstStyle/>
        <a:p>
          <a:endParaRPr lang="tr-TR"/>
        </a:p>
      </dgm:t>
    </dgm:pt>
    <dgm:pt modelId="{47962FAB-03FF-46A2-81EE-1CB71765F8E2}">
      <dgm:prSet phldrT="[Metin]"/>
      <dgm:spPr/>
      <dgm:t>
        <a:bodyPr/>
        <a:lstStyle/>
        <a:p>
          <a:pPr marL="0" marR="0" lvl="1" indent="0" defTabSz="577850" eaLnBrk="1" fontAlgn="auto" latinLnBrk="0" hangingPunct="1">
            <a:lnSpc>
              <a:spcPct val="100000"/>
            </a:lnSpc>
            <a:spcBef>
              <a:spcPct val="0"/>
            </a:spcBef>
            <a:spcAft>
              <a:spcPct val="15000"/>
            </a:spcAft>
            <a:buClrTx/>
            <a:buSzTx/>
            <a:buFont typeface="Arial" panose="020B0604020202020204" pitchFamily="34" charset="0"/>
            <a:buChar char="•"/>
            <a:tabLst/>
            <a:defRPr/>
          </a:pPr>
          <a:r>
            <a:rPr lang="tr-TR" b="1" dirty="0">
              <a:solidFill>
                <a:schemeClr val="tx1"/>
              </a:solidFill>
            </a:rPr>
            <a:t>Yurtiçi Teknoloji Geliştirme Bölgelerinde Geliştirilmiş</a:t>
          </a:r>
          <a:endParaRPr lang="tr-TR" dirty="0"/>
        </a:p>
      </dgm:t>
    </dgm:pt>
    <dgm:pt modelId="{8D184B97-419B-4272-ADDB-E10E79F1DA06}" type="parTrans" cxnId="{E896674F-1386-458D-977F-C02DF4D8997D}">
      <dgm:prSet/>
      <dgm:spPr/>
      <dgm:t>
        <a:bodyPr/>
        <a:lstStyle/>
        <a:p>
          <a:endParaRPr lang="tr-TR"/>
        </a:p>
      </dgm:t>
    </dgm:pt>
    <dgm:pt modelId="{9CC6CBC9-3F3C-4BD5-8652-293A539E9F64}" type="sibTrans" cxnId="{E896674F-1386-458D-977F-C02DF4D8997D}">
      <dgm:prSet/>
      <dgm:spPr/>
      <dgm:t>
        <a:bodyPr/>
        <a:lstStyle/>
        <a:p>
          <a:endParaRPr lang="tr-TR"/>
        </a:p>
      </dgm:t>
    </dgm:pt>
    <dgm:pt modelId="{25628E39-4E20-4A2A-AF1C-421E3967C145}">
      <dgm:prSet/>
      <dgm:spPr/>
      <dgm:t>
        <a:bodyPr/>
        <a:lstStyle/>
        <a:p>
          <a:r>
            <a:rPr lang="tr-TR" b="1" dirty="0"/>
            <a:t>Doktora çalışmasının tamamlanma tarihinden itibaren 5 (beş) yıl içerisinde</a:t>
          </a:r>
        </a:p>
      </dgm:t>
    </dgm:pt>
    <dgm:pt modelId="{0EDE72D4-C658-45A7-8415-88207A5DA068}" type="parTrans" cxnId="{C3120E2A-8F58-4A1C-810F-AE8D3387FFD5}">
      <dgm:prSet/>
      <dgm:spPr/>
      <dgm:t>
        <a:bodyPr/>
        <a:lstStyle/>
        <a:p>
          <a:endParaRPr lang="tr-TR"/>
        </a:p>
      </dgm:t>
    </dgm:pt>
    <dgm:pt modelId="{E6C6CFC3-C58F-4333-B793-453908AE33AE}" type="sibTrans" cxnId="{C3120E2A-8F58-4A1C-810F-AE8D3387FFD5}">
      <dgm:prSet/>
      <dgm:spPr/>
      <dgm:t>
        <a:bodyPr/>
        <a:lstStyle/>
        <a:p>
          <a:endParaRPr lang="tr-TR"/>
        </a:p>
      </dgm:t>
    </dgm:pt>
    <dgm:pt modelId="{68A58995-58E7-47E3-9BE2-24B98AF88DD3}">
      <dgm:prSet custT="1"/>
      <dgm:spPr/>
      <dgm:t>
        <a:bodyPr/>
        <a:lstStyle/>
        <a:p>
          <a:r>
            <a:rPr lang="tr-TR" sz="1400" b="1" dirty="0">
              <a:solidFill>
                <a:schemeClr val="bg1"/>
              </a:solidFill>
            </a:rPr>
            <a:t>Teknolojik Ürün (TÜR) Deneyim Belgesinin geçerlilik süresi içerisinde</a:t>
          </a:r>
          <a:endParaRPr lang="tr-TR" sz="1400" dirty="0">
            <a:solidFill>
              <a:schemeClr val="bg1"/>
            </a:solidFill>
          </a:endParaRPr>
        </a:p>
      </dgm:t>
    </dgm:pt>
    <dgm:pt modelId="{54F3F823-A749-4F36-B934-9A981CCE21E5}" type="parTrans" cxnId="{9CB8255B-4A20-41D5-ADB2-BCB35220617F}">
      <dgm:prSet/>
      <dgm:spPr/>
      <dgm:t>
        <a:bodyPr/>
        <a:lstStyle/>
        <a:p>
          <a:endParaRPr lang="tr-TR"/>
        </a:p>
      </dgm:t>
    </dgm:pt>
    <dgm:pt modelId="{7DB6BC82-F320-409F-BCC5-BEB8C83DBE23}" type="sibTrans" cxnId="{9CB8255B-4A20-41D5-ADB2-BCB35220617F}">
      <dgm:prSet/>
      <dgm:spPr/>
      <dgm:t>
        <a:bodyPr/>
        <a:lstStyle/>
        <a:p>
          <a:endParaRPr lang="tr-TR"/>
        </a:p>
      </dgm:t>
    </dgm:pt>
    <dgm:pt modelId="{C22698E7-DA51-45ED-9932-AD6052C6D240}">
      <dgm:prSet custT="1"/>
      <dgm:spPr>
        <a:solidFill>
          <a:schemeClr val="accent1">
            <a:lumMod val="75000"/>
          </a:schemeClr>
        </a:solidFill>
      </dgm:spPr>
      <dgm:t>
        <a:bodyPr/>
        <a:lstStyle/>
        <a:p>
          <a:r>
            <a:rPr lang="tr-TR" sz="1400" b="1" dirty="0">
              <a:solidFill>
                <a:schemeClr val="bg1"/>
              </a:solidFill>
            </a:rPr>
            <a:t>Patent belgesinin veriliş tarihinden itibaren 5 (beş) yıl içerisinde</a:t>
          </a:r>
          <a:endParaRPr lang="tr-TR" sz="1400" dirty="0">
            <a:solidFill>
              <a:schemeClr val="bg1"/>
            </a:solidFill>
          </a:endParaRPr>
        </a:p>
      </dgm:t>
    </dgm:pt>
    <dgm:pt modelId="{0C533010-4C53-4046-8826-61EF6279DF10}" type="parTrans" cxnId="{FDC13720-7452-4070-87DF-A44777D680E8}">
      <dgm:prSet/>
      <dgm:spPr/>
      <dgm:t>
        <a:bodyPr/>
        <a:lstStyle/>
        <a:p>
          <a:endParaRPr lang="tr-TR"/>
        </a:p>
      </dgm:t>
    </dgm:pt>
    <dgm:pt modelId="{2497864B-7056-49D7-8195-E257D390BBC3}" type="sibTrans" cxnId="{FDC13720-7452-4070-87DF-A44777D680E8}">
      <dgm:prSet/>
      <dgm:spPr/>
      <dgm:t>
        <a:bodyPr/>
        <a:lstStyle/>
        <a:p>
          <a:endParaRPr lang="tr-TR"/>
        </a:p>
      </dgm:t>
    </dgm:pt>
    <dgm:pt modelId="{AD5440CF-E7ED-46BE-934B-E107AAB86608}">
      <dgm:prSet/>
      <dgm:spPr>
        <a:solidFill>
          <a:schemeClr val="accent1">
            <a:lumMod val="20000"/>
            <a:lumOff val="80000"/>
            <a:alpha val="90000"/>
          </a:schemeClr>
        </a:solidFill>
      </dgm:spPr>
      <dgm:t>
        <a:bodyPr/>
        <a:lstStyle/>
        <a:p>
          <a:r>
            <a:rPr lang="tr-TR" b="1" dirty="0"/>
            <a:t>Patent ile Koruma Altına Alınan</a:t>
          </a:r>
        </a:p>
      </dgm:t>
    </dgm:pt>
    <dgm:pt modelId="{BA69A1BF-C4FD-492E-AC33-48CBC8FEE31D}" type="parTrans" cxnId="{DC3351D8-4E29-4316-9D1B-A50F5AC1A056}">
      <dgm:prSet/>
      <dgm:spPr/>
      <dgm:t>
        <a:bodyPr/>
        <a:lstStyle/>
        <a:p>
          <a:endParaRPr lang="tr-TR"/>
        </a:p>
      </dgm:t>
    </dgm:pt>
    <dgm:pt modelId="{F69E8217-0DBE-4A73-B41B-543776419250}" type="sibTrans" cxnId="{DC3351D8-4E29-4316-9D1B-A50F5AC1A056}">
      <dgm:prSet/>
      <dgm:spPr/>
      <dgm:t>
        <a:bodyPr/>
        <a:lstStyle/>
        <a:p>
          <a:endParaRPr lang="tr-TR"/>
        </a:p>
      </dgm:t>
    </dgm:pt>
    <dgm:pt modelId="{5F06A571-60EB-4E09-8F01-CC202DF8AE5F}">
      <dgm:prSet/>
      <dgm:spPr/>
      <dgm:t>
        <a:bodyPr/>
        <a:lstStyle/>
        <a:p>
          <a:r>
            <a:rPr lang="tr-TR" b="1" dirty="0"/>
            <a:t>TÜR Belgesi Olan</a:t>
          </a:r>
        </a:p>
      </dgm:t>
    </dgm:pt>
    <dgm:pt modelId="{B5AFC54A-7037-467D-9344-5E7E2BA63EFD}" type="parTrans" cxnId="{38A957F5-B6C2-41C1-B263-12508071EF43}">
      <dgm:prSet/>
      <dgm:spPr/>
      <dgm:t>
        <a:bodyPr/>
        <a:lstStyle/>
        <a:p>
          <a:endParaRPr lang="tr-TR"/>
        </a:p>
      </dgm:t>
    </dgm:pt>
    <dgm:pt modelId="{A7D63CF9-08CC-40C2-85B9-3D9146D0D212}" type="sibTrans" cxnId="{38A957F5-B6C2-41C1-B263-12508071EF43}">
      <dgm:prSet/>
      <dgm:spPr/>
      <dgm:t>
        <a:bodyPr/>
        <a:lstStyle/>
        <a:p>
          <a:endParaRPr lang="tr-TR"/>
        </a:p>
      </dgm:t>
    </dgm:pt>
    <dgm:pt modelId="{84847AF6-313B-4C1A-9BA9-EF8F8E7B07AB}">
      <dgm:prSet/>
      <dgm:spPr/>
      <dgm:t>
        <a:bodyPr/>
        <a:lstStyle/>
        <a:p>
          <a:r>
            <a:rPr lang="tr-TR" b="1" dirty="0"/>
            <a:t>Doktora Çalışması Neticesinde Ortaya Çıkan </a:t>
          </a:r>
        </a:p>
      </dgm:t>
    </dgm:pt>
    <dgm:pt modelId="{6FE09664-21AB-4ABE-8592-8E46BF0E0FCB}" type="parTrans" cxnId="{A30B10BC-34A8-4773-8B06-E490AF9A61C4}">
      <dgm:prSet/>
      <dgm:spPr/>
      <dgm:t>
        <a:bodyPr/>
        <a:lstStyle/>
        <a:p>
          <a:endParaRPr lang="tr-TR"/>
        </a:p>
      </dgm:t>
    </dgm:pt>
    <dgm:pt modelId="{D27FC40F-77F5-4EBC-BA52-86760F6F182A}" type="sibTrans" cxnId="{A30B10BC-34A8-4773-8B06-E490AF9A61C4}">
      <dgm:prSet/>
      <dgm:spPr/>
      <dgm:t>
        <a:bodyPr/>
        <a:lstStyle/>
        <a:p>
          <a:endParaRPr lang="tr-TR"/>
        </a:p>
      </dgm:t>
    </dgm:pt>
    <dgm:pt modelId="{94B91D48-D61B-4F5F-8B7C-15DF59050AEC}">
      <dgm:prSet phldrT="[Metin]"/>
      <dgm:spPr/>
      <dgm:t>
        <a:bodyPr/>
        <a:lstStyle/>
        <a:p>
          <a:pPr marL="0" marR="0" lvl="1" indent="0" defTabSz="577850" eaLnBrk="1" fontAlgn="auto" latinLnBrk="0" hangingPunct="1">
            <a:lnSpc>
              <a:spcPct val="100000"/>
            </a:lnSpc>
            <a:spcBef>
              <a:spcPct val="0"/>
            </a:spcBef>
            <a:spcAft>
              <a:spcPct val="15000"/>
            </a:spcAft>
            <a:buClrTx/>
            <a:buSzTx/>
            <a:buFont typeface="Arial" panose="020B0604020202020204" pitchFamily="34" charset="0"/>
            <a:buChar char="•"/>
            <a:tabLst/>
            <a:defRPr/>
          </a:pPr>
          <a:r>
            <a:rPr lang="tr-TR" b="1" i="0" u="none" strike="noStrike" baseline="0" dirty="0">
              <a:solidFill>
                <a:schemeClr val="tx1"/>
              </a:solidFill>
              <a:latin typeface="AvenirNextCondensed-DemiBold"/>
            </a:rPr>
            <a:t>Kamu Araştırma Merkezleri / Enstitülerince Geliştirilmiş</a:t>
          </a:r>
          <a:endParaRPr lang="tr-TR" dirty="0"/>
        </a:p>
      </dgm:t>
    </dgm:pt>
    <dgm:pt modelId="{04AF1CC2-4EB8-45C8-B427-C29B1CEA4E3F}" type="parTrans" cxnId="{BF411F53-7820-4FA6-9A32-5016CEBC7FF2}">
      <dgm:prSet/>
      <dgm:spPr/>
      <dgm:t>
        <a:bodyPr/>
        <a:lstStyle/>
        <a:p>
          <a:endParaRPr lang="tr-TR"/>
        </a:p>
      </dgm:t>
    </dgm:pt>
    <dgm:pt modelId="{4AD2D8BB-FF42-4EC4-976B-E6D6B05EE9CE}" type="sibTrans" cxnId="{BF411F53-7820-4FA6-9A32-5016CEBC7FF2}">
      <dgm:prSet/>
      <dgm:spPr/>
      <dgm:t>
        <a:bodyPr/>
        <a:lstStyle/>
        <a:p>
          <a:endParaRPr lang="tr-TR"/>
        </a:p>
      </dgm:t>
    </dgm:pt>
    <dgm:pt modelId="{13DD6D5C-F132-4C28-977F-5D324092F064}">
      <dgm:prSet phldrT="[Metin]"/>
      <dgm:spPr/>
      <dgm:t>
        <a:bodyPr/>
        <a:lstStyle/>
        <a:p>
          <a:pPr marL="0" marR="0" lvl="1" indent="0" defTabSz="577850" eaLnBrk="1" fontAlgn="auto" latinLnBrk="0" hangingPunct="1">
            <a:lnSpc>
              <a:spcPct val="100000"/>
            </a:lnSpc>
            <a:spcBef>
              <a:spcPct val="0"/>
            </a:spcBef>
            <a:spcAft>
              <a:spcPct val="15000"/>
            </a:spcAft>
            <a:buClrTx/>
            <a:buSzTx/>
            <a:buFont typeface="Arial" panose="020B0604020202020204" pitchFamily="34" charset="0"/>
            <a:buChar char="•"/>
            <a:tabLst/>
            <a:defRPr/>
          </a:pPr>
          <a:r>
            <a:rPr lang="tr-TR" b="1" i="0" u="none" strike="noStrike" baseline="0" dirty="0">
              <a:solidFill>
                <a:prstClr val="black"/>
              </a:solidFill>
              <a:latin typeface="AvenirNextCondensed-DemiBold"/>
              <a:ea typeface="+mn-ea"/>
              <a:cs typeface="+mn-cs"/>
            </a:rPr>
            <a:t> 5746 Sayılı Kanun Kapsamında Kurulan Ar-Ge Merkezlerinde Geliştirilmiş</a:t>
          </a:r>
          <a:endParaRPr lang="tr-TR" dirty="0"/>
        </a:p>
      </dgm:t>
    </dgm:pt>
    <dgm:pt modelId="{8B945F6E-9862-415D-A913-3C5FF0CD578E}" type="parTrans" cxnId="{FA6519E9-F9F2-4E92-B6E9-E428D45F2B38}">
      <dgm:prSet/>
      <dgm:spPr/>
      <dgm:t>
        <a:bodyPr/>
        <a:lstStyle/>
        <a:p>
          <a:endParaRPr lang="tr-TR"/>
        </a:p>
      </dgm:t>
    </dgm:pt>
    <dgm:pt modelId="{6AE48CBF-52C3-48A1-BA20-91265DA8BB07}" type="sibTrans" cxnId="{FA6519E9-F9F2-4E92-B6E9-E428D45F2B38}">
      <dgm:prSet/>
      <dgm:spPr/>
      <dgm:t>
        <a:bodyPr/>
        <a:lstStyle/>
        <a:p>
          <a:endParaRPr lang="tr-TR"/>
        </a:p>
      </dgm:t>
    </dgm:pt>
    <dgm:pt modelId="{18C4BFE7-4CEB-4590-8CC9-20D69F436A8E}" type="pres">
      <dgm:prSet presAssocID="{847D6A97-CB2C-4FCD-B3C2-DACAD82E2B4D}" presName="Name0" presStyleCnt="0">
        <dgm:presLayoutVars>
          <dgm:dir/>
          <dgm:animLvl val="lvl"/>
          <dgm:resizeHandles val="exact"/>
        </dgm:presLayoutVars>
      </dgm:prSet>
      <dgm:spPr/>
      <dgm:t>
        <a:bodyPr/>
        <a:lstStyle/>
        <a:p>
          <a:endParaRPr lang="tr-TR"/>
        </a:p>
      </dgm:t>
    </dgm:pt>
    <dgm:pt modelId="{D3EDFD1B-ECA0-414A-B928-4D4261EFB98B}" type="pres">
      <dgm:prSet presAssocID="{A5D988EC-1D9B-454D-AC82-5FAB063771C2}" presName="composite" presStyleCnt="0"/>
      <dgm:spPr/>
    </dgm:pt>
    <dgm:pt modelId="{46FC9341-7765-4FEF-B5BF-226C6C299425}" type="pres">
      <dgm:prSet presAssocID="{A5D988EC-1D9B-454D-AC82-5FAB063771C2}" presName="parTx" presStyleLbl="alignNode1" presStyleIdx="0" presStyleCnt="4">
        <dgm:presLayoutVars>
          <dgm:chMax val="0"/>
          <dgm:chPref val="0"/>
          <dgm:bulletEnabled val="1"/>
        </dgm:presLayoutVars>
      </dgm:prSet>
      <dgm:spPr/>
      <dgm:t>
        <a:bodyPr/>
        <a:lstStyle/>
        <a:p>
          <a:endParaRPr lang="tr-TR"/>
        </a:p>
      </dgm:t>
    </dgm:pt>
    <dgm:pt modelId="{CD133894-224C-4429-BA5C-5F2C31EE5BD7}" type="pres">
      <dgm:prSet presAssocID="{A5D988EC-1D9B-454D-AC82-5FAB063771C2}" presName="desTx" presStyleLbl="alignAccFollowNode1" presStyleIdx="0" presStyleCnt="4">
        <dgm:presLayoutVars>
          <dgm:bulletEnabled val="1"/>
        </dgm:presLayoutVars>
      </dgm:prSet>
      <dgm:spPr/>
      <dgm:t>
        <a:bodyPr/>
        <a:lstStyle/>
        <a:p>
          <a:endParaRPr lang="tr-TR"/>
        </a:p>
      </dgm:t>
    </dgm:pt>
    <dgm:pt modelId="{D0219E97-2399-4372-AA83-ADCCF871995E}" type="pres">
      <dgm:prSet presAssocID="{82602E1D-C8E2-4CD8-9F91-4EA83563657F}" presName="space" presStyleCnt="0"/>
      <dgm:spPr/>
    </dgm:pt>
    <dgm:pt modelId="{31C3722D-02BE-4257-8E6B-619D71ADDBB0}" type="pres">
      <dgm:prSet presAssocID="{C22698E7-DA51-45ED-9932-AD6052C6D240}" presName="composite" presStyleCnt="0"/>
      <dgm:spPr/>
    </dgm:pt>
    <dgm:pt modelId="{7CDD84E0-B5B2-4FC5-BCB0-7FF2B0E19AFD}" type="pres">
      <dgm:prSet presAssocID="{C22698E7-DA51-45ED-9932-AD6052C6D240}" presName="parTx" presStyleLbl="alignNode1" presStyleIdx="1" presStyleCnt="4">
        <dgm:presLayoutVars>
          <dgm:chMax val="0"/>
          <dgm:chPref val="0"/>
          <dgm:bulletEnabled val="1"/>
        </dgm:presLayoutVars>
      </dgm:prSet>
      <dgm:spPr/>
      <dgm:t>
        <a:bodyPr/>
        <a:lstStyle/>
        <a:p>
          <a:endParaRPr lang="tr-TR"/>
        </a:p>
      </dgm:t>
    </dgm:pt>
    <dgm:pt modelId="{43727285-98C4-480D-895E-78D57D084E17}" type="pres">
      <dgm:prSet presAssocID="{C22698E7-DA51-45ED-9932-AD6052C6D240}" presName="desTx" presStyleLbl="alignAccFollowNode1" presStyleIdx="1" presStyleCnt="4" custLinFactNeighborY="-467">
        <dgm:presLayoutVars>
          <dgm:bulletEnabled val="1"/>
        </dgm:presLayoutVars>
      </dgm:prSet>
      <dgm:spPr/>
      <dgm:t>
        <a:bodyPr/>
        <a:lstStyle/>
        <a:p>
          <a:endParaRPr lang="tr-TR"/>
        </a:p>
      </dgm:t>
    </dgm:pt>
    <dgm:pt modelId="{C196B681-F55C-45E3-AF44-AAA689CE687B}" type="pres">
      <dgm:prSet presAssocID="{2497864B-7056-49D7-8195-E257D390BBC3}" presName="space" presStyleCnt="0"/>
      <dgm:spPr/>
    </dgm:pt>
    <dgm:pt modelId="{77403C7A-6F4D-4E56-BA1D-BAD2FB9D9FBE}" type="pres">
      <dgm:prSet presAssocID="{68A58995-58E7-47E3-9BE2-24B98AF88DD3}" presName="composite" presStyleCnt="0"/>
      <dgm:spPr/>
    </dgm:pt>
    <dgm:pt modelId="{DE2ADB72-5AF9-468A-8EAA-ECDE722D1D32}" type="pres">
      <dgm:prSet presAssocID="{68A58995-58E7-47E3-9BE2-24B98AF88DD3}" presName="parTx" presStyleLbl="alignNode1" presStyleIdx="2" presStyleCnt="4" custLinFactNeighborY="-3216">
        <dgm:presLayoutVars>
          <dgm:chMax val="0"/>
          <dgm:chPref val="0"/>
          <dgm:bulletEnabled val="1"/>
        </dgm:presLayoutVars>
      </dgm:prSet>
      <dgm:spPr/>
      <dgm:t>
        <a:bodyPr/>
        <a:lstStyle/>
        <a:p>
          <a:endParaRPr lang="tr-TR"/>
        </a:p>
      </dgm:t>
    </dgm:pt>
    <dgm:pt modelId="{9AD10354-AC39-49D7-9580-3243D60B710D}" type="pres">
      <dgm:prSet presAssocID="{68A58995-58E7-47E3-9BE2-24B98AF88DD3}" presName="desTx" presStyleLbl="alignAccFollowNode1" presStyleIdx="2" presStyleCnt="4" custLinFactNeighborX="377" custLinFactNeighborY="18375">
        <dgm:presLayoutVars>
          <dgm:bulletEnabled val="1"/>
        </dgm:presLayoutVars>
      </dgm:prSet>
      <dgm:spPr/>
      <dgm:t>
        <a:bodyPr/>
        <a:lstStyle/>
        <a:p>
          <a:endParaRPr lang="tr-TR"/>
        </a:p>
      </dgm:t>
    </dgm:pt>
    <dgm:pt modelId="{52E417A0-86F2-4D4F-94FE-5EFA873A7F61}" type="pres">
      <dgm:prSet presAssocID="{7DB6BC82-F320-409F-BCC5-BEB8C83DBE23}" presName="space" presStyleCnt="0"/>
      <dgm:spPr/>
    </dgm:pt>
    <dgm:pt modelId="{FA0CE096-76F6-460A-B96C-7ADABC7C1850}" type="pres">
      <dgm:prSet presAssocID="{25628E39-4E20-4A2A-AF1C-421E3967C145}" presName="composite" presStyleCnt="0"/>
      <dgm:spPr/>
    </dgm:pt>
    <dgm:pt modelId="{B99BCFCE-AD87-41F3-B6B3-C7FCB879CC70}" type="pres">
      <dgm:prSet presAssocID="{25628E39-4E20-4A2A-AF1C-421E3967C145}" presName="parTx" presStyleLbl="alignNode1" presStyleIdx="3" presStyleCnt="4">
        <dgm:presLayoutVars>
          <dgm:chMax val="0"/>
          <dgm:chPref val="0"/>
          <dgm:bulletEnabled val="1"/>
        </dgm:presLayoutVars>
      </dgm:prSet>
      <dgm:spPr/>
      <dgm:t>
        <a:bodyPr/>
        <a:lstStyle/>
        <a:p>
          <a:endParaRPr lang="tr-TR"/>
        </a:p>
      </dgm:t>
    </dgm:pt>
    <dgm:pt modelId="{5293C51D-684B-42CF-A1C7-C5700367A027}" type="pres">
      <dgm:prSet presAssocID="{25628E39-4E20-4A2A-AF1C-421E3967C145}" presName="desTx" presStyleLbl="alignAccFollowNode1" presStyleIdx="3" presStyleCnt="4">
        <dgm:presLayoutVars>
          <dgm:bulletEnabled val="1"/>
        </dgm:presLayoutVars>
      </dgm:prSet>
      <dgm:spPr/>
      <dgm:t>
        <a:bodyPr/>
        <a:lstStyle/>
        <a:p>
          <a:endParaRPr lang="tr-TR"/>
        </a:p>
      </dgm:t>
    </dgm:pt>
  </dgm:ptLst>
  <dgm:cxnLst>
    <dgm:cxn modelId="{BF411F53-7820-4FA6-9A32-5016CEBC7FF2}" srcId="{A5D988EC-1D9B-454D-AC82-5FAB063771C2}" destId="{94B91D48-D61B-4F5F-8B7C-15DF59050AEC}" srcOrd="2" destOrd="0" parTransId="{04AF1CC2-4EB8-45C8-B427-C29B1CEA4E3F}" sibTransId="{4AD2D8BB-FF42-4EC4-976B-E6D6B05EE9CE}"/>
    <dgm:cxn modelId="{DC3351D8-4E29-4316-9D1B-A50F5AC1A056}" srcId="{C22698E7-DA51-45ED-9932-AD6052C6D240}" destId="{AD5440CF-E7ED-46BE-934B-E107AAB86608}" srcOrd="0" destOrd="0" parTransId="{BA69A1BF-C4FD-492E-AC33-48CBC8FEE31D}" sibTransId="{F69E8217-0DBE-4A73-B41B-543776419250}"/>
    <dgm:cxn modelId="{FDC13720-7452-4070-87DF-A44777D680E8}" srcId="{847D6A97-CB2C-4FCD-B3C2-DACAD82E2B4D}" destId="{C22698E7-DA51-45ED-9932-AD6052C6D240}" srcOrd="1" destOrd="0" parTransId="{0C533010-4C53-4046-8826-61EF6279DF10}" sibTransId="{2497864B-7056-49D7-8195-E257D390BBC3}"/>
    <dgm:cxn modelId="{CF857E2E-FBE6-42F6-A660-33C4EE6157A7}" type="presOf" srcId="{AD5440CF-E7ED-46BE-934B-E107AAB86608}" destId="{43727285-98C4-480D-895E-78D57D084E17}" srcOrd="0" destOrd="0" presId="urn:microsoft.com/office/officeart/2005/8/layout/hList1"/>
    <dgm:cxn modelId="{55C0EB80-A905-4E3F-9455-3BD1465AA0A9}" type="presOf" srcId="{68A58995-58E7-47E3-9BE2-24B98AF88DD3}" destId="{DE2ADB72-5AF9-468A-8EAA-ECDE722D1D32}" srcOrd="0" destOrd="0" presId="urn:microsoft.com/office/officeart/2005/8/layout/hList1"/>
    <dgm:cxn modelId="{FA6519E9-F9F2-4E92-B6E9-E428D45F2B38}" srcId="{A5D988EC-1D9B-454D-AC82-5FAB063771C2}" destId="{13DD6D5C-F132-4C28-977F-5D324092F064}" srcOrd="3" destOrd="0" parTransId="{8B945F6E-9862-415D-A913-3C5FF0CD578E}" sibTransId="{6AE48CBF-52C3-48A1-BA20-91265DA8BB07}"/>
    <dgm:cxn modelId="{02A189D3-0488-4E5E-827B-EA8CC874589F}" type="presOf" srcId="{A5D988EC-1D9B-454D-AC82-5FAB063771C2}" destId="{46FC9341-7765-4FEF-B5BF-226C6C299425}" srcOrd="0" destOrd="0" presId="urn:microsoft.com/office/officeart/2005/8/layout/hList1"/>
    <dgm:cxn modelId="{F5FF6CD8-95F7-4AEF-99DD-26222ECE166A}" srcId="{A5D988EC-1D9B-454D-AC82-5FAB063771C2}" destId="{5814E3A5-B779-4C2C-B0FF-6B9728C39E9C}" srcOrd="0" destOrd="0" parTransId="{5922A8D8-3098-401E-ABAE-4C1FF8860567}" sibTransId="{3E458288-AF90-4B8A-A712-ABB3B00D5BA3}"/>
    <dgm:cxn modelId="{E149ECB6-5550-4094-8BAB-C3156FA090E3}" srcId="{847D6A97-CB2C-4FCD-B3C2-DACAD82E2B4D}" destId="{A5D988EC-1D9B-454D-AC82-5FAB063771C2}" srcOrd="0" destOrd="0" parTransId="{CDC60353-D4A4-4F45-8B11-2F2A51F7E91A}" sibTransId="{82602E1D-C8E2-4CD8-9F91-4EA83563657F}"/>
    <dgm:cxn modelId="{6F5C1C71-C338-4C77-BCB8-167BD02FFCAF}" type="presOf" srcId="{13DD6D5C-F132-4C28-977F-5D324092F064}" destId="{CD133894-224C-4429-BA5C-5F2C31EE5BD7}" srcOrd="0" destOrd="3" presId="urn:microsoft.com/office/officeart/2005/8/layout/hList1"/>
    <dgm:cxn modelId="{A30B10BC-34A8-4773-8B06-E490AF9A61C4}" srcId="{25628E39-4E20-4A2A-AF1C-421E3967C145}" destId="{84847AF6-313B-4C1A-9BA9-EF8F8E7B07AB}" srcOrd="0" destOrd="0" parTransId="{6FE09664-21AB-4ABE-8592-8E46BF0E0FCB}" sibTransId="{D27FC40F-77F5-4EBC-BA52-86760F6F182A}"/>
    <dgm:cxn modelId="{A8FEFC1F-A9E0-44B0-AE42-1EC31974E042}" type="presOf" srcId="{5814E3A5-B779-4C2C-B0FF-6B9728C39E9C}" destId="{CD133894-224C-4429-BA5C-5F2C31EE5BD7}" srcOrd="0" destOrd="0" presId="urn:microsoft.com/office/officeart/2005/8/layout/hList1"/>
    <dgm:cxn modelId="{07D84378-A12C-4298-9CB9-4E826C9AEACE}" type="presOf" srcId="{25628E39-4E20-4A2A-AF1C-421E3967C145}" destId="{B99BCFCE-AD87-41F3-B6B3-C7FCB879CC70}" srcOrd="0" destOrd="0" presId="urn:microsoft.com/office/officeart/2005/8/layout/hList1"/>
    <dgm:cxn modelId="{9CB8255B-4A20-41D5-ADB2-BCB35220617F}" srcId="{847D6A97-CB2C-4FCD-B3C2-DACAD82E2B4D}" destId="{68A58995-58E7-47E3-9BE2-24B98AF88DD3}" srcOrd="2" destOrd="0" parTransId="{54F3F823-A749-4F36-B934-9A981CCE21E5}" sibTransId="{7DB6BC82-F320-409F-BCC5-BEB8C83DBE23}"/>
    <dgm:cxn modelId="{3529C64C-EFDD-44AF-B7C4-36EBBCBCAEBF}" type="presOf" srcId="{84847AF6-313B-4C1A-9BA9-EF8F8E7B07AB}" destId="{5293C51D-684B-42CF-A1C7-C5700367A027}" srcOrd="0" destOrd="0" presId="urn:microsoft.com/office/officeart/2005/8/layout/hList1"/>
    <dgm:cxn modelId="{80F6C97C-BF3D-4CD8-8B6C-073AD8FB5628}" type="presOf" srcId="{47962FAB-03FF-46A2-81EE-1CB71765F8E2}" destId="{CD133894-224C-4429-BA5C-5F2C31EE5BD7}" srcOrd="0" destOrd="1" presId="urn:microsoft.com/office/officeart/2005/8/layout/hList1"/>
    <dgm:cxn modelId="{6A138BAF-7727-4892-B755-274DDFE9DCD9}" type="presOf" srcId="{5F06A571-60EB-4E09-8F01-CC202DF8AE5F}" destId="{9AD10354-AC39-49D7-9580-3243D60B710D}" srcOrd="0" destOrd="0" presId="urn:microsoft.com/office/officeart/2005/8/layout/hList1"/>
    <dgm:cxn modelId="{C3120E2A-8F58-4A1C-810F-AE8D3387FFD5}" srcId="{847D6A97-CB2C-4FCD-B3C2-DACAD82E2B4D}" destId="{25628E39-4E20-4A2A-AF1C-421E3967C145}" srcOrd="3" destOrd="0" parTransId="{0EDE72D4-C658-45A7-8415-88207A5DA068}" sibTransId="{E6C6CFC3-C58F-4333-B793-453908AE33AE}"/>
    <dgm:cxn modelId="{21E47FEF-6708-4DC2-8803-16529497231A}" type="presOf" srcId="{C22698E7-DA51-45ED-9932-AD6052C6D240}" destId="{7CDD84E0-B5B2-4FC5-BCB0-7FF2B0E19AFD}" srcOrd="0" destOrd="0" presId="urn:microsoft.com/office/officeart/2005/8/layout/hList1"/>
    <dgm:cxn modelId="{BA71C8B3-1072-437E-A5FC-8BBEB65202E6}" type="presOf" srcId="{94B91D48-D61B-4F5F-8B7C-15DF59050AEC}" destId="{CD133894-224C-4429-BA5C-5F2C31EE5BD7}" srcOrd="0" destOrd="2" presId="urn:microsoft.com/office/officeart/2005/8/layout/hList1"/>
    <dgm:cxn modelId="{CAFD7B44-866B-42A6-936A-F8BE2038AE1F}" type="presOf" srcId="{847D6A97-CB2C-4FCD-B3C2-DACAD82E2B4D}" destId="{18C4BFE7-4CEB-4590-8CC9-20D69F436A8E}" srcOrd="0" destOrd="0" presId="urn:microsoft.com/office/officeart/2005/8/layout/hList1"/>
    <dgm:cxn modelId="{E896674F-1386-458D-977F-C02DF4D8997D}" srcId="{A5D988EC-1D9B-454D-AC82-5FAB063771C2}" destId="{47962FAB-03FF-46A2-81EE-1CB71765F8E2}" srcOrd="1" destOrd="0" parTransId="{8D184B97-419B-4272-ADDB-E10E79F1DA06}" sibTransId="{9CC6CBC9-3F3C-4BD5-8652-293A539E9F64}"/>
    <dgm:cxn modelId="{38A957F5-B6C2-41C1-B263-12508071EF43}" srcId="{68A58995-58E7-47E3-9BE2-24B98AF88DD3}" destId="{5F06A571-60EB-4E09-8F01-CC202DF8AE5F}" srcOrd="0" destOrd="0" parTransId="{B5AFC54A-7037-467D-9344-5E7E2BA63EFD}" sibTransId="{A7D63CF9-08CC-40C2-85B9-3D9146D0D212}"/>
    <dgm:cxn modelId="{BD3D1B84-4475-405C-8D38-0B14ADD9420B}" type="presParOf" srcId="{18C4BFE7-4CEB-4590-8CC9-20D69F436A8E}" destId="{D3EDFD1B-ECA0-414A-B928-4D4261EFB98B}" srcOrd="0" destOrd="0" presId="urn:microsoft.com/office/officeart/2005/8/layout/hList1"/>
    <dgm:cxn modelId="{A19CF3C6-58D7-48B7-A136-90E0DF2C6441}" type="presParOf" srcId="{D3EDFD1B-ECA0-414A-B928-4D4261EFB98B}" destId="{46FC9341-7765-4FEF-B5BF-226C6C299425}" srcOrd="0" destOrd="0" presId="urn:microsoft.com/office/officeart/2005/8/layout/hList1"/>
    <dgm:cxn modelId="{F7A06B72-594D-4FAB-878C-F9966FE1662E}" type="presParOf" srcId="{D3EDFD1B-ECA0-414A-B928-4D4261EFB98B}" destId="{CD133894-224C-4429-BA5C-5F2C31EE5BD7}" srcOrd="1" destOrd="0" presId="urn:microsoft.com/office/officeart/2005/8/layout/hList1"/>
    <dgm:cxn modelId="{4A20B862-6A84-4BF0-81C8-36CEB4691EAD}" type="presParOf" srcId="{18C4BFE7-4CEB-4590-8CC9-20D69F436A8E}" destId="{D0219E97-2399-4372-AA83-ADCCF871995E}" srcOrd="1" destOrd="0" presId="urn:microsoft.com/office/officeart/2005/8/layout/hList1"/>
    <dgm:cxn modelId="{E4C37CAF-93EA-4B6C-A3C9-497B6B864CAD}" type="presParOf" srcId="{18C4BFE7-4CEB-4590-8CC9-20D69F436A8E}" destId="{31C3722D-02BE-4257-8E6B-619D71ADDBB0}" srcOrd="2" destOrd="0" presId="urn:microsoft.com/office/officeart/2005/8/layout/hList1"/>
    <dgm:cxn modelId="{C8F275D3-77FC-406C-B50A-C993869B31DD}" type="presParOf" srcId="{31C3722D-02BE-4257-8E6B-619D71ADDBB0}" destId="{7CDD84E0-B5B2-4FC5-BCB0-7FF2B0E19AFD}" srcOrd="0" destOrd="0" presId="urn:microsoft.com/office/officeart/2005/8/layout/hList1"/>
    <dgm:cxn modelId="{758AA5CA-BCA6-4E34-9BC1-5CADD35A7CC8}" type="presParOf" srcId="{31C3722D-02BE-4257-8E6B-619D71ADDBB0}" destId="{43727285-98C4-480D-895E-78D57D084E17}" srcOrd="1" destOrd="0" presId="urn:microsoft.com/office/officeart/2005/8/layout/hList1"/>
    <dgm:cxn modelId="{A2B4116D-0873-4CE6-A2BE-2FB6A776CE29}" type="presParOf" srcId="{18C4BFE7-4CEB-4590-8CC9-20D69F436A8E}" destId="{C196B681-F55C-45E3-AF44-AAA689CE687B}" srcOrd="3" destOrd="0" presId="urn:microsoft.com/office/officeart/2005/8/layout/hList1"/>
    <dgm:cxn modelId="{804075D5-9FA3-44F1-9C77-93435EB69C5D}" type="presParOf" srcId="{18C4BFE7-4CEB-4590-8CC9-20D69F436A8E}" destId="{77403C7A-6F4D-4E56-BA1D-BAD2FB9D9FBE}" srcOrd="4" destOrd="0" presId="urn:microsoft.com/office/officeart/2005/8/layout/hList1"/>
    <dgm:cxn modelId="{D0A2BAAD-1398-4BCF-B7A2-E79DD8520BB3}" type="presParOf" srcId="{77403C7A-6F4D-4E56-BA1D-BAD2FB9D9FBE}" destId="{DE2ADB72-5AF9-468A-8EAA-ECDE722D1D32}" srcOrd="0" destOrd="0" presId="urn:microsoft.com/office/officeart/2005/8/layout/hList1"/>
    <dgm:cxn modelId="{CA80950F-044D-442D-99BB-4E468D6166CE}" type="presParOf" srcId="{77403C7A-6F4D-4E56-BA1D-BAD2FB9D9FBE}" destId="{9AD10354-AC39-49D7-9580-3243D60B710D}" srcOrd="1" destOrd="0" presId="urn:microsoft.com/office/officeart/2005/8/layout/hList1"/>
    <dgm:cxn modelId="{03B5A422-AC7E-44D7-9E92-49B565128C60}" type="presParOf" srcId="{18C4BFE7-4CEB-4590-8CC9-20D69F436A8E}" destId="{52E417A0-86F2-4D4F-94FE-5EFA873A7F61}" srcOrd="5" destOrd="0" presId="urn:microsoft.com/office/officeart/2005/8/layout/hList1"/>
    <dgm:cxn modelId="{83B2C5EA-69B9-4511-9C87-50EA74430BA3}" type="presParOf" srcId="{18C4BFE7-4CEB-4590-8CC9-20D69F436A8E}" destId="{FA0CE096-76F6-460A-B96C-7ADABC7C1850}" srcOrd="6" destOrd="0" presId="urn:microsoft.com/office/officeart/2005/8/layout/hList1"/>
    <dgm:cxn modelId="{3A098E56-3F1A-476C-A262-19386782D78F}" type="presParOf" srcId="{FA0CE096-76F6-460A-B96C-7ADABC7C1850}" destId="{B99BCFCE-AD87-41F3-B6B3-C7FCB879CC70}" srcOrd="0" destOrd="0" presId="urn:microsoft.com/office/officeart/2005/8/layout/hList1"/>
    <dgm:cxn modelId="{529ECA7A-114C-4FBE-AE0F-4996B16442B8}" type="presParOf" srcId="{FA0CE096-76F6-460A-B96C-7ADABC7C1850}" destId="{5293C51D-684B-42CF-A1C7-C5700367A027}" srcOrd="1" destOrd="0" presId="urn:microsoft.com/office/officeart/2005/8/layout/h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56506F5-47B1-4BBD-A749-1FEDD1969547}" type="doc">
      <dgm:prSet loTypeId="urn:microsoft.com/office/officeart/2008/layout/PictureStrips" loCatId="list" qsTypeId="urn:microsoft.com/office/officeart/2005/8/quickstyle/simple5" qsCatId="simple" csTypeId="urn:microsoft.com/office/officeart/2005/8/colors/colorful5" csCatId="colorful" phldr="1"/>
      <dgm:spPr/>
      <dgm:t>
        <a:bodyPr/>
        <a:lstStyle/>
        <a:p>
          <a:endParaRPr lang="tr-TR"/>
        </a:p>
      </dgm:t>
    </dgm:pt>
    <dgm:pt modelId="{CA0D0227-17CE-4A71-8577-3AA09E237399}">
      <dgm:prSet phldrT="[Metin]"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tr-TR" sz="1400" b="1" dirty="0" smtClean="0"/>
            <a:t>Girişimcilik ekosisteminde yer alan aktörler arası işbirliğini arttırmak</a:t>
          </a:r>
          <a:endParaRPr lang="tr-TR" sz="1400" b="1" dirty="0">
            <a:latin typeface="+mn-lt"/>
            <a:cs typeface="Arial" panose="020B0604020202020204" pitchFamily="34" charset="0"/>
          </a:endParaRPr>
        </a:p>
      </dgm:t>
    </dgm:pt>
    <dgm:pt modelId="{379EC274-9307-4EC2-B229-C4254162F824}" type="parTrans" cxnId="{595C750B-B7CA-4F76-9DA0-137ECBFFDBA1}">
      <dgm:prSet/>
      <dgm:spPr/>
      <dgm:t>
        <a:bodyPr/>
        <a:lstStyle/>
        <a:p>
          <a:endParaRPr lang="tr-TR"/>
        </a:p>
      </dgm:t>
    </dgm:pt>
    <dgm:pt modelId="{608A2B5D-66C1-4FE6-8079-C0A85F8903ED}" type="sibTrans" cxnId="{595C750B-B7CA-4F76-9DA0-137ECBFFDBA1}">
      <dgm:prSet/>
      <dgm:spPr/>
      <dgm:t>
        <a:bodyPr/>
        <a:lstStyle/>
        <a:p>
          <a:endParaRPr lang="tr-TR"/>
        </a:p>
      </dgm:t>
    </dgm:pt>
    <dgm:pt modelId="{7A6A9F79-90F5-4938-B0AB-63CAEE7090F2}">
      <dgm:prSet phldrT="[Metin]" custT="1"/>
      <dgm:spPr/>
      <dgm:t>
        <a:bodyPr/>
        <a:lstStyle/>
        <a:p>
          <a:r>
            <a:rPr lang="tr-TR" sz="1400" b="1" dirty="0" smtClean="0">
              <a:latin typeface="+mn-lt"/>
              <a:cs typeface="Arial" panose="020B0604020202020204" pitchFamily="34" charset="0"/>
            </a:rPr>
            <a:t>Girişimcilerin iş kurma ve yürütme konularında bilgi ve becerilerini geliştirmek</a:t>
          </a:r>
          <a:endParaRPr lang="tr-TR" sz="1400" b="1" dirty="0">
            <a:latin typeface="+mn-lt"/>
            <a:cs typeface="Arial" panose="020B0604020202020204" pitchFamily="34" charset="0"/>
          </a:endParaRPr>
        </a:p>
      </dgm:t>
    </dgm:pt>
    <dgm:pt modelId="{74C62631-BA60-434F-841A-F7CD64A47059}" type="parTrans" cxnId="{0EDF702F-9858-4C7B-BEC2-20D78E17BA14}">
      <dgm:prSet/>
      <dgm:spPr/>
      <dgm:t>
        <a:bodyPr/>
        <a:lstStyle/>
        <a:p>
          <a:endParaRPr lang="tr-TR"/>
        </a:p>
      </dgm:t>
    </dgm:pt>
    <dgm:pt modelId="{DC69438E-2BB6-4393-890E-F59C52DD1802}" type="sibTrans" cxnId="{0EDF702F-9858-4C7B-BEC2-20D78E17BA14}">
      <dgm:prSet/>
      <dgm:spPr/>
      <dgm:t>
        <a:bodyPr/>
        <a:lstStyle/>
        <a:p>
          <a:endParaRPr lang="tr-TR"/>
        </a:p>
      </dgm:t>
    </dgm:pt>
    <dgm:pt modelId="{DE450993-A8C3-4334-A377-6E6D38C547E3}">
      <dgm:prSet phldrT="[Metin]" custT="1"/>
      <dgm:spPr/>
      <dgm:t>
        <a:bodyPr/>
        <a:lstStyle/>
        <a:p>
          <a:r>
            <a:rPr lang="tr-TR" sz="1400" b="1" dirty="0" smtClean="0">
              <a:latin typeface="+mn-lt"/>
              <a:cs typeface="+mn-cs"/>
            </a:rPr>
            <a:t>Başarılı</a:t>
          </a:r>
          <a:r>
            <a:rPr lang="tr-TR" sz="1400" b="1" baseline="0" dirty="0" smtClean="0">
              <a:latin typeface="+mn-lt"/>
              <a:cs typeface="+mn-cs"/>
            </a:rPr>
            <a:t> işletmelerin kurulmasına katkı sağlayarak </a:t>
          </a:r>
          <a:endParaRPr lang="tr-TR" sz="1400" b="1" dirty="0" smtClean="0">
            <a:latin typeface="+mn-lt"/>
            <a:cs typeface="+mn-cs"/>
          </a:endParaRPr>
        </a:p>
      </dgm:t>
    </dgm:pt>
    <dgm:pt modelId="{E0F7A770-8DB3-406A-8F88-346F314F2D86}" type="parTrans" cxnId="{3D90045F-B131-4C41-807D-2D7E71094991}">
      <dgm:prSet/>
      <dgm:spPr/>
      <dgm:t>
        <a:bodyPr/>
        <a:lstStyle/>
        <a:p>
          <a:endParaRPr lang="tr-TR"/>
        </a:p>
      </dgm:t>
    </dgm:pt>
    <dgm:pt modelId="{DC08829E-D582-4F24-A076-C8E59F20D4AB}" type="sibTrans" cxnId="{3D90045F-B131-4C41-807D-2D7E71094991}">
      <dgm:prSet/>
      <dgm:spPr/>
      <dgm:t>
        <a:bodyPr/>
        <a:lstStyle/>
        <a:p>
          <a:endParaRPr lang="tr-TR"/>
        </a:p>
      </dgm:t>
    </dgm:pt>
    <dgm:pt modelId="{A029F961-D5C3-4745-8842-51DEB09E283A}">
      <dgm:prSet phldrT="[Metin]" custT="1"/>
      <dgm:spPr/>
      <dgm:t>
        <a:bodyPr/>
        <a:lstStyle/>
        <a:p>
          <a:r>
            <a:rPr lang="tr-TR" sz="1400" b="1" dirty="0" smtClean="0"/>
            <a:t>Başarılı iş planlarını/iş modellerini ödüllendirmek</a:t>
          </a:r>
          <a:endParaRPr lang="tr-TR" sz="1400" b="1" dirty="0" smtClean="0">
            <a:latin typeface="+mn-lt"/>
            <a:cs typeface="+mn-cs"/>
          </a:endParaRPr>
        </a:p>
      </dgm:t>
    </dgm:pt>
    <dgm:pt modelId="{C50103F3-B652-4CF0-940F-7156AD108A8F}" type="parTrans" cxnId="{016F813B-6A9B-43CB-A467-1CF528C17B8D}">
      <dgm:prSet/>
      <dgm:spPr/>
      <dgm:t>
        <a:bodyPr/>
        <a:lstStyle/>
        <a:p>
          <a:endParaRPr lang="tr-TR"/>
        </a:p>
      </dgm:t>
    </dgm:pt>
    <dgm:pt modelId="{7A840BDC-8242-489E-875A-80525B8E0F3F}" type="sibTrans" cxnId="{016F813B-6A9B-43CB-A467-1CF528C17B8D}">
      <dgm:prSet/>
      <dgm:spPr/>
      <dgm:t>
        <a:bodyPr/>
        <a:lstStyle/>
        <a:p>
          <a:endParaRPr lang="tr-TR"/>
        </a:p>
      </dgm:t>
    </dgm:pt>
    <dgm:pt modelId="{D4FF16F6-6694-4F28-BE20-D63ED4C200A5}">
      <dgm:prSet phldrT="[Metin]" custT="1"/>
      <dgm:spPr/>
      <dgm:t>
        <a:bodyPr/>
        <a:lstStyle/>
        <a:p>
          <a:r>
            <a:rPr lang="tr-TR" sz="1400" b="1" dirty="0" err="1" smtClean="0"/>
            <a:t>İnkübasyon</a:t>
          </a:r>
          <a:r>
            <a:rPr lang="tr-TR" sz="1400" b="1" dirty="0" smtClean="0"/>
            <a:t> hizmetleri sağlayacak yapıların kurulması ve işletilmesine yönelik  destek sağlamak</a:t>
          </a:r>
          <a:endParaRPr lang="tr-TR" sz="1400" b="1" dirty="0" smtClean="0">
            <a:latin typeface="+mn-lt"/>
            <a:cs typeface="+mn-cs"/>
          </a:endParaRPr>
        </a:p>
      </dgm:t>
    </dgm:pt>
    <dgm:pt modelId="{66C907D6-EF01-46F8-B88C-5B2694D4D408}" type="parTrans" cxnId="{8E45D9AF-E7AD-42C7-B82F-14391CF81C02}">
      <dgm:prSet/>
      <dgm:spPr/>
      <dgm:t>
        <a:bodyPr/>
        <a:lstStyle/>
        <a:p>
          <a:endParaRPr lang="tr-TR"/>
        </a:p>
      </dgm:t>
    </dgm:pt>
    <dgm:pt modelId="{7C7BEA74-9A8A-4FF8-A381-E0D63284F1B7}" type="sibTrans" cxnId="{8E45D9AF-E7AD-42C7-B82F-14391CF81C02}">
      <dgm:prSet/>
      <dgm:spPr/>
      <dgm:t>
        <a:bodyPr/>
        <a:lstStyle/>
        <a:p>
          <a:endParaRPr lang="tr-TR"/>
        </a:p>
      </dgm:t>
    </dgm:pt>
    <dgm:pt modelId="{D2466767-2A80-4FB3-BB50-DC8C04FB2661}">
      <dgm:prSet phldrT="[Metin]" custT="1"/>
      <dgm:spPr/>
      <dgm:t>
        <a:bodyPr/>
        <a:lstStyle/>
        <a:p>
          <a:r>
            <a:rPr lang="tr-TR" sz="1400" b="1" dirty="0" smtClean="0"/>
            <a:t>Yeni kurulan işletmelerin en kırılgan oldukları dönemde hayatta kalma oranının arttırmak</a:t>
          </a:r>
          <a:endParaRPr lang="tr-TR" sz="1400" b="1" dirty="0" smtClean="0">
            <a:latin typeface="+mn-lt"/>
            <a:cs typeface="+mn-cs"/>
          </a:endParaRPr>
        </a:p>
      </dgm:t>
    </dgm:pt>
    <dgm:pt modelId="{553FF108-0D50-45DF-9046-07335398B6F7}" type="parTrans" cxnId="{9EA69C5E-BB88-4DB4-ABC7-6881B9BD5898}">
      <dgm:prSet/>
      <dgm:spPr/>
      <dgm:t>
        <a:bodyPr/>
        <a:lstStyle/>
        <a:p>
          <a:endParaRPr lang="tr-TR"/>
        </a:p>
      </dgm:t>
    </dgm:pt>
    <dgm:pt modelId="{E7563002-EFCF-4486-9980-C7360EAD4864}" type="sibTrans" cxnId="{9EA69C5E-BB88-4DB4-ABC7-6881B9BD5898}">
      <dgm:prSet/>
      <dgm:spPr/>
      <dgm:t>
        <a:bodyPr/>
        <a:lstStyle/>
        <a:p>
          <a:endParaRPr lang="tr-TR"/>
        </a:p>
      </dgm:t>
    </dgm:pt>
    <dgm:pt modelId="{01CBC882-1C4D-446A-8DD8-04984BC10EEA}" type="pres">
      <dgm:prSet presAssocID="{C56506F5-47B1-4BBD-A749-1FEDD1969547}" presName="Name0" presStyleCnt="0">
        <dgm:presLayoutVars>
          <dgm:dir/>
          <dgm:resizeHandles val="exact"/>
        </dgm:presLayoutVars>
      </dgm:prSet>
      <dgm:spPr/>
      <dgm:t>
        <a:bodyPr/>
        <a:lstStyle/>
        <a:p>
          <a:endParaRPr lang="tr-TR"/>
        </a:p>
      </dgm:t>
    </dgm:pt>
    <dgm:pt modelId="{7D964691-C0A8-4C51-8A36-CE8EA053A660}" type="pres">
      <dgm:prSet presAssocID="{CA0D0227-17CE-4A71-8577-3AA09E237399}" presName="composite" presStyleCnt="0"/>
      <dgm:spPr/>
      <dgm:t>
        <a:bodyPr/>
        <a:lstStyle/>
        <a:p>
          <a:endParaRPr lang="tr-TR"/>
        </a:p>
      </dgm:t>
    </dgm:pt>
    <dgm:pt modelId="{44F4773A-5868-416C-B28B-17D2218DF94B}" type="pres">
      <dgm:prSet presAssocID="{CA0D0227-17CE-4A71-8577-3AA09E237399}" presName="rect1" presStyleLbl="trAlignAcc1" presStyleIdx="0" presStyleCnt="6">
        <dgm:presLayoutVars>
          <dgm:bulletEnabled val="1"/>
        </dgm:presLayoutVars>
      </dgm:prSet>
      <dgm:spPr/>
      <dgm:t>
        <a:bodyPr/>
        <a:lstStyle/>
        <a:p>
          <a:endParaRPr lang="tr-TR"/>
        </a:p>
      </dgm:t>
    </dgm:pt>
    <dgm:pt modelId="{12D2E376-005D-439D-AA9F-8BD1A28FC481}" type="pres">
      <dgm:prSet presAssocID="{CA0D0227-17CE-4A71-8577-3AA09E237399}" presName="rect2" presStyleLbl="fgImgPlace1" presStyleIdx="0" presStyleCnt="6"/>
      <dgm:spPr>
        <a:blipFill>
          <a:blip xmlns:r="http://schemas.openxmlformats.org/officeDocument/2006/relationships" r:embed="rId1">
            <a:extLst>
              <a:ext uri="{28A0092B-C50C-407E-A947-70E740481C1C}">
                <a14:useLocalDpi xmlns:a14="http://schemas.microsoft.com/office/drawing/2010/main" val="0"/>
              </a:ext>
            </a:extLst>
          </a:blip>
          <a:srcRect/>
          <a:stretch>
            <a:fillRect l="-61000" r="-61000"/>
          </a:stretch>
        </a:blipFill>
      </dgm:spPr>
      <dgm:t>
        <a:bodyPr/>
        <a:lstStyle/>
        <a:p>
          <a:endParaRPr lang="tr-TR"/>
        </a:p>
      </dgm:t>
    </dgm:pt>
    <dgm:pt modelId="{6B68F739-D819-430D-819F-F55FDCF4FE47}" type="pres">
      <dgm:prSet presAssocID="{608A2B5D-66C1-4FE6-8079-C0A85F8903ED}" presName="sibTrans" presStyleCnt="0"/>
      <dgm:spPr/>
      <dgm:t>
        <a:bodyPr/>
        <a:lstStyle/>
        <a:p>
          <a:endParaRPr lang="tr-TR"/>
        </a:p>
      </dgm:t>
    </dgm:pt>
    <dgm:pt modelId="{460711F2-9E98-4C22-8CC6-68E75B6EE340}" type="pres">
      <dgm:prSet presAssocID="{7A6A9F79-90F5-4938-B0AB-63CAEE7090F2}" presName="composite" presStyleCnt="0"/>
      <dgm:spPr/>
      <dgm:t>
        <a:bodyPr/>
        <a:lstStyle/>
        <a:p>
          <a:endParaRPr lang="tr-TR"/>
        </a:p>
      </dgm:t>
    </dgm:pt>
    <dgm:pt modelId="{6572603A-B5D2-4D25-A1F2-1EC3D698C0D4}" type="pres">
      <dgm:prSet presAssocID="{7A6A9F79-90F5-4938-B0AB-63CAEE7090F2}" presName="rect1" presStyleLbl="trAlignAcc1" presStyleIdx="1" presStyleCnt="6">
        <dgm:presLayoutVars>
          <dgm:bulletEnabled val="1"/>
        </dgm:presLayoutVars>
      </dgm:prSet>
      <dgm:spPr/>
      <dgm:t>
        <a:bodyPr/>
        <a:lstStyle/>
        <a:p>
          <a:endParaRPr lang="tr-TR"/>
        </a:p>
      </dgm:t>
    </dgm:pt>
    <dgm:pt modelId="{86DAADBA-ECA3-49C1-90CD-88D13139F6F9}" type="pres">
      <dgm:prSet presAssocID="{7A6A9F79-90F5-4938-B0AB-63CAEE7090F2}" presName="rect2" presStyleLbl="fgImgPlace1" presStyleIdx="1" presStyleCnt="6"/>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2000" r="-2000"/>
          </a:stretch>
        </a:blipFill>
      </dgm:spPr>
      <dgm:t>
        <a:bodyPr/>
        <a:lstStyle/>
        <a:p>
          <a:endParaRPr lang="tr-TR"/>
        </a:p>
      </dgm:t>
    </dgm:pt>
    <dgm:pt modelId="{196FB070-D7B0-45BA-A490-485CAAEDE0D3}" type="pres">
      <dgm:prSet presAssocID="{DC69438E-2BB6-4393-890E-F59C52DD1802}" presName="sibTrans" presStyleCnt="0"/>
      <dgm:spPr/>
      <dgm:t>
        <a:bodyPr/>
        <a:lstStyle/>
        <a:p>
          <a:endParaRPr lang="tr-TR"/>
        </a:p>
      </dgm:t>
    </dgm:pt>
    <dgm:pt modelId="{27268339-5CAC-4E08-BDDD-4145099337AC}" type="pres">
      <dgm:prSet presAssocID="{DE450993-A8C3-4334-A377-6E6D38C547E3}" presName="composite" presStyleCnt="0"/>
      <dgm:spPr/>
      <dgm:t>
        <a:bodyPr/>
        <a:lstStyle/>
        <a:p>
          <a:endParaRPr lang="tr-TR"/>
        </a:p>
      </dgm:t>
    </dgm:pt>
    <dgm:pt modelId="{64AAD9CB-B423-4A2A-B20E-A7A52CEA6179}" type="pres">
      <dgm:prSet presAssocID="{DE450993-A8C3-4334-A377-6E6D38C547E3}" presName="rect1" presStyleLbl="trAlignAcc1" presStyleIdx="2" presStyleCnt="6">
        <dgm:presLayoutVars>
          <dgm:bulletEnabled val="1"/>
        </dgm:presLayoutVars>
      </dgm:prSet>
      <dgm:spPr/>
      <dgm:t>
        <a:bodyPr/>
        <a:lstStyle/>
        <a:p>
          <a:endParaRPr lang="tr-TR"/>
        </a:p>
      </dgm:t>
    </dgm:pt>
    <dgm:pt modelId="{55F73708-4FE3-451C-8B6F-D346FA20EA2C}" type="pres">
      <dgm:prSet presAssocID="{DE450993-A8C3-4334-A377-6E6D38C547E3}" presName="rect2" presStyleLbl="fgImgPlace1" presStyleIdx="2" presStyleCnt="6"/>
      <dgm:spPr>
        <a:blipFill>
          <a:blip xmlns:r="http://schemas.openxmlformats.org/officeDocument/2006/relationships" r:embed="rId3">
            <a:extLst>
              <a:ext uri="{28A0092B-C50C-407E-A947-70E740481C1C}">
                <a14:useLocalDpi xmlns:a14="http://schemas.microsoft.com/office/drawing/2010/main" val="0"/>
              </a:ext>
            </a:extLst>
          </a:blip>
          <a:srcRect/>
          <a:stretch>
            <a:fillRect l="-32000" r="-32000"/>
          </a:stretch>
        </a:blipFill>
      </dgm:spPr>
      <dgm:t>
        <a:bodyPr/>
        <a:lstStyle/>
        <a:p>
          <a:endParaRPr lang="tr-TR"/>
        </a:p>
      </dgm:t>
    </dgm:pt>
    <dgm:pt modelId="{C9CF6933-7916-41A2-9D35-1AE2AEF511F4}" type="pres">
      <dgm:prSet presAssocID="{DC08829E-D582-4F24-A076-C8E59F20D4AB}" presName="sibTrans" presStyleCnt="0"/>
      <dgm:spPr/>
      <dgm:t>
        <a:bodyPr/>
        <a:lstStyle/>
        <a:p>
          <a:endParaRPr lang="tr-TR"/>
        </a:p>
      </dgm:t>
    </dgm:pt>
    <dgm:pt modelId="{0775F401-64B2-4EFA-8DB8-77C72F975BA1}" type="pres">
      <dgm:prSet presAssocID="{D2466767-2A80-4FB3-BB50-DC8C04FB2661}" presName="composite" presStyleCnt="0"/>
      <dgm:spPr/>
      <dgm:t>
        <a:bodyPr/>
        <a:lstStyle/>
        <a:p>
          <a:endParaRPr lang="tr-TR"/>
        </a:p>
      </dgm:t>
    </dgm:pt>
    <dgm:pt modelId="{F83F6A9A-B7D5-495D-9B37-70FD925B7687}" type="pres">
      <dgm:prSet presAssocID="{D2466767-2A80-4FB3-BB50-DC8C04FB2661}" presName="rect1" presStyleLbl="trAlignAcc1" presStyleIdx="3" presStyleCnt="6">
        <dgm:presLayoutVars>
          <dgm:bulletEnabled val="1"/>
        </dgm:presLayoutVars>
      </dgm:prSet>
      <dgm:spPr/>
      <dgm:t>
        <a:bodyPr/>
        <a:lstStyle/>
        <a:p>
          <a:endParaRPr lang="tr-TR"/>
        </a:p>
      </dgm:t>
    </dgm:pt>
    <dgm:pt modelId="{8B2283E1-FD0E-4B12-931A-6B8BD602163E}" type="pres">
      <dgm:prSet presAssocID="{D2466767-2A80-4FB3-BB50-DC8C04FB2661}" presName="rect2" presStyleLbl="fgImgPlace1" presStyleIdx="3" presStyleCnt="6"/>
      <dgm:spPr>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dgm:spPr>
      <dgm:t>
        <a:bodyPr/>
        <a:lstStyle/>
        <a:p>
          <a:endParaRPr lang="tr-TR"/>
        </a:p>
      </dgm:t>
    </dgm:pt>
    <dgm:pt modelId="{7DFC5596-AA00-427A-8E63-767B7D0BAAFC}" type="pres">
      <dgm:prSet presAssocID="{E7563002-EFCF-4486-9980-C7360EAD4864}" presName="sibTrans" presStyleCnt="0"/>
      <dgm:spPr/>
      <dgm:t>
        <a:bodyPr/>
        <a:lstStyle/>
        <a:p>
          <a:endParaRPr lang="tr-TR"/>
        </a:p>
      </dgm:t>
    </dgm:pt>
    <dgm:pt modelId="{CC12EC9A-8443-4EEB-AD60-C372ADD14941}" type="pres">
      <dgm:prSet presAssocID="{A029F961-D5C3-4745-8842-51DEB09E283A}" presName="composite" presStyleCnt="0"/>
      <dgm:spPr/>
      <dgm:t>
        <a:bodyPr/>
        <a:lstStyle/>
        <a:p>
          <a:endParaRPr lang="tr-TR"/>
        </a:p>
      </dgm:t>
    </dgm:pt>
    <dgm:pt modelId="{FBDEF654-6110-4423-AD0B-C4B42D9220E8}" type="pres">
      <dgm:prSet presAssocID="{A029F961-D5C3-4745-8842-51DEB09E283A}" presName="rect1" presStyleLbl="trAlignAcc1" presStyleIdx="4" presStyleCnt="6">
        <dgm:presLayoutVars>
          <dgm:bulletEnabled val="1"/>
        </dgm:presLayoutVars>
      </dgm:prSet>
      <dgm:spPr/>
      <dgm:t>
        <a:bodyPr/>
        <a:lstStyle/>
        <a:p>
          <a:endParaRPr lang="tr-TR"/>
        </a:p>
      </dgm:t>
    </dgm:pt>
    <dgm:pt modelId="{B5DA1A82-743C-46E1-9E90-F5018B77615F}" type="pres">
      <dgm:prSet presAssocID="{A029F961-D5C3-4745-8842-51DEB09E283A}" presName="rect2" presStyleLbl="fgImgPlace1" presStyleIdx="4" presStyleCnt="6"/>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26000" r="-26000"/>
          </a:stretch>
        </a:blipFill>
      </dgm:spPr>
      <dgm:t>
        <a:bodyPr/>
        <a:lstStyle/>
        <a:p>
          <a:endParaRPr lang="tr-TR"/>
        </a:p>
      </dgm:t>
    </dgm:pt>
    <dgm:pt modelId="{9271F495-BCDA-421C-9297-C909685DB15B}" type="pres">
      <dgm:prSet presAssocID="{7A840BDC-8242-489E-875A-80525B8E0F3F}" presName="sibTrans" presStyleCnt="0"/>
      <dgm:spPr/>
      <dgm:t>
        <a:bodyPr/>
        <a:lstStyle/>
        <a:p>
          <a:endParaRPr lang="tr-TR"/>
        </a:p>
      </dgm:t>
    </dgm:pt>
    <dgm:pt modelId="{055FA596-26E2-4C96-BFD1-D93CE88FCCDB}" type="pres">
      <dgm:prSet presAssocID="{D4FF16F6-6694-4F28-BE20-D63ED4C200A5}" presName="composite" presStyleCnt="0"/>
      <dgm:spPr/>
      <dgm:t>
        <a:bodyPr/>
        <a:lstStyle/>
        <a:p>
          <a:endParaRPr lang="tr-TR"/>
        </a:p>
      </dgm:t>
    </dgm:pt>
    <dgm:pt modelId="{8971712D-2E71-4CC9-8A17-6FF460CCC30B}" type="pres">
      <dgm:prSet presAssocID="{D4FF16F6-6694-4F28-BE20-D63ED4C200A5}" presName="rect1" presStyleLbl="trAlignAcc1" presStyleIdx="5" presStyleCnt="6">
        <dgm:presLayoutVars>
          <dgm:bulletEnabled val="1"/>
        </dgm:presLayoutVars>
      </dgm:prSet>
      <dgm:spPr/>
      <dgm:t>
        <a:bodyPr/>
        <a:lstStyle/>
        <a:p>
          <a:endParaRPr lang="tr-TR"/>
        </a:p>
      </dgm:t>
    </dgm:pt>
    <dgm:pt modelId="{B25782D2-3DCA-42BD-AEF2-4F6D35B6DDED}" type="pres">
      <dgm:prSet presAssocID="{D4FF16F6-6694-4F28-BE20-D63ED4C200A5}" presName="rect2" presStyleLbl="fgImgPlace1" presStyleIdx="5" presStyleCnt="6"/>
      <dgm:spPr>
        <a:blipFill>
          <a:blip xmlns:r="http://schemas.openxmlformats.org/officeDocument/2006/relationships" r:embed="rId6">
            <a:extLst>
              <a:ext uri="{28A0092B-C50C-407E-A947-70E740481C1C}">
                <a14:useLocalDpi xmlns:a14="http://schemas.microsoft.com/office/drawing/2010/main" val="0"/>
              </a:ext>
            </a:extLst>
          </a:blip>
          <a:srcRect/>
          <a:stretch>
            <a:fillRect l="-65000" r="-65000"/>
          </a:stretch>
        </a:blipFill>
      </dgm:spPr>
      <dgm:t>
        <a:bodyPr/>
        <a:lstStyle/>
        <a:p>
          <a:endParaRPr lang="tr-TR"/>
        </a:p>
      </dgm:t>
    </dgm:pt>
  </dgm:ptLst>
  <dgm:cxnLst>
    <dgm:cxn modelId="{0EDF702F-9858-4C7B-BEC2-20D78E17BA14}" srcId="{C56506F5-47B1-4BBD-A749-1FEDD1969547}" destId="{7A6A9F79-90F5-4938-B0AB-63CAEE7090F2}" srcOrd="1" destOrd="0" parTransId="{74C62631-BA60-434F-841A-F7CD64A47059}" sibTransId="{DC69438E-2BB6-4393-890E-F59C52DD1802}"/>
    <dgm:cxn modelId="{6E2EAD94-BAC3-43AF-ADBB-4820688D9FE8}" type="presOf" srcId="{7A6A9F79-90F5-4938-B0AB-63CAEE7090F2}" destId="{6572603A-B5D2-4D25-A1F2-1EC3D698C0D4}" srcOrd="0" destOrd="0" presId="urn:microsoft.com/office/officeart/2008/layout/PictureStrips"/>
    <dgm:cxn modelId="{9EA69C5E-BB88-4DB4-ABC7-6881B9BD5898}" srcId="{C56506F5-47B1-4BBD-A749-1FEDD1969547}" destId="{D2466767-2A80-4FB3-BB50-DC8C04FB2661}" srcOrd="3" destOrd="0" parTransId="{553FF108-0D50-45DF-9046-07335398B6F7}" sibTransId="{E7563002-EFCF-4486-9980-C7360EAD4864}"/>
    <dgm:cxn modelId="{4B09C86C-46C9-422B-9AC8-AC9A291BFC5C}" type="presOf" srcId="{D4FF16F6-6694-4F28-BE20-D63ED4C200A5}" destId="{8971712D-2E71-4CC9-8A17-6FF460CCC30B}" srcOrd="0" destOrd="0" presId="urn:microsoft.com/office/officeart/2008/layout/PictureStrips"/>
    <dgm:cxn modelId="{3D90045F-B131-4C41-807D-2D7E71094991}" srcId="{C56506F5-47B1-4BBD-A749-1FEDD1969547}" destId="{DE450993-A8C3-4334-A377-6E6D38C547E3}" srcOrd="2" destOrd="0" parTransId="{E0F7A770-8DB3-406A-8F88-346F314F2D86}" sibTransId="{DC08829E-D582-4F24-A076-C8E59F20D4AB}"/>
    <dgm:cxn modelId="{3071F5CD-1421-457F-8953-C3459026F511}" type="presOf" srcId="{C56506F5-47B1-4BBD-A749-1FEDD1969547}" destId="{01CBC882-1C4D-446A-8DD8-04984BC10EEA}" srcOrd="0" destOrd="0" presId="urn:microsoft.com/office/officeart/2008/layout/PictureStrips"/>
    <dgm:cxn modelId="{8E45D9AF-E7AD-42C7-B82F-14391CF81C02}" srcId="{C56506F5-47B1-4BBD-A749-1FEDD1969547}" destId="{D4FF16F6-6694-4F28-BE20-D63ED4C200A5}" srcOrd="5" destOrd="0" parTransId="{66C907D6-EF01-46F8-B88C-5B2694D4D408}" sibTransId="{7C7BEA74-9A8A-4FF8-A381-E0D63284F1B7}"/>
    <dgm:cxn modelId="{72E6BCCE-812A-48FE-BCFC-F6861495DCDA}" type="presOf" srcId="{A029F961-D5C3-4745-8842-51DEB09E283A}" destId="{FBDEF654-6110-4423-AD0B-C4B42D9220E8}" srcOrd="0" destOrd="0" presId="urn:microsoft.com/office/officeart/2008/layout/PictureStrips"/>
    <dgm:cxn modelId="{016F813B-6A9B-43CB-A467-1CF528C17B8D}" srcId="{C56506F5-47B1-4BBD-A749-1FEDD1969547}" destId="{A029F961-D5C3-4745-8842-51DEB09E283A}" srcOrd="4" destOrd="0" parTransId="{C50103F3-B652-4CF0-940F-7156AD108A8F}" sibTransId="{7A840BDC-8242-489E-875A-80525B8E0F3F}"/>
    <dgm:cxn modelId="{EBA31ABC-0FA4-4955-9E6E-94B2B9C3E6F2}" type="presOf" srcId="{CA0D0227-17CE-4A71-8577-3AA09E237399}" destId="{44F4773A-5868-416C-B28B-17D2218DF94B}" srcOrd="0" destOrd="0" presId="urn:microsoft.com/office/officeart/2008/layout/PictureStrips"/>
    <dgm:cxn modelId="{595C750B-B7CA-4F76-9DA0-137ECBFFDBA1}" srcId="{C56506F5-47B1-4BBD-A749-1FEDD1969547}" destId="{CA0D0227-17CE-4A71-8577-3AA09E237399}" srcOrd="0" destOrd="0" parTransId="{379EC274-9307-4EC2-B229-C4254162F824}" sibTransId="{608A2B5D-66C1-4FE6-8079-C0A85F8903ED}"/>
    <dgm:cxn modelId="{0D30EFC1-7CA7-4F03-81E8-C1587791B8E7}" type="presOf" srcId="{D2466767-2A80-4FB3-BB50-DC8C04FB2661}" destId="{F83F6A9A-B7D5-495D-9B37-70FD925B7687}" srcOrd="0" destOrd="0" presId="urn:microsoft.com/office/officeart/2008/layout/PictureStrips"/>
    <dgm:cxn modelId="{CEE1D32E-54A6-41B0-92F2-6BC9E9E908B8}" type="presOf" srcId="{DE450993-A8C3-4334-A377-6E6D38C547E3}" destId="{64AAD9CB-B423-4A2A-B20E-A7A52CEA6179}" srcOrd="0" destOrd="0" presId="urn:microsoft.com/office/officeart/2008/layout/PictureStrips"/>
    <dgm:cxn modelId="{D20097CF-D7D1-47ED-BD3F-69D8CF210752}" type="presParOf" srcId="{01CBC882-1C4D-446A-8DD8-04984BC10EEA}" destId="{7D964691-C0A8-4C51-8A36-CE8EA053A660}" srcOrd="0" destOrd="0" presId="urn:microsoft.com/office/officeart/2008/layout/PictureStrips"/>
    <dgm:cxn modelId="{23F54051-50BE-4E01-9D6F-6056A7AC0E1E}" type="presParOf" srcId="{7D964691-C0A8-4C51-8A36-CE8EA053A660}" destId="{44F4773A-5868-416C-B28B-17D2218DF94B}" srcOrd="0" destOrd="0" presId="urn:microsoft.com/office/officeart/2008/layout/PictureStrips"/>
    <dgm:cxn modelId="{EAA9E280-AC91-4DB3-9AFF-1B7D8A8FDEB0}" type="presParOf" srcId="{7D964691-C0A8-4C51-8A36-CE8EA053A660}" destId="{12D2E376-005D-439D-AA9F-8BD1A28FC481}" srcOrd="1" destOrd="0" presId="urn:microsoft.com/office/officeart/2008/layout/PictureStrips"/>
    <dgm:cxn modelId="{900444F0-9C9D-4DB0-BF25-0D965F97647F}" type="presParOf" srcId="{01CBC882-1C4D-446A-8DD8-04984BC10EEA}" destId="{6B68F739-D819-430D-819F-F55FDCF4FE47}" srcOrd="1" destOrd="0" presId="urn:microsoft.com/office/officeart/2008/layout/PictureStrips"/>
    <dgm:cxn modelId="{4D7C992B-8D4F-4E18-8307-D2D23146D4EE}" type="presParOf" srcId="{01CBC882-1C4D-446A-8DD8-04984BC10EEA}" destId="{460711F2-9E98-4C22-8CC6-68E75B6EE340}" srcOrd="2" destOrd="0" presId="urn:microsoft.com/office/officeart/2008/layout/PictureStrips"/>
    <dgm:cxn modelId="{0E417B30-365E-4AC5-B6D2-65ADDE2FD40A}" type="presParOf" srcId="{460711F2-9E98-4C22-8CC6-68E75B6EE340}" destId="{6572603A-B5D2-4D25-A1F2-1EC3D698C0D4}" srcOrd="0" destOrd="0" presId="urn:microsoft.com/office/officeart/2008/layout/PictureStrips"/>
    <dgm:cxn modelId="{E6B60E39-A619-4C04-82A2-4ACDD23FD66A}" type="presParOf" srcId="{460711F2-9E98-4C22-8CC6-68E75B6EE340}" destId="{86DAADBA-ECA3-49C1-90CD-88D13139F6F9}" srcOrd="1" destOrd="0" presId="urn:microsoft.com/office/officeart/2008/layout/PictureStrips"/>
    <dgm:cxn modelId="{F6264E5F-7CF1-463D-93EA-CBB9222F7BA2}" type="presParOf" srcId="{01CBC882-1C4D-446A-8DD8-04984BC10EEA}" destId="{196FB070-D7B0-45BA-A490-485CAAEDE0D3}" srcOrd="3" destOrd="0" presId="urn:microsoft.com/office/officeart/2008/layout/PictureStrips"/>
    <dgm:cxn modelId="{838D934C-A289-4CA7-8122-8CE916685200}" type="presParOf" srcId="{01CBC882-1C4D-446A-8DD8-04984BC10EEA}" destId="{27268339-5CAC-4E08-BDDD-4145099337AC}" srcOrd="4" destOrd="0" presId="urn:microsoft.com/office/officeart/2008/layout/PictureStrips"/>
    <dgm:cxn modelId="{2ACBB1F7-890A-4888-AE91-BC138007CFD3}" type="presParOf" srcId="{27268339-5CAC-4E08-BDDD-4145099337AC}" destId="{64AAD9CB-B423-4A2A-B20E-A7A52CEA6179}" srcOrd="0" destOrd="0" presId="urn:microsoft.com/office/officeart/2008/layout/PictureStrips"/>
    <dgm:cxn modelId="{BFE4658A-B0A0-4778-A62B-B6935669E155}" type="presParOf" srcId="{27268339-5CAC-4E08-BDDD-4145099337AC}" destId="{55F73708-4FE3-451C-8B6F-D346FA20EA2C}" srcOrd="1" destOrd="0" presId="urn:microsoft.com/office/officeart/2008/layout/PictureStrips"/>
    <dgm:cxn modelId="{9D743A6D-D3FF-4B53-903E-E1BED93578D2}" type="presParOf" srcId="{01CBC882-1C4D-446A-8DD8-04984BC10EEA}" destId="{C9CF6933-7916-41A2-9D35-1AE2AEF511F4}" srcOrd="5" destOrd="0" presId="urn:microsoft.com/office/officeart/2008/layout/PictureStrips"/>
    <dgm:cxn modelId="{659B3ED9-237C-4237-88D5-5093E543099A}" type="presParOf" srcId="{01CBC882-1C4D-446A-8DD8-04984BC10EEA}" destId="{0775F401-64B2-4EFA-8DB8-77C72F975BA1}" srcOrd="6" destOrd="0" presId="urn:microsoft.com/office/officeart/2008/layout/PictureStrips"/>
    <dgm:cxn modelId="{39D329E6-39A2-4FCE-A3E8-579368BB16A9}" type="presParOf" srcId="{0775F401-64B2-4EFA-8DB8-77C72F975BA1}" destId="{F83F6A9A-B7D5-495D-9B37-70FD925B7687}" srcOrd="0" destOrd="0" presId="urn:microsoft.com/office/officeart/2008/layout/PictureStrips"/>
    <dgm:cxn modelId="{E9650A66-3CFB-4C71-8F4F-0C3E5EADFB97}" type="presParOf" srcId="{0775F401-64B2-4EFA-8DB8-77C72F975BA1}" destId="{8B2283E1-FD0E-4B12-931A-6B8BD602163E}" srcOrd="1" destOrd="0" presId="urn:microsoft.com/office/officeart/2008/layout/PictureStrips"/>
    <dgm:cxn modelId="{B7EF3D18-071A-4CCE-9F93-CF4B7EEBD0C7}" type="presParOf" srcId="{01CBC882-1C4D-446A-8DD8-04984BC10EEA}" destId="{7DFC5596-AA00-427A-8E63-767B7D0BAAFC}" srcOrd="7" destOrd="0" presId="urn:microsoft.com/office/officeart/2008/layout/PictureStrips"/>
    <dgm:cxn modelId="{92843866-2B68-4F49-AD91-F62DDFECBB22}" type="presParOf" srcId="{01CBC882-1C4D-446A-8DD8-04984BC10EEA}" destId="{CC12EC9A-8443-4EEB-AD60-C372ADD14941}" srcOrd="8" destOrd="0" presId="urn:microsoft.com/office/officeart/2008/layout/PictureStrips"/>
    <dgm:cxn modelId="{5FBDC9A4-8AAF-4D86-B814-03B007FDCF69}" type="presParOf" srcId="{CC12EC9A-8443-4EEB-AD60-C372ADD14941}" destId="{FBDEF654-6110-4423-AD0B-C4B42D9220E8}" srcOrd="0" destOrd="0" presId="urn:microsoft.com/office/officeart/2008/layout/PictureStrips"/>
    <dgm:cxn modelId="{C8DA22B6-B3AB-46CC-B736-CA6F33A5AC64}" type="presParOf" srcId="{CC12EC9A-8443-4EEB-AD60-C372ADD14941}" destId="{B5DA1A82-743C-46E1-9E90-F5018B77615F}" srcOrd="1" destOrd="0" presId="urn:microsoft.com/office/officeart/2008/layout/PictureStrips"/>
    <dgm:cxn modelId="{2F7F8FCB-C7C2-404C-92CF-3E7366C6D64A}" type="presParOf" srcId="{01CBC882-1C4D-446A-8DD8-04984BC10EEA}" destId="{9271F495-BCDA-421C-9297-C909685DB15B}" srcOrd="9" destOrd="0" presId="urn:microsoft.com/office/officeart/2008/layout/PictureStrips"/>
    <dgm:cxn modelId="{0E95A949-AA09-4AE5-873B-B947F7F0B1C6}" type="presParOf" srcId="{01CBC882-1C4D-446A-8DD8-04984BC10EEA}" destId="{055FA596-26E2-4C96-BFD1-D93CE88FCCDB}" srcOrd="10" destOrd="0" presId="urn:microsoft.com/office/officeart/2008/layout/PictureStrips"/>
    <dgm:cxn modelId="{B3F0C928-D8A3-49F5-88C0-5033681D982C}" type="presParOf" srcId="{055FA596-26E2-4C96-BFD1-D93CE88FCCDB}" destId="{8971712D-2E71-4CC9-8A17-6FF460CCC30B}" srcOrd="0" destOrd="0" presId="urn:microsoft.com/office/officeart/2008/layout/PictureStrips"/>
    <dgm:cxn modelId="{63063520-09BE-400D-9EB6-BB9190DB425B}" type="presParOf" srcId="{055FA596-26E2-4C96-BFD1-D93CE88FCCDB}" destId="{B25782D2-3DCA-42BD-AEF2-4F6D35B6DDED}" srcOrd="1" destOrd="0" presId="urn:microsoft.com/office/officeart/2008/layout/PictureStrip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A88DEE9-EBF6-4B7C-BD6C-E08CB6F50A15}"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tr-TR"/>
        </a:p>
      </dgm:t>
    </dgm:pt>
    <dgm:pt modelId="{AC4C6EC5-6868-4F0F-8BC7-841C45270086}">
      <dgm:prSet phldrT="[Metin]"/>
      <dgm:spPr>
        <a:solidFill>
          <a:schemeClr val="tx2"/>
        </a:solidFill>
      </dgm:spPr>
      <dgm:t>
        <a:bodyPr/>
        <a:lstStyle/>
        <a:p>
          <a:r>
            <a:rPr lang="tr-TR" dirty="0" smtClean="0"/>
            <a:t>Girişimci</a:t>
          </a:r>
          <a:endParaRPr lang="tr-TR" dirty="0"/>
        </a:p>
      </dgm:t>
    </dgm:pt>
    <dgm:pt modelId="{F9BA0D48-D206-4702-B7ED-1CDCE857CCC0}" type="parTrans" cxnId="{20206F77-6F00-4885-8D2F-D922AEDD595D}">
      <dgm:prSet/>
      <dgm:spPr/>
      <dgm:t>
        <a:bodyPr/>
        <a:lstStyle/>
        <a:p>
          <a:endParaRPr lang="tr-TR"/>
        </a:p>
      </dgm:t>
    </dgm:pt>
    <dgm:pt modelId="{8DB1D895-B551-4ACC-87AC-B896AD2279AE}" type="sibTrans" cxnId="{20206F77-6F00-4885-8D2F-D922AEDD595D}">
      <dgm:prSet/>
      <dgm:spPr/>
      <dgm:t>
        <a:bodyPr/>
        <a:lstStyle/>
        <a:p>
          <a:endParaRPr lang="tr-TR"/>
        </a:p>
      </dgm:t>
    </dgm:pt>
    <dgm:pt modelId="{981F653B-8B9C-4161-B082-06976D96EEF4}">
      <dgm:prSet phldrT="[Metin]"/>
      <dgm:spPr>
        <a:solidFill>
          <a:schemeClr val="accent5">
            <a:lumMod val="75000"/>
          </a:schemeClr>
        </a:solidFill>
      </dgm:spPr>
      <dgm:t>
        <a:bodyPr/>
        <a:lstStyle/>
        <a:p>
          <a:r>
            <a:rPr lang="tr-TR" dirty="0" smtClean="0"/>
            <a:t>İşletme</a:t>
          </a:r>
          <a:endParaRPr lang="tr-TR" dirty="0"/>
        </a:p>
      </dgm:t>
    </dgm:pt>
    <dgm:pt modelId="{2EF0436D-4339-4006-8391-4B5D540B46DE}" type="parTrans" cxnId="{DE1219D0-D70D-447C-A695-BBF939BB2034}">
      <dgm:prSet/>
      <dgm:spPr/>
      <dgm:t>
        <a:bodyPr/>
        <a:lstStyle/>
        <a:p>
          <a:endParaRPr lang="tr-TR"/>
        </a:p>
      </dgm:t>
    </dgm:pt>
    <dgm:pt modelId="{9C32DFC6-BE65-4622-9CFA-025C9E88E466}" type="sibTrans" cxnId="{DE1219D0-D70D-447C-A695-BBF939BB2034}">
      <dgm:prSet/>
      <dgm:spPr/>
      <dgm:t>
        <a:bodyPr/>
        <a:lstStyle/>
        <a:p>
          <a:endParaRPr lang="tr-TR"/>
        </a:p>
      </dgm:t>
    </dgm:pt>
    <dgm:pt modelId="{503337B1-4EDC-49E6-9B3A-34066D323410}">
      <dgm:prSet custT="1"/>
      <dgm:spPr>
        <a:solidFill>
          <a:schemeClr val="accent4">
            <a:lumMod val="20000"/>
            <a:lumOff val="80000"/>
            <a:alpha val="90000"/>
          </a:schemeClr>
        </a:solidFill>
      </dgm:spPr>
      <dgm:t>
        <a:bodyPr/>
        <a:lstStyle/>
        <a:p>
          <a:r>
            <a:rPr lang="tr-TR" sz="1700" kern="1200" dirty="0" smtClean="0"/>
            <a:t>Türk Ticaret Kanununda tanımlı gerçek kişi veya sermaye şirketi olmalı</a:t>
          </a:r>
          <a:endParaRPr lang="tr-TR" sz="1700" kern="1200" dirty="0"/>
        </a:p>
      </dgm:t>
    </dgm:pt>
    <dgm:pt modelId="{4D36CF55-DA24-4BC5-8B08-6C10CCC61245}" type="parTrans" cxnId="{BA1E425F-821D-4807-A5C2-03950CFD853D}">
      <dgm:prSet/>
      <dgm:spPr/>
      <dgm:t>
        <a:bodyPr/>
        <a:lstStyle/>
        <a:p>
          <a:endParaRPr lang="tr-TR"/>
        </a:p>
      </dgm:t>
    </dgm:pt>
    <dgm:pt modelId="{1F5682A4-8C1E-40CF-AD37-0B39568D240D}" type="sibTrans" cxnId="{BA1E425F-821D-4807-A5C2-03950CFD853D}">
      <dgm:prSet/>
      <dgm:spPr/>
      <dgm:t>
        <a:bodyPr/>
        <a:lstStyle/>
        <a:p>
          <a:endParaRPr lang="tr-TR"/>
        </a:p>
      </dgm:t>
    </dgm:pt>
    <dgm:pt modelId="{8805FF10-6283-483F-B642-0B845EC311DD}">
      <dgm:prSet phldrT="[Metin]" custT="1"/>
      <dgm:spPr>
        <a:solidFill>
          <a:schemeClr val="accent4">
            <a:lumMod val="20000"/>
            <a:lumOff val="80000"/>
            <a:alpha val="90000"/>
          </a:schemeClr>
        </a:solidFill>
      </dgm:spPr>
      <dgm:t>
        <a:bodyPr/>
        <a:lstStyle/>
        <a:p>
          <a:r>
            <a:rPr lang="tr-TR" sz="1700" kern="1200" dirty="0" smtClean="0"/>
            <a:t>Son 1 yıl içinde kurulmuş olmalı</a:t>
          </a:r>
          <a:endParaRPr lang="tr-TR" sz="1700" kern="1200" dirty="0"/>
        </a:p>
      </dgm:t>
    </dgm:pt>
    <dgm:pt modelId="{3349A456-F6B3-4FE2-B923-A9AC068052C2}" type="parTrans" cxnId="{4EF0262F-CBC8-4898-83EB-092980D31EC0}">
      <dgm:prSet/>
      <dgm:spPr/>
      <dgm:t>
        <a:bodyPr/>
        <a:lstStyle/>
        <a:p>
          <a:endParaRPr lang="tr-TR"/>
        </a:p>
      </dgm:t>
    </dgm:pt>
    <dgm:pt modelId="{69D7998E-320E-477E-A1FB-BE111BD79F7D}" type="sibTrans" cxnId="{4EF0262F-CBC8-4898-83EB-092980D31EC0}">
      <dgm:prSet/>
      <dgm:spPr/>
      <dgm:t>
        <a:bodyPr/>
        <a:lstStyle/>
        <a:p>
          <a:endParaRPr lang="tr-TR"/>
        </a:p>
      </dgm:t>
    </dgm:pt>
    <dgm:pt modelId="{4A3D4BE9-B53D-4B69-855D-D4912BB8DA0D}">
      <dgm:prSet phldrT="[Metin]" custT="1"/>
      <dgm:spPr>
        <a:solidFill>
          <a:schemeClr val="accent4">
            <a:lumMod val="20000"/>
            <a:lumOff val="80000"/>
            <a:alpha val="90000"/>
          </a:schemeClr>
        </a:solidFill>
      </dgm:spPr>
      <dgm:t>
        <a:bodyPr/>
        <a:lstStyle/>
        <a:p>
          <a:r>
            <a:rPr lang="tr-TR" sz="1700" kern="1200" dirty="0" smtClean="0"/>
            <a:t>KOBİ Bilgi Beyannamesi güncel olmalı</a:t>
          </a:r>
          <a:endParaRPr lang="tr-TR" sz="1700" kern="1200" dirty="0"/>
        </a:p>
      </dgm:t>
    </dgm:pt>
    <dgm:pt modelId="{BAD288FA-3266-4A8B-9CB8-348A7F024269}" type="parTrans" cxnId="{009C8152-12C1-408E-9FF0-91645D5CAA40}">
      <dgm:prSet/>
      <dgm:spPr/>
      <dgm:t>
        <a:bodyPr/>
        <a:lstStyle/>
        <a:p>
          <a:endParaRPr lang="tr-TR"/>
        </a:p>
      </dgm:t>
    </dgm:pt>
    <dgm:pt modelId="{CB1ED5DD-0263-4CBB-8AD7-E28BB792E282}" type="sibTrans" cxnId="{009C8152-12C1-408E-9FF0-91645D5CAA40}">
      <dgm:prSet/>
      <dgm:spPr/>
      <dgm:t>
        <a:bodyPr/>
        <a:lstStyle/>
        <a:p>
          <a:endParaRPr lang="tr-TR"/>
        </a:p>
      </dgm:t>
    </dgm:pt>
    <dgm:pt modelId="{208146E2-9B9F-43B4-AAEB-9AF4C8D4AFEC}">
      <dgm:prSet phldrT="[Metin]" custT="1"/>
      <dgm:spPr>
        <a:solidFill>
          <a:schemeClr val="accent4">
            <a:lumMod val="20000"/>
            <a:lumOff val="80000"/>
            <a:alpha val="90000"/>
          </a:schemeClr>
        </a:solidFill>
      </dgm:spPr>
      <dgm:t>
        <a:bodyPr/>
        <a:lstStyle/>
        <a:p>
          <a:r>
            <a:rPr lang="tr-TR" sz="1700" kern="1200" dirty="0" smtClean="0"/>
            <a:t>KOSGEB Veri Tabanında kayıtlı ve aktif olmalı</a:t>
          </a:r>
          <a:endParaRPr lang="tr-TR" sz="1700" kern="1200" dirty="0"/>
        </a:p>
      </dgm:t>
    </dgm:pt>
    <dgm:pt modelId="{9ADFA092-78CD-492B-80B5-7DFB059AA4D4}" type="parTrans" cxnId="{B2FA7077-8137-44A7-8142-664AB1B32E6C}">
      <dgm:prSet/>
      <dgm:spPr/>
      <dgm:t>
        <a:bodyPr/>
        <a:lstStyle/>
        <a:p>
          <a:endParaRPr lang="tr-TR"/>
        </a:p>
      </dgm:t>
    </dgm:pt>
    <dgm:pt modelId="{F0AFB3E1-AADA-433A-BFBA-14FCBC6E892D}" type="sibTrans" cxnId="{B2FA7077-8137-44A7-8142-664AB1B32E6C}">
      <dgm:prSet/>
      <dgm:spPr/>
      <dgm:t>
        <a:bodyPr/>
        <a:lstStyle/>
        <a:p>
          <a:endParaRPr lang="tr-TR"/>
        </a:p>
      </dgm:t>
    </dgm:pt>
    <dgm:pt modelId="{26657EE1-94CB-4469-BBBE-06ED33FBEE2D}">
      <dgm:prSet phldrT="[Metin]" custT="1"/>
      <dgm:spPr>
        <a:solidFill>
          <a:schemeClr val="accent4">
            <a:lumMod val="20000"/>
            <a:lumOff val="80000"/>
            <a:alpha val="90000"/>
          </a:schemeClr>
        </a:solidFill>
      </dgm:spPr>
      <dgm:t>
        <a:bodyPr/>
        <a:lstStyle/>
        <a:p>
          <a:r>
            <a:rPr lang="tr-TR" sz="1700" kern="1200" dirty="0" smtClean="0"/>
            <a:t>İleri Girişimci Programı Faaliyet Konuları Tablosunda belirtilen konularda faaliyet gösteriyor olmalı</a:t>
          </a:r>
          <a:r>
            <a:rPr lang="tr-TR" b="1" kern="1200" dirty="0" smtClean="0">
              <a:solidFill>
                <a:srgbClr val="0070C0"/>
              </a:solidFill>
              <a:latin typeface="+mn-lt"/>
              <a:ea typeface="+mn-ea"/>
              <a:cs typeface="+mn-cs"/>
            </a:rPr>
            <a:t>(İleri</a:t>
          </a:r>
          <a:r>
            <a:rPr lang="tr-TR" sz="1700" b="1" kern="1200" dirty="0" smtClean="0">
              <a:solidFill>
                <a:srgbClr val="0070C0"/>
              </a:solidFill>
            </a:rPr>
            <a:t> </a:t>
          </a:r>
          <a:r>
            <a:rPr lang="tr-TR" b="1" kern="1200" dirty="0" smtClean="0">
              <a:solidFill>
                <a:srgbClr val="0070C0"/>
              </a:solidFill>
              <a:latin typeface="+mn-lt"/>
              <a:ea typeface="+mn-ea"/>
              <a:cs typeface="+mn-cs"/>
            </a:rPr>
            <a:t>Girişimci</a:t>
          </a:r>
          <a:r>
            <a:rPr lang="tr-TR" sz="1700" b="1" kern="1200" dirty="0" smtClean="0">
              <a:solidFill>
                <a:srgbClr val="0070C0"/>
              </a:solidFill>
            </a:rPr>
            <a:t> </a:t>
          </a:r>
          <a:r>
            <a:rPr lang="tr-TR" b="1" kern="1200" dirty="0" smtClean="0">
              <a:solidFill>
                <a:srgbClr val="0070C0"/>
              </a:solidFill>
              <a:latin typeface="+mn-lt"/>
              <a:ea typeface="+mn-ea"/>
              <a:cs typeface="+mn-cs"/>
            </a:rPr>
            <a:t>Programı</a:t>
          </a:r>
          <a:r>
            <a:rPr lang="tr-TR" sz="1700" b="1" kern="1200" dirty="0" smtClean="0">
              <a:solidFill>
                <a:srgbClr val="0070C0"/>
              </a:solidFill>
            </a:rPr>
            <a:t> </a:t>
          </a:r>
          <a:r>
            <a:rPr lang="tr-TR" b="1" kern="1200" dirty="0" smtClean="0">
              <a:solidFill>
                <a:srgbClr val="0070C0"/>
              </a:solidFill>
              <a:latin typeface="+mn-lt"/>
              <a:ea typeface="+mn-ea"/>
              <a:cs typeface="+mn-cs"/>
            </a:rPr>
            <a:t>için)</a:t>
          </a:r>
          <a:endParaRPr lang="tr-TR" b="1" kern="1200" dirty="0">
            <a:solidFill>
              <a:srgbClr val="0070C0"/>
            </a:solidFill>
            <a:latin typeface="+mn-lt"/>
            <a:ea typeface="+mn-ea"/>
            <a:cs typeface="+mn-cs"/>
          </a:endParaRPr>
        </a:p>
      </dgm:t>
    </dgm:pt>
    <dgm:pt modelId="{0240EF47-AF53-4665-B19F-BDCE8FA92351}" type="parTrans" cxnId="{B6C0408E-62B9-4B51-AED8-1901873DA9C0}">
      <dgm:prSet/>
      <dgm:spPr/>
      <dgm:t>
        <a:bodyPr/>
        <a:lstStyle/>
        <a:p>
          <a:endParaRPr lang="tr-TR"/>
        </a:p>
      </dgm:t>
    </dgm:pt>
    <dgm:pt modelId="{83B3E690-F9AD-435B-9BDB-67729E717DC1}" type="sibTrans" cxnId="{B6C0408E-62B9-4B51-AED8-1901873DA9C0}">
      <dgm:prSet/>
      <dgm:spPr/>
      <dgm:t>
        <a:bodyPr/>
        <a:lstStyle/>
        <a:p>
          <a:endParaRPr lang="tr-TR"/>
        </a:p>
      </dgm:t>
    </dgm:pt>
    <dgm:pt modelId="{FE8B2A3E-6994-4291-8CD2-30A9CEF6066F}">
      <dgm:prSet phldrT="[Metin]" custT="1"/>
      <dgm:spPr>
        <a:solidFill>
          <a:schemeClr val="accent4">
            <a:lumMod val="20000"/>
            <a:lumOff val="80000"/>
            <a:alpha val="90000"/>
          </a:schemeClr>
        </a:solidFill>
      </dgm:spPr>
      <dgm:t>
        <a:bodyPr/>
        <a:lstStyle/>
        <a:p>
          <a:pPr marL="171450" indent="-171450" defTabSz="711200">
            <a:lnSpc>
              <a:spcPct val="90000"/>
            </a:lnSpc>
            <a:spcBef>
              <a:spcPct val="0"/>
            </a:spcBef>
            <a:spcAft>
              <a:spcPct val="15000"/>
            </a:spcAft>
            <a:buNone/>
          </a:pPr>
          <a:r>
            <a:rPr lang="tr-TR" sz="1600" dirty="0" smtClean="0"/>
            <a:t>Girişimcilik Eğitimini (Geleneksel ve/veya İleri Girişimci Eğitimi) tamamlamış olmalı</a:t>
          </a:r>
          <a:endParaRPr lang="tr-TR" sz="1600" dirty="0"/>
        </a:p>
      </dgm:t>
    </dgm:pt>
    <dgm:pt modelId="{F0F4C313-A666-40CC-B99E-2AA1346A291C}" type="sibTrans" cxnId="{9AB15630-4F05-4E05-B182-BE8B76A6AEE2}">
      <dgm:prSet/>
      <dgm:spPr/>
      <dgm:t>
        <a:bodyPr/>
        <a:lstStyle/>
        <a:p>
          <a:endParaRPr lang="tr-TR"/>
        </a:p>
      </dgm:t>
    </dgm:pt>
    <dgm:pt modelId="{51035996-E543-4E49-8ED7-3D66AF3A7D38}" type="parTrans" cxnId="{9AB15630-4F05-4E05-B182-BE8B76A6AEE2}">
      <dgm:prSet/>
      <dgm:spPr/>
      <dgm:t>
        <a:bodyPr/>
        <a:lstStyle/>
        <a:p>
          <a:endParaRPr lang="tr-TR"/>
        </a:p>
      </dgm:t>
    </dgm:pt>
    <dgm:pt modelId="{3BBFAB21-F00A-4512-AA6C-23DBF630DE1B}">
      <dgm:prSet phldrT="[Metin]" custT="1"/>
      <dgm:spPr>
        <a:solidFill>
          <a:schemeClr val="accent4">
            <a:lumMod val="20000"/>
            <a:lumOff val="80000"/>
            <a:alpha val="90000"/>
          </a:schemeClr>
        </a:solidFill>
      </dgm:spPr>
      <dgm:t>
        <a:bodyPr/>
        <a:lstStyle/>
        <a:p>
          <a:pPr marL="171450" indent="-171450" defTabSz="711200">
            <a:lnSpc>
              <a:spcPct val="90000"/>
            </a:lnSpc>
            <a:spcBef>
              <a:spcPct val="0"/>
            </a:spcBef>
            <a:spcAft>
              <a:spcPct val="15000"/>
            </a:spcAft>
            <a:buNone/>
          </a:pPr>
          <a:r>
            <a:rPr lang="tr-TR" sz="1600" dirty="0" smtClean="0"/>
            <a:t>Kurucu ortak payı en az %50 olmalı</a:t>
          </a:r>
          <a:endParaRPr lang="tr-TR" sz="1600" dirty="0"/>
        </a:p>
      </dgm:t>
    </dgm:pt>
    <dgm:pt modelId="{84A461E2-C747-44E9-861E-6D131E5AB6CA}" type="sibTrans" cxnId="{1A3FB75F-7E12-4A7C-A130-94A35DFCBEC4}">
      <dgm:prSet/>
      <dgm:spPr/>
      <dgm:t>
        <a:bodyPr/>
        <a:lstStyle/>
        <a:p>
          <a:endParaRPr lang="tr-TR"/>
        </a:p>
      </dgm:t>
    </dgm:pt>
    <dgm:pt modelId="{928007F0-1DAF-4E80-A2AA-C6B398A639D8}" type="parTrans" cxnId="{1A3FB75F-7E12-4A7C-A130-94A35DFCBEC4}">
      <dgm:prSet/>
      <dgm:spPr/>
      <dgm:t>
        <a:bodyPr/>
        <a:lstStyle/>
        <a:p>
          <a:endParaRPr lang="tr-TR"/>
        </a:p>
      </dgm:t>
    </dgm:pt>
    <dgm:pt modelId="{B418CA56-8E0E-4903-951A-3DEFEFA81E1E}">
      <dgm:prSet phldrT="[Metin]" custT="1"/>
      <dgm:spPr>
        <a:solidFill>
          <a:schemeClr val="accent4">
            <a:lumMod val="20000"/>
            <a:lumOff val="80000"/>
            <a:alpha val="90000"/>
          </a:schemeClr>
        </a:solidFill>
      </dgm:spPr>
      <dgm:t>
        <a:bodyPr/>
        <a:lstStyle/>
        <a:p>
          <a:pPr marL="171450" indent="-171450" defTabSz="711200">
            <a:lnSpc>
              <a:spcPct val="90000"/>
            </a:lnSpc>
            <a:spcBef>
              <a:spcPct val="0"/>
            </a:spcBef>
            <a:spcAft>
              <a:spcPct val="15000"/>
            </a:spcAft>
            <a:buNone/>
          </a:pPr>
          <a:r>
            <a:rPr lang="tr-TR" sz="1600" dirty="0" smtClean="0"/>
            <a:t>Gerçek kişi statüsünde bir firması olmamalı – </a:t>
          </a:r>
          <a:r>
            <a:rPr lang="tr-TR" sz="1600" b="1" dirty="0" smtClean="0"/>
            <a:t>3 yıl</a:t>
          </a:r>
          <a:endParaRPr lang="tr-TR" sz="1600" dirty="0"/>
        </a:p>
      </dgm:t>
    </dgm:pt>
    <dgm:pt modelId="{68ADE753-29B9-4D4F-B24A-985C007DECFF}" type="sibTrans" cxnId="{C102B0DC-9F33-46C3-8977-AAAABCE7F7DC}">
      <dgm:prSet/>
      <dgm:spPr/>
      <dgm:t>
        <a:bodyPr/>
        <a:lstStyle/>
        <a:p>
          <a:endParaRPr lang="tr-TR"/>
        </a:p>
      </dgm:t>
    </dgm:pt>
    <dgm:pt modelId="{92D769A6-6CCD-4222-85D6-F89C270C8C34}" type="parTrans" cxnId="{C102B0DC-9F33-46C3-8977-AAAABCE7F7DC}">
      <dgm:prSet/>
      <dgm:spPr/>
      <dgm:t>
        <a:bodyPr/>
        <a:lstStyle/>
        <a:p>
          <a:endParaRPr lang="tr-TR"/>
        </a:p>
      </dgm:t>
    </dgm:pt>
    <dgm:pt modelId="{38660E96-BF78-46AC-A1F1-330F5DC4826D}">
      <dgm:prSet phldrT="[Metin]" custT="1"/>
      <dgm:spPr>
        <a:solidFill>
          <a:schemeClr val="accent4">
            <a:lumMod val="20000"/>
            <a:lumOff val="80000"/>
            <a:alpha val="90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tr-TR" sz="1600" dirty="0" smtClean="0"/>
            <a:t>Tüzel kişi statüsünde kurulmuş herhangi bir firmada %30 ve üzeri ortaklığı olmamalı – </a:t>
          </a:r>
          <a:r>
            <a:rPr lang="tr-TR" sz="1600" b="1" dirty="0" smtClean="0"/>
            <a:t>3 yıl </a:t>
          </a:r>
          <a:endParaRPr lang="tr-TR" sz="1600" dirty="0"/>
        </a:p>
      </dgm:t>
    </dgm:pt>
    <dgm:pt modelId="{9B1B841C-5252-458E-84B9-0E0D4BBE1C52}" type="sibTrans" cxnId="{F2DF0C96-A2A2-4FAD-AD40-ED9A4733245A}">
      <dgm:prSet/>
      <dgm:spPr/>
      <dgm:t>
        <a:bodyPr/>
        <a:lstStyle/>
        <a:p>
          <a:endParaRPr lang="tr-TR"/>
        </a:p>
      </dgm:t>
    </dgm:pt>
    <dgm:pt modelId="{AC01C16B-BF89-4E86-98E4-BBED22654A95}" type="parTrans" cxnId="{F2DF0C96-A2A2-4FAD-AD40-ED9A4733245A}">
      <dgm:prSet/>
      <dgm:spPr/>
      <dgm:t>
        <a:bodyPr/>
        <a:lstStyle/>
        <a:p>
          <a:endParaRPr lang="tr-TR"/>
        </a:p>
      </dgm:t>
    </dgm:pt>
    <dgm:pt modelId="{14EA1419-CAA8-4C3A-9A12-D6C8C47A2EDE}">
      <dgm:prSet phldrT="[Metin]" custT="1"/>
      <dgm:spPr>
        <a:solidFill>
          <a:schemeClr val="accent4">
            <a:lumMod val="20000"/>
            <a:lumOff val="80000"/>
            <a:alpha val="90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tr-TR" sz="1600" dirty="0" smtClean="0"/>
            <a:t>Daha önce programdan yararlanmamış olmalı</a:t>
          </a:r>
          <a:endParaRPr lang="tr-TR" sz="1600" dirty="0"/>
        </a:p>
      </dgm:t>
    </dgm:pt>
    <dgm:pt modelId="{059027E9-EA92-44B9-B92C-7D47B157B315}" type="sibTrans" cxnId="{65EEDC4D-8F8A-4245-8C81-79D8304E3BF2}">
      <dgm:prSet/>
      <dgm:spPr/>
      <dgm:t>
        <a:bodyPr/>
        <a:lstStyle/>
        <a:p>
          <a:endParaRPr lang="tr-TR"/>
        </a:p>
      </dgm:t>
    </dgm:pt>
    <dgm:pt modelId="{110EF119-4FE5-4C38-8E64-2B63CAABCEBA}" type="parTrans" cxnId="{65EEDC4D-8F8A-4245-8C81-79D8304E3BF2}">
      <dgm:prSet/>
      <dgm:spPr/>
      <dgm:t>
        <a:bodyPr/>
        <a:lstStyle/>
        <a:p>
          <a:endParaRPr lang="tr-TR"/>
        </a:p>
      </dgm:t>
    </dgm:pt>
    <dgm:pt modelId="{D46CEF31-1071-44A4-B1D0-834B85AC950D}">
      <dgm:prSet phldrT="[Metin]" custT="1"/>
      <dgm:spPr>
        <a:solidFill>
          <a:schemeClr val="accent4">
            <a:lumMod val="20000"/>
            <a:lumOff val="80000"/>
            <a:alpha val="90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tr-TR" sz="1600" dirty="0" smtClean="0"/>
            <a:t>İşletmeyi münferiden temsile yetkili olmalı</a:t>
          </a:r>
          <a:endParaRPr lang="tr-TR" sz="1600" dirty="0"/>
        </a:p>
      </dgm:t>
    </dgm:pt>
    <dgm:pt modelId="{1435494E-CB19-4A3A-B295-9F2FDE4659A8}" type="sibTrans" cxnId="{5CA42A8D-D323-4A26-BF30-327C4A1F8B8B}">
      <dgm:prSet/>
      <dgm:spPr/>
      <dgm:t>
        <a:bodyPr/>
        <a:lstStyle/>
        <a:p>
          <a:endParaRPr lang="tr-TR"/>
        </a:p>
      </dgm:t>
    </dgm:pt>
    <dgm:pt modelId="{3B50A44C-49BC-49FC-939F-90227BEB02AC}" type="parTrans" cxnId="{5CA42A8D-D323-4A26-BF30-327C4A1F8B8B}">
      <dgm:prSet/>
      <dgm:spPr/>
      <dgm:t>
        <a:bodyPr/>
        <a:lstStyle/>
        <a:p>
          <a:endParaRPr lang="tr-TR"/>
        </a:p>
      </dgm:t>
    </dgm:pt>
    <dgm:pt modelId="{3CB823D8-E23B-4554-B1C7-71FCFCE98663}" type="pres">
      <dgm:prSet presAssocID="{7A88DEE9-EBF6-4B7C-BD6C-E08CB6F50A15}" presName="Name0" presStyleCnt="0">
        <dgm:presLayoutVars>
          <dgm:dir/>
          <dgm:animLvl val="lvl"/>
          <dgm:resizeHandles/>
        </dgm:presLayoutVars>
      </dgm:prSet>
      <dgm:spPr/>
      <dgm:t>
        <a:bodyPr/>
        <a:lstStyle/>
        <a:p>
          <a:endParaRPr lang="tr-TR"/>
        </a:p>
      </dgm:t>
    </dgm:pt>
    <dgm:pt modelId="{E4D017E0-3716-45F6-85C7-00671D77A837}" type="pres">
      <dgm:prSet presAssocID="{AC4C6EC5-6868-4F0F-8BC7-841C45270086}" presName="linNode" presStyleCnt="0"/>
      <dgm:spPr/>
    </dgm:pt>
    <dgm:pt modelId="{E3781489-7377-46BB-A759-B732A13BC53A}" type="pres">
      <dgm:prSet presAssocID="{AC4C6EC5-6868-4F0F-8BC7-841C45270086}" presName="parentShp" presStyleLbl="node1" presStyleIdx="0" presStyleCnt="2">
        <dgm:presLayoutVars>
          <dgm:bulletEnabled val="1"/>
        </dgm:presLayoutVars>
      </dgm:prSet>
      <dgm:spPr/>
      <dgm:t>
        <a:bodyPr/>
        <a:lstStyle/>
        <a:p>
          <a:endParaRPr lang="tr-TR"/>
        </a:p>
      </dgm:t>
    </dgm:pt>
    <dgm:pt modelId="{966C21F0-3F7F-40EB-8DE3-04068F0A6224}" type="pres">
      <dgm:prSet presAssocID="{AC4C6EC5-6868-4F0F-8BC7-841C45270086}" presName="childShp" presStyleLbl="bgAccFollowNode1" presStyleIdx="0" presStyleCnt="2" custScaleX="132018" custScaleY="176272" custLinFactNeighborX="1061" custLinFactNeighborY="-10881">
        <dgm:presLayoutVars>
          <dgm:bulletEnabled val="1"/>
        </dgm:presLayoutVars>
      </dgm:prSet>
      <dgm:spPr/>
      <dgm:t>
        <a:bodyPr/>
        <a:lstStyle/>
        <a:p>
          <a:endParaRPr lang="tr-TR"/>
        </a:p>
      </dgm:t>
    </dgm:pt>
    <dgm:pt modelId="{F392A63E-B58F-4600-93A5-248FC217F000}" type="pres">
      <dgm:prSet presAssocID="{8DB1D895-B551-4ACC-87AC-B896AD2279AE}" presName="spacing" presStyleCnt="0"/>
      <dgm:spPr/>
    </dgm:pt>
    <dgm:pt modelId="{39D0BE1E-4F0A-4054-9F49-880D428AF2DA}" type="pres">
      <dgm:prSet presAssocID="{981F653B-8B9C-4161-B082-06976D96EEF4}" presName="linNode" presStyleCnt="0"/>
      <dgm:spPr/>
    </dgm:pt>
    <dgm:pt modelId="{E931C29D-9B48-4548-AFEF-3C953D70555F}" type="pres">
      <dgm:prSet presAssocID="{981F653B-8B9C-4161-B082-06976D96EEF4}" presName="parentShp" presStyleLbl="node1" presStyleIdx="1" presStyleCnt="2" custScaleX="89782">
        <dgm:presLayoutVars>
          <dgm:bulletEnabled val="1"/>
        </dgm:presLayoutVars>
      </dgm:prSet>
      <dgm:spPr/>
      <dgm:t>
        <a:bodyPr/>
        <a:lstStyle/>
        <a:p>
          <a:endParaRPr lang="tr-TR"/>
        </a:p>
      </dgm:t>
    </dgm:pt>
    <dgm:pt modelId="{94EB02A2-F30E-48CC-95CA-A3F9C38B870A}" type="pres">
      <dgm:prSet presAssocID="{981F653B-8B9C-4161-B082-06976D96EEF4}" presName="childShp" presStyleLbl="bgAccFollowNode1" presStyleIdx="1" presStyleCnt="2" custScaleX="115030" custScaleY="160725" custLinFactNeighborX="1328" custLinFactNeighborY="3533">
        <dgm:presLayoutVars>
          <dgm:bulletEnabled val="1"/>
        </dgm:presLayoutVars>
      </dgm:prSet>
      <dgm:spPr/>
      <dgm:t>
        <a:bodyPr/>
        <a:lstStyle/>
        <a:p>
          <a:endParaRPr lang="tr-TR"/>
        </a:p>
      </dgm:t>
    </dgm:pt>
  </dgm:ptLst>
  <dgm:cxnLst>
    <dgm:cxn modelId="{92C34F1E-E41D-44CB-AF6E-CDE64F31F75C}" type="presOf" srcId="{8805FF10-6283-483F-B642-0B845EC311DD}" destId="{94EB02A2-F30E-48CC-95CA-A3F9C38B870A}" srcOrd="0" destOrd="1" presId="urn:microsoft.com/office/officeart/2005/8/layout/vList6"/>
    <dgm:cxn modelId="{DE1219D0-D70D-447C-A695-BBF939BB2034}" srcId="{7A88DEE9-EBF6-4B7C-BD6C-E08CB6F50A15}" destId="{981F653B-8B9C-4161-B082-06976D96EEF4}" srcOrd="1" destOrd="0" parTransId="{2EF0436D-4339-4006-8391-4B5D540B46DE}" sibTransId="{9C32DFC6-BE65-4622-9CFA-025C9E88E466}"/>
    <dgm:cxn modelId="{2BF2FB8D-63B1-445A-97E7-A43A9CF03789}" type="presOf" srcId="{14EA1419-CAA8-4C3A-9A12-D6C8C47A2EDE}" destId="{966C21F0-3F7F-40EB-8DE3-04068F0A6224}" srcOrd="0" destOrd="4" presId="urn:microsoft.com/office/officeart/2005/8/layout/vList6"/>
    <dgm:cxn modelId="{7D52D471-F22A-45C1-AB13-7CDD785AB60B}" type="presOf" srcId="{B418CA56-8E0E-4903-951A-3DEFEFA81E1E}" destId="{966C21F0-3F7F-40EB-8DE3-04068F0A6224}" srcOrd="0" destOrd="2" presId="urn:microsoft.com/office/officeart/2005/8/layout/vList6"/>
    <dgm:cxn modelId="{4EF0262F-CBC8-4898-83EB-092980D31EC0}" srcId="{981F653B-8B9C-4161-B082-06976D96EEF4}" destId="{8805FF10-6283-483F-B642-0B845EC311DD}" srcOrd="1" destOrd="0" parTransId="{3349A456-F6B3-4FE2-B923-A9AC068052C2}" sibTransId="{69D7998E-320E-477E-A1FB-BE111BD79F7D}"/>
    <dgm:cxn modelId="{C8CC833F-DA06-4B65-AEF0-E1F4E4715E59}" type="presOf" srcId="{38660E96-BF78-46AC-A1F1-330F5DC4826D}" destId="{966C21F0-3F7F-40EB-8DE3-04068F0A6224}" srcOrd="0" destOrd="3" presId="urn:microsoft.com/office/officeart/2005/8/layout/vList6"/>
    <dgm:cxn modelId="{C102B0DC-9F33-46C3-8977-AAAABCE7F7DC}" srcId="{AC4C6EC5-6868-4F0F-8BC7-841C45270086}" destId="{B418CA56-8E0E-4903-951A-3DEFEFA81E1E}" srcOrd="2" destOrd="0" parTransId="{92D769A6-6CCD-4222-85D6-F89C270C8C34}" sibTransId="{68ADE753-29B9-4D4F-B24A-985C007DECFF}"/>
    <dgm:cxn modelId="{26567C06-6845-4432-82C9-279BD7CDFCBC}" type="presOf" srcId="{208146E2-9B9F-43B4-AAEB-9AF4C8D4AFEC}" destId="{94EB02A2-F30E-48CC-95CA-A3F9C38B870A}" srcOrd="0" destOrd="3" presId="urn:microsoft.com/office/officeart/2005/8/layout/vList6"/>
    <dgm:cxn modelId="{8F31E62D-BEFB-4A9B-A229-3DF71EDA4945}" type="presOf" srcId="{AC4C6EC5-6868-4F0F-8BC7-841C45270086}" destId="{E3781489-7377-46BB-A759-B732A13BC53A}" srcOrd="0" destOrd="0" presId="urn:microsoft.com/office/officeart/2005/8/layout/vList6"/>
    <dgm:cxn modelId="{08FE507D-7CDC-40D5-9105-45E72C44F819}" type="presOf" srcId="{FE8B2A3E-6994-4291-8CD2-30A9CEF6066F}" destId="{966C21F0-3F7F-40EB-8DE3-04068F0A6224}" srcOrd="0" destOrd="0" presId="urn:microsoft.com/office/officeart/2005/8/layout/vList6"/>
    <dgm:cxn modelId="{B6C0408E-62B9-4B51-AED8-1901873DA9C0}" srcId="{981F653B-8B9C-4161-B082-06976D96EEF4}" destId="{26657EE1-94CB-4469-BBBE-06ED33FBEE2D}" srcOrd="2" destOrd="0" parTransId="{0240EF47-AF53-4665-B19F-BDCE8FA92351}" sibTransId="{83B3E690-F9AD-435B-9BDB-67729E717DC1}"/>
    <dgm:cxn modelId="{BA1E425F-821D-4807-A5C2-03950CFD853D}" srcId="{981F653B-8B9C-4161-B082-06976D96EEF4}" destId="{503337B1-4EDC-49E6-9B3A-34066D323410}" srcOrd="0" destOrd="0" parTransId="{4D36CF55-DA24-4BC5-8B08-6C10CCC61245}" sibTransId="{1F5682A4-8C1E-40CF-AD37-0B39568D240D}"/>
    <dgm:cxn modelId="{883FB22E-3654-441C-BD19-BAF55BD6795A}" type="presOf" srcId="{26657EE1-94CB-4469-BBBE-06ED33FBEE2D}" destId="{94EB02A2-F30E-48CC-95CA-A3F9C38B870A}" srcOrd="0" destOrd="2" presId="urn:microsoft.com/office/officeart/2005/8/layout/vList6"/>
    <dgm:cxn modelId="{009C8152-12C1-408E-9FF0-91645D5CAA40}" srcId="{981F653B-8B9C-4161-B082-06976D96EEF4}" destId="{4A3D4BE9-B53D-4B69-855D-D4912BB8DA0D}" srcOrd="4" destOrd="0" parTransId="{BAD288FA-3266-4A8B-9CB8-348A7F024269}" sibTransId="{CB1ED5DD-0263-4CBB-8AD7-E28BB792E282}"/>
    <dgm:cxn modelId="{5CA42A8D-D323-4A26-BF30-327C4A1F8B8B}" srcId="{AC4C6EC5-6868-4F0F-8BC7-841C45270086}" destId="{D46CEF31-1071-44A4-B1D0-834B85AC950D}" srcOrd="5" destOrd="0" parTransId="{3B50A44C-49BC-49FC-939F-90227BEB02AC}" sibTransId="{1435494E-CB19-4A3A-B295-9F2FDE4659A8}"/>
    <dgm:cxn modelId="{D59BDF5C-64C5-41C6-AD5A-1E96F3E7488C}" type="presOf" srcId="{D46CEF31-1071-44A4-B1D0-834B85AC950D}" destId="{966C21F0-3F7F-40EB-8DE3-04068F0A6224}" srcOrd="0" destOrd="5" presId="urn:microsoft.com/office/officeart/2005/8/layout/vList6"/>
    <dgm:cxn modelId="{D3D322FB-995D-4BC4-B8EF-C5A5A9E29F07}" type="presOf" srcId="{3BBFAB21-F00A-4512-AA6C-23DBF630DE1B}" destId="{966C21F0-3F7F-40EB-8DE3-04068F0A6224}" srcOrd="0" destOrd="1" presId="urn:microsoft.com/office/officeart/2005/8/layout/vList6"/>
    <dgm:cxn modelId="{20206F77-6F00-4885-8D2F-D922AEDD595D}" srcId="{7A88DEE9-EBF6-4B7C-BD6C-E08CB6F50A15}" destId="{AC4C6EC5-6868-4F0F-8BC7-841C45270086}" srcOrd="0" destOrd="0" parTransId="{F9BA0D48-D206-4702-B7ED-1CDCE857CCC0}" sibTransId="{8DB1D895-B551-4ACC-87AC-B896AD2279AE}"/>
    <dgm:cxn modelId="{F2DF0C96-A2A2-4FAD-AD40-ED9A4733245A}" srcId="{AC4C6EC5-6868-4F0F-8BC7-841C45270086}" destId="{38660E96-BF78-46AC-A1F1-330F5DC4826D}" srcOrd="3" destOrd="0" parTransId="{AC01C16B-BF89-4E86-98E4-BBED22654A95}" sibTransId="{9B1B841C-5252-458E-84B9-0E0D4BBE1C52}"/>
    <dgm:cxn modelId="{B2FA7077-8137-44A7-8142-664AB1B32E6C}" srcId="{981F653B-8B9C-4161-B082-06976D96EEF4}" destId="{208146E2-9B9F-43B4-AAEB-9AF4C8D4AFEC}" srcOrd="3" destOrd="0" parTransId="{9ADFA092-78CD-492B-80B5-7DFB059AA4D4}" sibTransId="{F0AFB3E1-AADA-433A-BFBA-14FCBC6E892D}"/>
    <dgm:cxn modelId="{1A3FB75F-7E12-4A7C-A130-94A35DFCBEC4}" srcId="{AC4C6EC5-6868-4F0F-8BC7-841C45270086}" destId="{3BBFAB21-F00A-4512-AA6C-23DBF630DE1B}" srcOrd="1" destOrd="0" parTransId="{928007F0-1DAF-4E80-A2AA-C6B398A639D8}" sibTransId="{84A461E2-C747-44E9-861E-6D131E5AB6CA}"/>
    <dgm:cxn modelId="{6C3C0310-2705-4E52-B1E0-491E17CAEA38}" type="presOf" srcId="{503337B1-4EDC-49E6-9B3A-34066D323410}" destId="{94EB02A2-F30E-48CC-95CA-A3F9C38B870A}" srcOrd="0" destOrd="0" presId="urn:microsoft.com/office/officeart/2005/8/layout/vList6"/>
    <dgm:cxn modelId="{666B2B22-3EB1-46DD-87D3-EC2AA6050AE9}" type="presOf" srcId="{981F653B-8B9C-4161-B082-06976D96EEF4}" destId="{E931C29D-9B48-4548-AFEF-3C953D70555F}" srcOrd="0" destOrd="0" presId="urn:microsoft.com/office/officeart/2005/8/layout/vList6"/>
    <dgm:cxn modelId="{936AAEBE-8527-45EF-8F4C-1F44D5CE6CD5}" type="presOf" srcId="{7A88DEE9-EBF6-4B7C-BD6C-E08CB6F50A15}" destId="{3CB823D8-E23B-4554-B1C7-71FCFCE98663}" srcOrd="0" destOrd="0" presId="urn:microsoft.com/office/officeart/2005/8/layout/vList6"/>
    <dgm:cxn modelId="{65EEDC4D-8F8A-4245-8C81-79D8304E3BF2}" srcId="{AC4C6EC5-6868-4F0F-8BC7-841C45270086}" destId="{14EA1419-CAA8-4C3A-9A12-D6C8C47A2EDE}" srcOrd="4" destOrd="0" parTransId="{110EF119-4FE5-4C38-8E64-2B63CAABCEBA}" sibTransId="{059027E9-EA92-44B9-B92C-7D47B157B315}"/>
    <dgm:cxn modelId="{9AB15630-4F05-4E05-B182-BE8B76A6AEE2}" srcId="{AC4C6EC5-6868-4F0F-8BC7-841C45270086}" destId="{FE8B2A3E-6994-4291-8CD2-30A9CEF6066F}" srcOrd="0" destOrd="0" parTransId="{51035996-E543-4E49-8ED7-3D66AF3A7D38}" sibTransId="{F0F4C313-A666-40CC-B99E-2AA1346A291C}"/>
    <dgm:cxn modelId="{CC591269-7659-4A1B-BB8A-E50EF61FC437}" type="presOf" srcId="{4A3D4BE9-B53D-4B69-855D-D4912BB8DA0D}" destId="{94EB02A2-F30E-48CC-95CA-A3F9C38B870A}" srcOrd="0" destOrd="4" presId="urn:microsoft.com/office/officeart/2005/8/layout/vList6"/>
    <dgm:cxn modelId="{1B78D860-C72B-4069-AC5A-1280C5DB3665}" type="presParOf" srcId="{3CB823D8-E23B-4554-B1C7-71FCFCE98663}" destId="{E4D017E0-3716-45F6-85C7-00671D77A837}" srcOrd="0" destOrd="0" presId="urn:microsoft.com/office/officeart/2005/8/layout/vList6"/>
    <dgm:cxn modelId="{5DA8B92A-D6BA-453C-B9D9-DA274A19FC67}" type="presParOf" srcId="{E4D017E0-3716-45F6-85C7-00671D77A837}" destId="{E3781489-7377-46BB-A759-B732A13BC53A}" srcOrd="0" destOrd="0" presId="urn:microsoft.com/office/officeart/2005/8/layout/vList6"/>
    <dgm:cxn modelId="{20D90833-7F70-4EC8-86A1-BAFE91DF5114}" type="presParOf" srcId="{E4D017E0-3716-45F6-85C7-00671D77A837}" destId="{966C21F0-3F7F-40EB-8DE3-04068F0A6224}" srcOrd="1" destOrd="0" presId="urn:microsoft.com/office/officeart/2005/8/layout/vList6"/>
    <dgm:cxn modelId="{FD175E5A-EED9-4514-844F-4965F9C7BF2F}" type="presParOf" srcId="{3CB823D8-E23B-4554-B1C7-71FCFCE98663}" destId="{F392A63E-B58F-4600-93A5-248FC217F000}" srcOrd="1" destOrd="0" presId="urn:microsoft.com/office/officeart/2005/8/layout/vList6"/>
    <dgm:cxn modelId="{9DCEB2F1-1E45-4FB6-8DD0-AA047E4D016D}" type="presParOf" srcId="{3CB823D8-E23B-4554-B1C7-71FCFCE98663}" destId="{39D0BE1E-4F0A-4054-9F49-880D428AF2DA}" srcOrd="2" destOrd="0" presId="urn:microsoft.com/office/officeart/2005/8/layout/vList6"/>
    <dgm:cxn modelId="{E980AF4D-C68E-400F-BC65-2329EF07F9E7}" type="presParOf" srcId="{39D0BE1E-4F0A-4054-9F49-880D428AF2DA}" destId="{E931C29D-9B48-4548-AFEF-3C953D70555F}" srcOrd="0" destOrd="0" presId="urn:microsoft.com/office/officeart/2005/8/layout/vList6"/>
    <dgm:cxn modelId="{13603765-865C-4AAD-8F16-75FEFCE754BB}" type="presParOf" srcId="{39D0BE1E-4F0A-4054-9F49-880D428AF2DA}" destId="{94EB02A2-F30E-48CC-95CA-A3F9C38B870A}"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E341662-2ADF-4BFB-9D8D-0B51F3D566A8}" type="doc">
      <dgm:prSet loTypeId="urn:microsoft.com/office/officeart/2005/8/layout/pList1" loCatId="list" qsTypeId="urn:microsoft.com/office/officeart/2005/8/quickstyle/3d1" qsCatId="3D" csTypeId="urn:microsoft.com/office/officeart/2005/8/colors/accent1_2" csCatId="accent1" phldr="1"/>
      <dgm:spPr/>
      <dgm:t>
        <a:bodyPr/>
        <a:lstStyle/>
        <a:p>
          <a:endParaRPr lang="en-GB"/>
        </a:p>
      </dgm:t>
    </dgm:pt>
    <dgm:pt modelId="{A4917341-2927-438D-AB46-CE8E9371F217}">
      <dgm:prSet phldrT="[Metin]" custT="1"/>
      <dgm:spPr/>
      <dgm:t>
        <a:bodyPr/>
        <a:lstStyle/>
        <a:p>
          <a:pPr rtl="0"/>
          <a:r>
            <a:rPr kumimoji="0" lang="tr-TR" sz="1800" b="0" i="0" u="none" strike="noStrike" cap="none" spc="0" normalizeH="0" baseline="0" noProof="0" dirty="0" smtClean="0">
              <a:ln>
                <a:noFill/>
              </a:ln>
              <a:solidFill>
                <a:schemeClr val="tx1"/>
              </a:solidFill>
              <a:effectLst/>
              <a:uLnTx/>
              <a:uFillTx/>
              <a:latin typeface="Calibri"/>
              <a:ea typeface="+mn-ea"/>
              <a:cs typeface="+mn-cs"/>
            </a:rPr>
            <a:t>Belirli bir temada</a:t>
          </a:r>
          <a:r>
            <a:rPr kumimoji="0" lang="tr-TR" sz="1800" b="0" i="0" u="none" strike="noStrike" cap="none" spc="0" normalizeH="0" noProof="0" dirty="0" smtClean="0">
              <a:ln>
                <a:noFill/>
              </a:ln>
              <a:solidFill>
                <a:schemeClr val="tx1"/>
              </a:solidFill>
              <a:effectLst/>
              <a:uLnTx/>
              <a:uFillTx/>
              <a:latin typeface="Calibri"/>
              <a:ea typeface="+mn-ea"/>
              <a:cs typeface="+mn-cs"/>
            </a:rPr>
            <a:t> veya tamamlayıcı/ilişkili birden çok temada ve </a:t>
          </a:r>
          <a:r>
            <a:rPr kumimoji="0" lang="tr-TR" sz="1800" b="1" i="0" u="none" strike="noStrike" cap="none" spc="0" normalizeH="0" noProof="0" dirty="0" smtClean="0">
              <a:ln>
                <a:noFill/>
              </a:ln>
              <a:solidFill>
                <a:schemeClr val="tx1"/>
              </a:solidFill>
              <a:effectLst/>
              <a:uLnTx/>
              <a:uFillTx/>
              <a:latin typeface="Calibri"/>
              <a:ea typeface="+mn-ea"/>
              <a:cs typeface="+mn-cs"/>
            </a:rPr>
            <a:t>İŞGEM Teknoloji Alanları Tablosunda belirtilen konulardaki </a:t>
          </a:r>
          <a:r>
            <a:rPr kumimoji="0" lang="tr-TR" sz="1800" b="0" i="0" u="none" strike="noStrike" cap="none" spc="0" normalizeH="0" noProof="0" dirty="0" smtClean="0">
              <a:ln>
                <a:noFill/>
              </a:ln>
              <a:solidFill>
                <a:schemeClr val="tx1"/>
              </a:solidFill>
              <a:effectLst/>
              <a:uLnTx/>
              <a:uFillTx/>
              <a:latin typeface="Calibri"/>
              <a:ea typeface="+mn-ea"/>
              <a:cs typeface="+mn-cs"/>
            </a:rPr>
            <a:t>iş fikirlerine sahip girişimcilerin işletmelere dönüşmesi ve işletmelerin gelişmesini sağlamak amacıyla işletilen yapılardır </a:t>
          </a:r>
          <a:endParaRPr lang="en-GB" sz="1800" dirty="0">
            <a:solidFill>
              <a:schemeClr val="tx1"/>
            </a:solidFill>
          </a:endParaRPr>
        </a:p>
      </dgm:t>
    </dgm:pt>
    <dgm:pt modelId="{76B0B62C-7AA3-4C68-AF8B-8445CB068217}" type="parTrans" cxnId="{76731A8F-7D6D-4D93-B665-F9C5A0A4C01F}">
      <dgm:prSet/>
      <dgm:spPr/>
      <dgm:t>
        <a:bodyPr/>
        <a:lstStyle/>
        <a:p>
          <a:endParaRPr lang="en-GB"/>
        </a:p>
      </dgm:t>
    </dgm:pt>
    <dgm:pt modelId="{C99908E2-4928-4448-814C-348CACEAF4A6}" type="sibTrans" cxnId="{76731A8F-7D6D-4D93-B665-F9C5A0A4C01F}">
      <dgm:prSet/>
      <dgm:spPr/>
      <dgm:t>
        <a:bodyPr/>
        <a:lstStyle/>
        <a:p>
          <a:endParaRPr lang="en-GB"/>
        </a:p>
      </dgm:t>
    </dgm:pt>
    <dgm:pt modelId="{C11AD0DF-F3DA-4F53-9046-7D4684DF88CC}">
      <dgm:prSet phldrT="[Metin]" custT="1"/>
      <dgm:spPr/>
      <dgm:t>
        <a:bodyPr/>
        <a:lstStyle/>
        <a:p>
          <a:pPr rtl="0"/>
          <a:r>
            <a:rPr lang="tr-TR" sz="1800" dirty="0" smtClean="0">
              <a:solidFill>
                <a:schemeClr val="tx1"/>
              </a:solidFill>
              <a:latin typeface="Calibri"/>
            </a:rPr>
            <a:t>Bir veya birden çok ilişkili temada ve </a:t>
          </a:r>
          <a:r>
            <a:rPr lang="tr-TR" sz="1800" b="1" dirty="0" smtClean="0">
              <a:solidFill>
                <a:schemeClr val="tx1"/>
              </a:solidFill>
              <a:latin typeface="Calibri"/>
            </a:rPr>
            <a:t>araştırma-geliştirme ve/veya ürün/süreç/hizmet yeniliği içeren teknoloji/yenilik odaklı iş fikri/proje sahibi </a:t>
          </a:r>
          <a:r>
            <a:rPr lang="tr-TR" sz="1800" dirty="0" smtClean="0">
              <a:solidFill>
                <a:schemeClr val="tx1"/>
              </a:solidFill>
              <a:latin typeface="Calibri"/>
            </a:rPr>
            <a:t>girişimci veya işletmelere yönelik hizmetler sunan yapıdır</a:t>
          </a:r>
          <a:endParaRPr lang="en-GB" sz="1800" dirty="0">
            <a:solidFill>
              <a:schemeClr val="tx1"/>
            </a:solidFill>
          </a:endParaRPr>
        </a:p>
      </dgm:t>
    </dgm:pt>
    <dgm:pt modelId="{FD9DF389-A155-48DF-8CB2-55F8E8538BEB}" type="parTrans" cxnId="{96F65045-35C5-486F-8146-F1F672794C62}">
      <dgm:prSet/>
      <dgm:spPr/>
      <dgm:t>
        <a:bodyPr/>
        <a:lstStyle/>
        <a:p>
          <a:endParaRPr lang="en-GB"/>
        </a:p>
      </dgm:t>
    </dgm:pt>
    <dgm:pt modelId="{14252408-6E6F-4164-AD00-C6F8831A6ABA}" type="sibTrans" cxnId="{96F65045-35C5-486F-8146-F1F672794C62}">
      <dgm:prSet/>
      <dgm:spPr/>
      <dgm:t>
        <a:bodyPr/>
        <a:lstStyle/>
        <a:p>
          <a:endParaRPr lang="en-GB"/>
        </a:p>
      </dgm:t>
    </dgm:pt>
    <dgm:pt modelId="{895FBC43-F101-41AD-9CD0-948015071F31}" type="pres">
      <dgm:prSet presAssocID="{DE341662-2ADF-4BFB-9D8D-0B51F3D566A8}" presName="Name0" presStyleCnt="0">
        <dgm:presLayoutVars>
          <dgm:dir/>
          <dgm:resizeHandles val="exact"/>
        </dgm:presLayoutVars>
      </dgm:prSet>
      <dgm:spPr/>
      <dgm:t>
        <a:bodyPr/>
        <a:lstStyle/>
        <a:p>
          <a:endParaRPr lang="en-GB"/>
        </a:p>
      </dgm:t>
    </dgm:pt>
    <dgm:pt modelId="{C66F8E92-C97F-4FBD-9CEF-E229A2F344EE}" type="pres">
      <dgm:prSet presAssocID="{A4917341-2927-438D-AB46-CE8E9371F217}" presName="compNode" presStyleCnt="0"/>
      <dgm:spPr/>
    </dgm:pt>
    <dgm:pt modelId="{5E0A7258-A4C3-4434-BE16-69104DEF3006}" type="pres">
      <dgm:prSet presAssocID="{A4917341-2927-438D-AB46-CE8E9371F217}" presName="pictRect" presStyleLbl="node1" presStyleIdx="0" presStyleCnt="2" custScaleX="135881" custScaleY="128159"/>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2000" r="-2000"/>
          </a:stretch>
        </a:blipFill>
      </dgm:spPr>
      <dgm:t>
        <a:bodyPr/>
        <a:lstStyle/>
        <a:p>
          <a:endParaRPr lang="tr-TR"/>
        </a:p>
      </dgm:t>
    </dgm:pt>
    <dgm:pt modelId="{E6D969EF-1F5D-41AA-9379-D7577C0217B7}" type="pres">
      <dgm:prSet presAssocID="{A4917341-2927-438D-AB46-CE8E9371F217}" presName="textRect" presStyleLbl="revTx" presStyleIdx="0" presStyleCnt="2" custScaleX="137460" custLinFactNeighborX="1835" custLinFactNeighborY="46137">
        <dgm:presLayoutVars>
          <dgm:bulletEnabled val="1"/>
        </dgm:presLayoutVars>
      </dgm:prSet>
      <dgm:spPr/>
      <dgm:t>
        <a:bodyPr/>
        <a:lstStyle/>
        <a:p>
          <a:endParaRPr lang="en-GB"/>
        </a:p>
      </dgm:t>
    </dgm:pt>
    <dgm:pt modelId="{8B35696E-2A17-489E-96B8-1E360CDDA1A5}" type="pres">
      <dgm:prSet presAssocID="{C99908E2-4928-4448-814C-348CACEAF4A6}" presName="sibTrans" presStyleLbl="sibTrans2D1" presStyleIdx="0" presStyleCnt="0"/>
      <dgm:spPr/>
      <dgm:t>
        <a:bodyPr/>
        <a:lstStyle/>
        <a:p>
          <a:endParaRPr lang="en-GB"/>
        </a:p>
      </dgm:t>
    </dgm:pt>
    <dgm:pt modelId="{78C46A60-C7A2-4255-BA7D-8F7D2C713928}" type="pres">
      <dgm:prSet presAssocID="{C11AD0DF-F3DA-4F53-9046-7D4684DF88CC}" presName="compNode" presStyleCnt="0"/>
      <dgm:spPr/>
    </dgm:pt>
    <dgm:pt modelId="{27E99E59-7DAC-4FA8-8964-E26727B26C10}" type="pres">
      <dgm:prSet presAssocID="{C11AD0DF-F3DA-4F53-9046-7D4684DF88CC}" presName="pictRect" presStyleLbl="node1" presStyleIdx="1" presStyleCnt="2" custScaleX="135881" custScaleY="128159"/>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4000" b="-4000"/>
          </a:stretch>
        </a:blipFill>
      </dgm:spPr>
      <dgm:t>
        <a:bodyPr/>
        <a:lstStyle/>
        <a:p>
          <a:endParaRPr lang="tr-TR"/>
        </a:p>
      </dgm:t>
    </dgm:pt>
    <dgm:pt modelId="{2B3550A4-ED98-4921-B2FD-FD3B212B4507}" type="pres">
      <dgm:prSet presAssocID="{C11AD0DF-F3DA-4F53-9046-7D4684DF88CC}" presName="textRect" presStyleLbl="revTx" presStyleIdx="1" presStyleCnt="2" custScaleX="136222" custLinFactNeighborY="55696">
        <dgm:presLayoutVars>
          <dgm:bulletEnabled val="1"/>
        </dgm:presLayoutVars>
      </dgm:prSet>
      <dgm:spPr/>
      <dgm:t>
        <a:bodyPr/>
        <a:lstStyle/>
        <a:p>
          <a:endParaRPr lang="en-GB"/>
        </a:p>
      </dgm:t>
    </dgm:pt>
  </dgm:ptLst>
  <dgm:cxnLst>
    <dgm:cxn modelId="{4FA423DA-910F-4CEE-A87F-72A23E383BE2}" type="presOf" srcId="{C11AD0DF-F3DA-4F53-9046-7D4684DF88CC}" destId="{2B3550A4-ED98-4921-B2FD-FD3B212B4507}" srcOrd="0" destOrd="0" presId="urn:microsoft.com/office/officeart/2005/8/layout/pList1"/>
    <dgm:cxn modelId="{E7798532-8134-4BE9-A691-42597D73E879}" type="presOf" srcId="{A4917341-2927-438D-AB46-CE8E9371F217}" destId="{E6D969EF-1F5D-41AA-9379-D7577C0217B7}" srcOrd="0" destOrd="0" presId="urn:microsoft.com/office/officeart/2005/8/layout/pList1"/>
    <dgm:cxn modelId="{F68DEDAF-7FAB-4922-848F-37B6C65B140A}" type="presOf" srcId="{DE341662-2ADF-4BFB-9D8D-0B51F3D566A8}" destId="{895FBC43-F101-41AD-9CD0-948015071F31}" srcOrd="0" destOrd="0" presId="urn:microsoft.com/office/officeart/2005/8/layout/pList1"/>
    <dgm:cxn modelId="{73ACD423-101E-4FD1-9DB3-6350D270577D}" type="presOf" srcId="{C99908E2-4928-4448-814C-348CACEAF4A6}" destId="{8B35696E-2A17-489E-96B8-1E360CDDA1A5}" srcOrd="0" destOrd="0" presId="urn:microsoft.com/office/officeart/2005/8/layout/pList1"/>
    <dgm:cxn modelId="{96F65045-35C5-486F-8146-F1F672794C62}" srcId="{DE341662-2ADF-4BFB-9D8D-0B51F3D566A8}" destId="{C11AD0DF-F3DA-4F53-9046-7D4684DF88CC}" srcOrd="1" destOrd="0" parTransId="{FD9DF389-A155-48DF-8CB2-55F8E8538BEB}" sibTransId="{14252408-6E6F-4164-AD00-C6F8831A6ABA}"/>
    <dgm:cxn modelId="{76731A8F-7D6D-4D93-B665-F9C5A0A4C01F}" srcId="{DE341662-2ADF-4BFB-9D8D-0B51F3D566A8}" destId="{A4917341-2927-438D-AB46-CE8E9371F217}" srcOrd="0" destOrd="0" parTransId="{76B0B62C-7AA3-4C68-AF8B-8445CB068217}" sibTransId="{C99908E2-4928-4448-814C-348CACEAF4A6}"/>
    <dgm:cxn modelId="{FDE7FACF-B87E-4A05-B642-085027F9A8B4}" type="presParOf" srcId="{895FBC43-F101-41AD-9CD0-948015071F31}" destId="{C66F8E92-C97F-4FBD-9CEF-E229A2F344EE}" srcOrd="0" destOrd="0" presId="urn:microsoft.com/office/officeart/2005/8/layout/pList1"/>
    <dgm:cxn modelId="{9F240156-C98E-4D64-893E-0D0ECDC197C6}" type="presParOf" srcId="{C66F8E92-C97F-4FBD-9CEF-E229A2F344EE}" destId="{5E0A7258-A4C3-4434-BE16-69104DEF3006}" srcOrd="0" destOrd="0" presId="urn:microsoft.com/office/officeart/2005/8/layout/pList1"/>
    <dgm:cxn modelId="{26060089-4F34-44B3-B1E7-22537D83DD41}" type="presParOf" srcId="{C66F8E92-C97F-4FBD-9CEF-E229A2F344EE}" destId="{E6D969EF-1F5D-41AA-9379-D7577C0217B7}" srcOrd="1" destOrd="0" presId="urn:microsoft.com/office/officeart/2005/8/layout/pList1"/>
    <dgm:cxn modelId="{C83B9F73-1A76-40B1-9E66-4674B92269EA}" type="presParOf" srcId="{895FBC43-F101-41AD-9CD0-948015071F31}" destId="{8B35696E-2A17-489E-96B8-1E360CDDA1A5}" srcOrd="1" destOrd="0" presId="urn:microsoft.com/office/officeart/2005/8/layout/pList1"/>
    <dgm:cxn modelId="{E8933EB7-05A4-45F9-BA85-233EA8EF7C16}" type="presParOf" srcId="{895FBC43-F101-41AD-9CD0-948015071F31}" destId="{78C46A60-C7A2-4255-BA7D-8F7D2C713928}" srcOrd="2" destOrd="0" presId="urn:microsoft.com/office/officeart/2005/8/layout/pList1"/>
    <dgm:cxn modelId="{DF405191-8C4A-4993-8E71-431969AC54E6}" type="presParOf" srcId="{78C46A60-C7A2-4255-BA7D-8F7D2C713928}" destId="{27E99E59-7DAC-4FA8-8964-E26727B26C10}" srcOrd="0" destOrd="0" presId="urn:microsoft.com/office/officeart/2005/8/layout/pList1"/>
    <dgm:cxn modelId="{1B41F281-5C93-4EF6-921A-F64B8DC966B3}" type="presParOf" srcId="{78C46A60-C7A2-4255-BA7D-8F7D2C713928}" destId="{2B3550A4-ED98-4921-B2FD-FD3B212B4507}"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0C60095-3092-4F03-A5C8-D46695CD6281}" type="doc">
      <dgm:prSet loTypeId="urn:microsoft.com/office/officeart/2008/layout/RadialCluster" loCatId="cycle" qsTypeId="urn:microsoft.com/office/officeart/2005/8/quickstyle/3d2" qsCatId="3D" csTypeId="urn:microsoft.com/office/officeart/2005/8/colors/accent0_3" csCatId="mainScheme" phldr="1"/>
      <dgm:spPr/>
      <dgm:t>
        <a:bodyPr/>
        <a:lstStyle/>
        <a:p>
          <a:endParaRPr lang="tr-TR"/>
        </a:p>
      </dgm:t>
    </dgm:pt>
    <dgm:pt modelId="{D054890A-70E3-40EC-9643-3AA138088397}">
      <dgm:prSet phldrT="[Metin]" custT="1"/>
      <dgm:spPr/>
      <dgm:t>
        <a:bodyPr/>
        <a:lstStyle/>
        <a:p>
          <a:pPr algn="ctr">
            <a:spcAft>
              <a:spcPts val="0"/>
            </a:spcAft>
          </a:pPr>
          <a:r>
            <a:rPr lang="tr-TR" sz="2000" b="1" dirty="0">
              <a:latin typeface="Calibri" pitchFamily="34" charset="0"/>
            </a:rPr>
            <a:t>KOBİ-KOBİ İşbirliği </a:t>
          </a:r>
        </a:p>
      </dgm:t>
    </dgm:pt>
    <dgm:pt modelId="{DD95F74D-BC41-4F00-B1EE-2D38AB78D5DF}" type="parTrans" cxnId="{7E500BB5-47F5-4DD2-99D2-F1FAD99D8141}">
      <dgm:prSet/>
      <dgm:spPr/>
      <dgm:t>
        <a:bodyPr/>
        <a:lstStyle/>
        <a:p>
          <a:pPr algn="ctr"/>
          <a:endParaRPr lang="tr-TR" sz="2000">
            <a:latin typeface="Calibri" pitchFamily="34" charset="0"/>
          </a:endParaRPr>
        </a:p>
      </dgm:t>
    </dgm:pt>
    <dgm:pt modelId="{B8DC1386-0435-414D-AE4D-ABEECE91108E}" type="sibTrans" cxnId="{7E500BB5-47F5-4DD2-99D2-F1FAD99D8141}">
      <dgm:prSet/>
      <dgm:spPr/>
      <dgm:t>
        <a:bodyPr/>
        <a:lstStyle/>
        <a:p>
          <a:endParaRPr lang="tr-TR"/>
        </a:p>
      </dgm:t>
    </dgm:pt>
    <dgm:pt modelId="{A3224512-9998-40F1-B4DF-5D44E420CBB3}">
      <dgm:prSet phldrT="[Metin]" custT="1"/>
      <dgm:spPr/>
      <dgm:t>
        <a:bodyPr/>
        <a:lstStyle/>
        <a:p>
          <a:pPr algn="ctr"/>
          <a:r>
            <a:rPr lang="tr-TR" sz="2000" b="1" dirty="0">
              <a:latin typeface="Calibri" pitchFamily="34" charset="0"/>
            </a:rPr>
            <a:t>Birden fazla KOBİ-Büyük İşletme İşbirliği</a:t>
          </a:r>
        </a:p>
      </dgm:t>
    </dgm:pt>
    <dgm:pt modelId="{C6406DBA-1CD9-4663-86A5-100375F07B38}" type="parTrans" cxnId="{61DF8CB5-9C6B-4C29-93D5-DAE1E5CD6D9C}">
      <dgm:prSet/>
      <dgm:spPr/>
      <dgm:t>
        <a:bodyPr/>
        <a:lstStyle/>
        <a:p>
          <a:pPr algn="ctr"/>
          <a:endParaRPr lang="tr-TR" sz="2000">
            <a:latin typeface="Calibri" pitchFamily="34" charset="0"/>
          </a:endParaRPr>
        </a:p>
      </dgm:t>
    </dgm:pt>
    <dgm:pt modelId="{0FF759B8-D949-45EC-A673-817FA3A4DDF2}" type="sibTrans" cxnId="{61DF8CB5-9C6B-4C29-93D5-DAE1E5CD6D9C}">
      <dgm:prSet/>
      <dgm:spPr/>
      <dgm:t>
        <a:bodyPr/>
        <a:lstStyle/>
        <a:p>
          <a:endParaRPr lang="tr-TR"/>
        </a:p>
      </dgm:t>
    </dgm:pt>
    <dgm:pt modelId="{8F65E2B8-D8A0-491A-8D5E-11F9EA1F4ABF}">
      <dgm:prSet phldrT="[Metin]" custT="1"/>
      <dgm:spPr/>
      <dgm:t>
        <a:bodyPr/>
        <a:lstStyle/>
        <a:p>
          <a:pPr algn="ctr"/>
          <a:r>
            <a:rPr lang="tr-TR" sz="2400" b="1" dirty="0">
              <a:latin typeface="Calibri" pitchFamily="34" charset="0"/>
            </a:rPr>
            <a:t>İşbirliği</a:t>
          </a:r>
        </a:p>
        <a:p>
          <a:pPr algn="ctr"/>
          <a:r>
            <a:rPr lang="tr-TR" sz="2400" b="1" dirty="0">
              <a:latin typeface="Calibri" pitchFamily="34" charset="0"/>
            </a:rPr>
            <a:t>Türleri</a:t>
          </a:r>
        </a:p>
      </dgm:t>
    </dgm:pt>
    <dgm:pt modelId="{3C2B352D-79B9-4D66-833E-A4300C69E794}" type="parTrans" cxnId="{453D8D46-BE7A-43AA-BC81-DA1E43CC9CBC}">
      <dgm:prSet/>
      <dgm:spPr/>
      <dgm:t>
        <a:bodyPr/>
        <a:lstStyle/>
        <a:p>
          <a:endParaRPr lang="tr-TR"/>
        </a:p>
      </dgm:t>
    </dgm:pt>
    <dgm:pt modelId="{069376EA-E9B3-4546-94F3-F8D9FAC67314}" type="sibTrans" cxnId="{453D8D46-BE7A-43AA-BC81-DA1E43CC9CBC}">
      <dgm:prSet/>
      <dgm:spPr/>
      <dgm:t>
        <a:bodyPr/>
        <a:lstStyle/>
        <a:p>
          <a:endParaRPr lang="tr-TR"/>
        </a:p>
      </dgm:t>
    </dgm:pt>
    <dgm:pt modelId="{01FE5528-2E2D-4955-B023-9FBC47A82627}">
      <dgm:prSet phldrT="[Metin]" custT="1"/>
      <dgm:spPr/>
      <dgm:t>
        <a:bodyPr/>
        <a:lstStyle/>
        <a:p>
          <a:pPr algn="ctr"/>
          <a:r>
            <a:rPr lang="tr-TR" sz="2000" b="1" dirty="0">
              <a:latin typeface="Calibri" pitchFamily="34" charset="0"/>
            </a:rPr>
            <a:t>KOBİ-Büyük İşletme İşbirliği</a:t>
          </a:r>
        </a:p>
      </dgm:t>
    </dgm:pt>
    <dgm:pt modelId="{ACE65BF6-37EF-4B5F-910B-6C5B20922D26}" type="parTrans" cxnId="{C4C4CA1D-E576-4FA1-9DE9-D4263C038120}">
      <dgm:prSet/>
      <dgm:spPr/>
      <dgm:t>
        <a:bodyPr/>
        <a:lstStyle/>
        <a:p>
          <a:endParaRPr lang="tr-TR"/>
        </a:p>
      </dgm:t>
    </dgm:pt>
    <dgm:pt modelId="{D83547E4-C880-4F8E-947B-DD9EF5BDDCD1}" type="sibTrans" cxnId="{C4C4CA1D-E576-4FA1-9DE9-D4263C038120}">
      <dgm:prSet/>
      <dgm:spPr/>
      <dgm:t>
        <a:bodyPr/>
        <a:lstStyle/>
        <a:p>
          <a:endParaRPr lang="tr-TR"/>
        </a:p>
      </dgm:t>
    </dgm:pt>
    <dgm:pt modelId="{3C202349-A66E-414A-912A-470739EBC523}">
      <dgm:prSet phldrT="[Metin]" custT="1"/>
      <dgm:spPr/>
      <dgm:t>
        <a:bodyPr/>
        <a:lstStyle/>
        <a:p>
          <a:pPr algn="ctr"/>
          <a:r>
            <a:rPr lang="tr-TR" sz="2000" b="1" dirty="0">
              <a:latin typeface="Calibri" pitchFamily="34" charset="0"/>
            </a:rPr>
            <a:t>Birden fazla KOBİ-Büyük İşletmeler İşbirliği</a:t>
          </a:r>
        </a:p>
      </dgm:t>
    </dgm:pt>
    <dgm:pt modelId="{6AF5CC25-9E21-4079-A61B-59419C366C22}" type="parTrans" cxnId="{56E4EADF-FA17-4359-9F5A-B397DE41563D}">
      <dgm:prSet/>
      <dgm:spPr/>
      <dgm:t>
        <a:bodyPr/>
        <a:lstStyle/>
        <a:p>
          <a:endParaRPr lang="tr-TR"/>
        </a:p>
      </dgm:t>
    </dgm:pt>
    <dgm:pt modelId="{35FC5C05-6637-43A5-8FA1-9A0FF97971E7}" type="sibTrans" cxnId="{56E4EADF-FA17-4359-9F5A-B397DE41563D}">
      <dgm:prSet/>
      <dgm:spPr/>
      <dgm:t>
        <a:bodyPr/>
        <a:lstStyle/>
        <a:p>
          <a:endParaRPr lang="tr-TR"/>
        </a:p>
      </dgm:t>
    </dgm:pt>
    <dgm:pt modelId="{624F9D69-B516-4235-9B70-56AC851C08A3}">
      <dgm:prSet phldrT="[Metin]" custT="1"/>
      <dgm:spPr/>
      <dgm:t>
        <a:bodyPr/>
        <a:lstStyle/>
        <a:p>
          <a:pPr algn="ctr"/>
          <a:r>
            <a:rPr lang="tr-TR" sz="2000" b="1" dirty="0">
              <a:latin typeface="Calibri" pitchFamily="34" charset="0"/>
            </a:rPr>
            <a:t>KOBİ-Büyük İşletmeler İşbirliği</a:t>
          </a:r>
        </a:p>
      </dgm:t>
    </dgm:pt>
    <dgm:pt modelId="{D683585F-4109-4A78-84AE-16EEC27150BB}" type="parTrans" cxnId="{DC8A05AC-7886-4B9F-AE81-FA43E67AFD34}">
      <dgm:prSet/>
      <dgm:spPr/>
      <dgm:t>
        <a:bodyPr/>
        <a:lstStyle/>
        <a:p>
          <a:endParaRPr lang="tr-TR"/>
        </a:p>
      </dgm:t>
    </dgm:pt>
    <dgm:pt modelId="{19F48168-D91D-4F28-B2CB-3FEA3998715E}" type="sibTrans" cxnId="{DC8A05AC-7886-4B9F-AE81-FA43E67AFD34}">
      <dgm:prSet/>
      <dgm:spPr/>
      <dgm:t>
        <a:bodyPr/>
        <a:lstStyle/>
        <a:p>
          <a:endParaRPr lang="tr-TR"/>
        </a:p>
      </dgm:t>
    </dgm:pt>
    <dgm:pt modelId="{6C044983-2040-4EA2-8EF6-C38F6A6B29C8}" type="pres">
      <dgm:prSet presAssocID="{20C60095-3092-4F03-A5C8-D46695CD6281}" presName="Name0" presStyleCnt="0">
        <dgm:presLayoutVars>
          <dgm:chMax val="1"/>
          <dgm:chPref val="1"/>
          <dgm:dir/>
          <dgm:animOne val="branch"/>
          <dgm:animLvl val="lvl"/>
        </dgm:presLayoutVars>
      </dgm:prSet>
      <dgm:spPr/>
      <dgm:t>
        <a:bodyPr/>
        <a:lstStyle/>
        <a:p>
          <a:endParaRPr lang="tr-TR"/>
        </a:p>
      </dgm:t>
    </dgm:pt>
    <dgm:pt modelId="{65E80186-6B99-4654-9F24-A8921C4DB08D}" type="pres">
      <dgm:prSet presAssocID="{8F65E2B8-D8A0-491A-8D5E-11F9EA1F4ABF}" presName="singleCycle" presStyleCnt="0"/>
      <dgm:spPr/>
      <dgm:t>
        <a:bodyPr/>
        <a:lstStyle/>
        <a:p>
          <a:endParaRPr lang="tr-TR"/>
        </a:p>
      </dgm:t>
    </dgm:pt>
    <dgm:pt modelId="{67F17F15-4701-4DEE-8F0D-83236DE6DD4A}" type="pres">
      <dgm:prSet presAssocID="{8F65E2B8-D8A0-491A-8D5E-11F9EA1F4ABF}" presName="singleCenter" presStyleLbl="node1" presStyleIdx="0" presStyleCnt="6" custScaleX="134632" custScaleY="71154" custLinFactNeighborX="-1658" custLinFactNeighborY="-9556">
        <dgm:presLayoutVars>
          <dgm:chMax val="7"/>
          <dgm:chPref val="7"/>
        </dgm:presLayoutVars>
      </dgm:prSet>
      <dgm:spPr/>
      <dgm:t>
        <a:bodyPr/>
        <a:lstStyle/>
        <a:p>
          <a:endParaRPr lang="tr-TR"/>
        </a:p>
      </dgm:t>
    </dgm:pt>
    <dgm:pt modelId="{E8938DBF-8412-4383-B6FF-703F53E7294D}" type="pres">
      <dgm:prSet presAssocID="{DD95F74D-BC41-4F00-B1EE-2D38AB78D5DF}" presName="Name56" presStyleLbl="parChTrans1D2" presStyleIdx="0" presStyleCnt="5"/>
      <dgm:spPr/>
      <dgm:t>
        <a:bodyPr/>
        <a:lstStyle/>
        <a:p>
          <a:endParaRPr lang="tr-TR"/>
        </a:p>
      </dgm:t>
    </dgm:pt>
    <dgm:pt modelId="{786D71C7-3522-4BC5-96E4-6A912E1D09EE}" type="pres">
      <dgm:prSet presAssocID="{D054890A-70E3-40EC-9643-3AA138088397}" presName="text0" presStyleLbl="node1" presStyleIdx="1" presStyleCnt="6" custScaleX="247899" custScaleY="109076" custRadScaleRad="112615" custRadScaleInc="-2780">
        <dgm:presLayoutVars>
          <dgm:bulletEnabled val="1"/>
        </dgm:presLayoutVars>
      </dgm:prSet>
      <dgm:spPr/>
      <dgm:t>
        <a:bodyPr/>
        <a:lstStyle/>
        <a:p>
          <a:endParaRPr lang="tr-TR"/>
        </a:p>
      </dgm:t>
    </dgm:pt>
    <dgm:pt modelId="{5109C639-7A45-40ED-B395-AC9E421274B6}" type="pres">
      <dgm:prSet presAssocID="{C6406DBA-1CD9-4663-86A5-100375F07B38}" presName="Name56" presStyleLbl="parChTrans1D2" presStyleIdx="1" presStyleCnt="5"/>
      <dgm:spPr/>
      <dgm:t>
        <a:bodyPr/>
        <a:lstStyle/>
        <a:p>
          <a:endParaRPr lang="tr-TR"/>
        </a:p>
      </dgm:t>
    </dgm:pt>
    <dgm:pt modelId="{F61CC5B2-6FFB-46A3-AED3-177F0CCE88E6}" type="pres">
      <dgm:prSet presAssocID="{A3224512-9998-40F1-B4DF-5D44E420CBB3}" presName="text0" presStyleLbl="node1" presStyleIdx="2" presStyleCnt="6" custScaleX="247899" custScaleY="109076" custRadScaleRad="149429" custRadScaleInc="5481">
        <dgm:presLayoutVars>
          <dgm:bulletEnabled val="1"/>
        </dgm:presLayoutVars>
      </dgm:prSet>
      <dgm:spPr/>
      <dgm:t>
        <a:bodyPr/>
        <a:lstStyle/>
        <a:p>
          <a:endParaRPr lang="tr-TR"/>
        </a:p>
      </dgm:t>
    </dgm:pt>
    <dgm:pt modelId="{EA3F94C1-F28A-47E7-A4F5-299E1D76306C}" type="pres">
      <dgm:prSet presAssocID="{ACE65BF6-37EF-4B5F-910B-6C5B20922D26}" presName="Name56" presStyleLbl="parChTrans1D2" presStyleIdx="2" presStyleCnt="5"/>
      <dgm:spPr/>
      <dgm:t>
        <a:bodyPr/>
        <a:lstStyle/>
        <a:p>
          <a:endParaRPr lang="tr-TR"/>
        </a:p>
      </dgm:t>
    </dgm:pt>
    <dgm:pt modelId="{B6AC7E2E-CAFE-46A7-B4E1-268234917AAC}" type="pres">
      <dgm:prSet presAssocID="{01FE5528-2E2D-4955-B023-9FBC47A82627}" presName="text0" presStyleLbl="node1" presStyleIdx="3" presStyleCnt="6" custScaleX="247899" custScaleY="109076" custRadScaleRad="105576" custRadScaleInc="-51327">
        <dgm:presLayoutVars>
          <dgm:bulletEnabled val="1"/>
        </dgm:presLayoutVars>
      </dgm:prSet>
      <dgm:spPr/>
      <dgm:t>
        <a:bodyPr/>
        <a:lstStyle/>
        <a:p>
          <a:endParaRPr lang="tr-TR"/>
        </a:p>
      </dgm:t>
    </dgm:pt>
    <dgm:pt modelId="{96A367AD-FD00-447E-B07D-2338C8A6F2C0}" type="pres">
      <dgm:prSet presAssocID="{6AF5CC25-9E21-4079-A61B-59419C366C22}" presName="Name56" presStyleLbl="parChTrans1D2" presStyleIdx="3" presStyleCnt="5"/>
      <dgm:spPr/>
      <dgm:t>
        <a:bodyPr/>
        <a:lstStyle/>
        <a:p>
          <a:endParaRPr lang="tr-TR"/>
        </a:p>
      </dgm:t>
    </dgm:pt>
    <dgm:pt modelId="{E5F1F9E5-2327-46BE-B574-599BFC67F757}" type="pres">
      <dgm:prSet presAssocID="{3C202349-A66E-414A-912A-470739EBC523}" presName="text0" presStyleLbl="node1" presStyleIdx="4" presStyleCnt="6" custScaleX="247899" custScaleY="109076" custRadScaleRad="104238" custRadScaleInc="49864">
        <dgm:presLayoutVars>
          <dgm:bulletEnabled val="1"/>
        </dgm:presLayoutVars>
      </dgm:prSet>
      <dgm:spPr/>
      <dgm:t>
        <a:bodyPr/>
        <a:lstStyle/>
        <a:p>
          <a:endParaRPr lang="tr-TR"/>
        </a:p>
      </dgm:t>
    </dgm:pt>
    <dgm:pt modelId="{C9B9CEDE-CC1D-4B7A-99E9-741499593EAE}" type="pres">
      <dgm:prSet presAssocID="{D683585F-4109-4A78-84AE-16EEC27150BB}" presName="Name56" presStyleLbl="parChTrans1D2" presStyleIdx="4" presStyleCnt="5"/>
      <dgm:spPr/>
      <dgm:t>
        <a:bodyPr/>
        <a:lstStyle/>
        <a:p>
          <a:endParaRPr lang="tr-TR"/>
        </a:p>
      </dgm:t>
    </dgm:pt>
    <dgm:pt modelId="{8A03260D-1F1E-4FCE-801C-B463E3F3921A}" type="pres">
      <dgm:prSet presAssocID="{624F9D69-B516-4235-9B70-56AC851C08A3}" presName="text0" presStyleLbl="node1" presStyleIdx="5" presStyleCnt="6" custScaleX="247899" custScaleY="109076" custRadScaleRad="147890" custRadScaleInc="-7191">
        <dgm:presLayoutVars>
          <dgm:bulletEnabled val="1"/>
        </dgm:presLayoutVars>
      </dgm:prSet>
      <dgm:spPr/>
      <dgm:t>
        <a:bodyPr/>
        <a:lstStyle/>
        <a:p>
          <a:endParaRPr lang="tr-TR"/>
        </a:p>
      </dgm:t>
    </dgm:pt>
  </dgm:ptLst>
  <dgm:cxnLst>
    <dgm:cxn modelId="{CFAA7862-A9E6-4ED3-9194-3C740E43EAE1}" type="presOf" srcId="{ACE65BF6-37EF-4B5F-910B-6C5B20922D26}" destId="{EA3F94C1-F28A-47E7-A4F5-299E1D76306C}" srcOrd="0" destOrd="0" presId="urn:microsoft.com/office/officeart/2008/layout/RadialCluster"/>
    <dgm:cxn modelId="{24CBD64D-B3CA-407A-B1ED-2E276942C27E}" type="presOf" srcId="{D683585F-4109-4A78-84AE-16EEC27150BB}" destId="{C9B9CEDE-CC1D-4B7A-99E9-741499593EAE}" srcOrd="0" destOrd="0" presId="urn:microsoft.com/office/officeart/2008/layout/RadialCluster"/>
    <dgm:cxn modelId="{C4C4CA1D-E576-4FA1-9DE9-D4263C038120}" srcId="{8F65E2B8-D8A0-491A-8D5E-11F9EA1F4ABF}" destId="{01FE5528-2E2D-4955-B023-9FBC47A82627}" srcOrd="2" destOrd="0" parTransId="{ACE65BF6-37EF-4B5F-910B-6C5B20922D26}" sibTransId="{D83547E4-C880-4F8E-947B-DD9EF5BDDCD1}"/>
    <dgm:cxn modelId="{35C407B3-1C10-4A29-9502-CEFBCC78DB44}" type="presOf" srcId="{8F65E2B8-D8A0-491A-8D5E-11F9EA1F4ABF}" destId="{67F17F15-4701-4DEE-8F0D-83236DE6DD4A}" srcOrd="0" destOrd="0" presId="urn:microsoft.com/office/officeart/2008/layout/RadialCluster"/>
    <dgm:cxn modelId="{BE0E1764-F336-4ACC-9252-AA7BD1061F20}" type="presOf" srcId="{A3224512-9998-40F1-B4DF-5D44E420CBB3}" destId="{F61CC5B2-6FFB-46A3-AED3-177F0CCE88E6}" srcOrd="0" destOrd="0" presId="urn:microsoft.com/office/officeart/2008/layout/RadialCluster"/>
    <dgm:cxn modelId="{0ACB3D5A-B318-46E5-8D5D-460D152B7DFB}" type="presOf" srcId="{20C60095-3092-4F03-A5C8-D46695CD6281}" destId="{6C044983-2040-4EA2-8EF6-C38F6A6B29C8}" srcOrd="0" destOrd="0" presId="urn:microsoft.com/office/officeart/2008/layout/RadialCluster"/>
    <dgm:cxn modelId="{646EE841-D5AA-4CED-AB9A-038C705F3A51}" type="presOf" srcId="{3C202349-A66E-414A-912A-470739EBC523}" destId="{E5F1F9E5-2327-46BE-B574-599BFC67F757}" srcOrd="0" destOrd="0" presId="urn:microsoft.com/office/officeart/2008/layout/RadialCluster"/>
    <dgm:cxn modelId="{2724F3EF-D18D-41FB-AF74-77DA9DEE71D9}" type="presOf" srcId="{6AF5CC25-9E21-4079-A61B-59419C366C22}" destId="{96A367AD-FD00-447E-B07D-2338C8A6F2C0}" srcOrd="0" destOrd="0" presId="urn:microsoft.com/office/officeart/2008/layout/RadialCluster"/>
    <dgm:cxn modelId="{61DF8CB5-9C6B-4C29-93D5-DAE1E5CD6D9C}" srcId="{8F65E2B8-D8A0-491A-8D5E-11F9EA1F4ABF}" destId="{A3224512-9998-40F1-B4DF-5D44E420CBB3}" srcOrd="1" destOrd="0" parTransId="{C6406DBA-1CD9-4663-86A5-100375F07B38}" sibTransId="{0FF759B8-D949-45EC-A673-817FA3A4DDF2}"/>
    <dgm:cxn modelId="{BF364E1B-23EC-4E18-9478-EEB7051EE7A9}" type="presOf" srcId="{624F9D69-B516-4235-9B70-56AC851C08A3}" destId="{8A03260D-1F1E-4FCE-801C-B463E3F3921A}" srcOrd="0" destOrd="0" presId="urn:microsoft.com/office/officeart/2008/layout/RadialCluster"/>
    <dgm:cxn modelId="{56E4EADF-FA17-4359-9F5A-B397DE41563D}" srcId="{8F65E2B8-D8A0-491A-8D5E-11F9EA1F4ABF}" destId="{3C202349-A66E-414A-912A-470739EBC523}" srcOrd="3" destOrd="0" parTransId="{6AF5CC25-9E21-4079-A61B-59419C366C22}" sibTransId="{35FC5C05-6637-43A5-8FA1-9A0FF97971E7}"/>
    <dgm:cxn modelId="{2766FE86-6108-43BC-941C-1446E432462C}" type="presOf" srcId="{DD95F74D-BC41-4F00-B1EE-2D38AB78D5DF}" destId="{E8938DBF-8412-4383-B6FF-703F53E7294D}" srcOrd="0" destOrd="0" presId="urn:microsoft.com/office/officeart/2008/layout/RadialCluster"/>
    <dgm:cxn modelId="{DC8A05AC-7886-4B9F-AE81-FA43E67AFD34}" srcId="{8F65E2B8-D8A0-491A-8D5E-11F9EA1F4ABF}" destId="{624F9D69-B516-4235-9B70-56AC851C08A3}" srcOrd="4" destOrd="0" parTransId="{D683585F-4109-4A78-84AE-16EEC27150BB}" sibTransId="{19F48168-D91D-4F28-B2CB-3FEA3998715E}"/>
    <dgm:cxn modelId="{7E500BB5-47F5-4DD2-99D2-F1FAD99D8141}" srcId="{8F65E2B8-D8A0-491A-8D5E-11F9EA1F4ABF}" destId="{D054890A-70E3-40EC-9643-3AA138088397}" srcOrd="0" destOrd="0" parTransId="{DD95F74D-BC41-4F00-B1EE-2D38AB78D5DF}" sibTransId="{B8DC1386-0435-414D-AE4D-ABEECE91108E}"/>
    <dgm:cxn modelId="{B4D3668E-C04F-45B5-A981-DF3180A7106A}" type="presOf" srcId="{01FE5528-2E2D-4955-B023-9FBC47A82627}" destId="{B6AC7E2E-CAFE-46A7-B4E1-268234917AAC}" srcOrd="0" destOrd="0" presId="urn:microsoft.com/office/officeart/2008/layout/RadialCluster"/>
    <dgm:cxn modelId="{714FDFF8-611E-4444-82EA-740F213DF075}" type="presOf" srcId="{C6406DBA-1CD9-4663-86A5-100375F07B38}" destId="{5109C639-7A45-40ED-B395-AC9E421274B6}" srcOrd="0" destOrd="0" presId="urn:microsoft.com/office/officeart/2008/layout/RadialCluster"/>
    <dgm:cxn modelId="{453D8D46-BE7A-43AA-BC81-DA1E43CC9CBC}" srcId="{20C60095-3092-4F03-A5C8-D46695CD6281}" destId="{8F65E2B8-D8A0-491A-8D5E-11F9EA1F4ABF}" srcOrd="0" destOrd="0" parTransId="{3C2B352D-79B9-4D66-833E-A4300C69E794}" sibTransId="{069376EA-E9B3-4546-94F3-F8D9FAC67314}"/>
    <dgm:cxn modelId="{9043854A-2995-4527-A380-829A69081233}" type="presOf" srcId="{D054890A-70E3-40EC-9643-3AA138088397}" destId="{786D71C7-3522-4BC5-96E4-6A912E1D09EE}" srcOrd="0" destOrd="0" presId="urn:microsoft.com/office/officeart/2008/layout/RadialCluster"/>
    <dgm:cxn modelId="{68B6AB1C-C069-4152-9406-E450193057DF}" type="presParOf" srcId="{6C044983-2040-4EA2-8EF6-C38F6A6B29C8}" destId="{65E80186-6B99-4654-9F24-A8921C4DB08D}" srcOrd="0" destOrd="0" presId="urn:microsoft.com/office/officeart/2008/layout/RadialCluster"/>
    <dgm:cxn modelId="{DBF79839-DF08-4A64-BD85-A2E69718C0BC}" type="presParOf" srcId="{65E80186-6B99-4654-9F24-A8921C4DB08D}" destId="{67F17F15-4701-4DEE-8F0D-83236DE6DD4A}" srcOrd="0" destOrd="0" presId="urn:microsoft.com/office/officeart/2008/layout/RadialCluster"/>
    <dgm:cxn modelId="{BFEFB923-92AB-4D6C-9D64-3C226438A53D}" type="presParOf" srcId="{65E80186-6B99-4654-9F24-A8921C4DB08D}" destId="{E8938DBF-8412-4383-B6FF-703F53E7294D}" srcOrd="1" destOrd="0" presId="urn:microsoft.com/office/officeart/2008/layout/RadialCluster"/>
    <dgm:cxn modelId="{510B366A-C0FB-4467-A200-7B32138D79E3}" type="presParOf" srcId="{65E80186-6B99-4654-9F24-A8921C4DB08D}" destId="{786D71C7-3522-4BC5-96E4-6A912E1D09EE}" srcOrd="2" destOrd="0" presId="urn:microsoft.com/office/officeart/2008/layout/RadialCluster"/>
    <dgm:cxn modelId="{88BF6C5E-3FA3-480D-AFDD-D0795D849F9E}" type="presParOf" srcId="{65E80186-6B99-4654-9F24-A8921C4DB08D}" destId="{5109C639-7A45-40ED-B395-AC9E421274B6}" srcOrd="3" destOrd="0" presId="urn:microsoft.com/office/officeart/2008/layout/RadialCluster"/>
    <dgm:cxn modelId="{EA5819A7-0853-4FC8-A5DE-F75B43540F59}" type="presParOf" srcId="{65E80186-6B99-4654-9F24-A8921C4DB08D}" destId="{F61CC5B2-6FFB-46A3-AED3-177F0CCE88E6}" srcOrd="4" destOrd="0" presId="urn:microsoft.com/office/officeart/2008/layout/RadialCluster"/>
    <dgm:cxn modelId="{893517B7-6F84-4F28-A3FD-B82C83225E61}" type="presParOf" srcId="{65E80186-6B99-4654-9F24-A8921C4DB08D}" destId="{EA3F94C1-F28A-47E7-A4F5-299E1D76306C}" srcOrd="5" destOrd="0" presId="urn:microsoft.com/office/officeart/2008/layout/RadialCluster"/>
    <dgm:cxn modelId="{62D9462D-9957-4846-B00B-390CBB78263D}" type="presParOf" srcId="{65E80186-6B99-4654-9F24-A8921C4DB08D}" destId="{B6AC7E2E-CAFE-46A7-B4E1-268234917AAC}" srcOrd="6" destOrd="0" presId="urn:microsoft.com/office/officeart/2008/layout/RadialCluster"/>
    <dgm:cxn modelId="{CFD86F35-DEFE-4419-A1E0-0EF476C39E11}" type="presParOf" srcId="{65E80186-6B99-4654-9F24-A8921C4DB08D}" destId="{96A367AD-FD00-447E-B07D-2338C8A6F2C0}" srcOrd="7" destOrd="0" presId="urn:microsoft.com/office/officeart/2008/layout/RadialCluster"/>
    <dgm:cxn modelId="{60D4A561-1F44-485F-878D-7EDD89ECFD6E}" type="presParOf" srcId="{65E80186-6B99-4654-9F24-A8921C4DB08D}" destId="{E5F1F9E5-2327-46BE-B574-599BFC67F757}" srcOrd="8" destOrd="0" presId="urn:microsoft.com/office/officeart/2008/layout/RadialCluster"/>
    <dgm:cxn modelId="{D716153B-4627-4AA4-B939-F2502F75C529}" type="presParOf" srcId="{65E80186-6B99-4654-9F24-A8921C4DB08D}" destId="{C9B9CEDE-CC1D-4B7A-99E9-741499593EAE}" srcOrd="9" destOrd="0" presId="urn:microsoft.com/office/officeart/2008/layout/RadialCluster"/>
    <dgm:cxn modelId="{0CA6B665-431A-42CF-9585-F8AE3CE04B56}" type="presParOf" srcId="{65E80186-6B99-4654-9F24-A8921C4DB08D}" destId="{8A03260D-1F1E-4FCE-801C-B463E3F3921A}" srcOrd="10" destOrd="0" presId="urn:microsoft.com/office/officeart/2008/layout/Radial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D1E9C5-F5AD-4E85-9389-B27DB972A753}">
      <dsp:nvSpPr>
        <dsp:cNvPr id="0" name=""/>
        <dsp:cNvSpPr/>
      </dsp:nvSpPr>
      <dsp:spPr>
        <a:xfrm>
          <a:off x="3388524" y="1449659"/>
          <a:ext cx="1940734" cy="1038787"/>
        </a:xfrm>
        <a:prstGeom prst="ellipse">
          <a:avLst/>
        </a:prstGeom>
        <a:solidFill>
          <a:schemeClr val="accent1"/>
        </a:solidFill>
        <a:ln w="25400" cap="flat" cmpd="sng" algn="ctr">
          <a:noFill/>
          <a:prstDash val="solid"/>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hemeClr val="accent6"/>
        </a:lnRef>
        <a:fillRef idx="1">
          <a:schemeClr val="lt1"/>
        </a:fillRef>
        <a:effectRef idx="0">
          <a:schemeClr val="accent6"/>
        </a:effectRef>
        <a:fontRef idx="minor">
          <a:schemeClr val="dk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tr-TR" sz="1800" b="1" kern="1200" dirty="0" smtClean="0">
              <a:solidFill>
                <a:schemeClr val="bg1"/>
              </a:solidFill>
              <a:effectLst/>
            </a:rPr>
            <a:t>KOSGEB DESTEK </a:t>
          </a:r>
          <a:r>
            <a:rPr lang="tr-TR" sz="1600" b="1" kern="1200" dirty="0" smtClean="0">
              <a:solidFill>
                <a:schemeClr val="bg1"/>
              </a:solidFill>
              <a:effectLst/>
            </a:rPr>
            <a:t>PROGRAMLARI</a:t>
          </a:r>
          <a:endParaRPr lang="tr-TR" sz="1600" b="1" kern="1200" dirty="0">
            <a:solidFill>
              <a:schemeClr val="bg1"/>
            </a:solidFill>
            <a:effectLst/>
          </a:endParaRPr>
        </a:p>
      </dsp:txBody>
      <dsp:txXfrm>
        <a:off x="3672738" y="1601786"/>
        <a:ext cx="1372306" cy="734533"/>
      </dsp:txXfrm>
    </dsp:sp>
    <dsp:sp modelId="{E7562023-490E-413A-9005-93EC343058FC}">
      <dsp:nvSpPr>
        <dsp:cNvPr id="0" name=""/>
        <dsp:cNvSpPr/>
      </dsp:nvSpPr>
      <dsp:spPr>
        <a:xfrm rot="16179963">
          <a:off x="4288070" y="1150304"/>
          <a:ext cx="134156" cy="353187"/>
        </a:xfrm>
        <a:prstGeom prst="rightArrow">
          <a:avLst>
            <a:gd name="adj1" fmla="val 60000"/>
            <a:gd name="adj2" fmla="val 50000"/>
          </a:avLst>
        </a:prstGeom>
        <a:solidFill>
          <a:schemeClr val="accent6"/>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tr-TR" sz="1500" kern="1200"/>
        </a:p>
      </dsp:txBody>
      <dsp:txXfrm rot="10800000">
        <a:off x="4308311" y="1241064"/>
        <a:ext cx="93909" cy="211913"/>
      </dsp:txXfrm>
    </dsp:sp>
    <dsp:sp modelId="{86AB532F-BA96-4A16-97F4-0178014CAAB0}">
      <dsp:nvSpPr>
        <dsp:cNvPr id="0" name=""/>
        <dsp:cNvSpPr/>
      </dsp:nvSpPr>
      <dsp:spPr>
        <a:xfrm>
          <a:off x="3666234" y="214880"/>
          <a:ext cx="1370586" cy="981664"/>
        </a:xfrm>
        <a:prstGeom prst="ellipse">
          <a:avLst/>
        </a:prstGeom>
        <a:solidFill>
          <a:schemeClr val="accent6"/>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tr-TR" sz="1400" b="1" kern="1200" dirty="0" smtClean="0"/>
            <a:t>Girişimcilik Destekleri</a:t>
          </a:r>
          <a:endParaRPr lang="tr-TR" sz="1400" b="1" kern="1200" dirty="0"/>
        </a:p>
      </dsp:txBody>
      <dsp:txXfrm>
        <a:off x="3866952" y="358641"/>
        <a:ext cx="969150" cy="694142"/>
      </dsp:txXfrm>
    </dsp:sp>
    <dsp:sp modelId="{BEFDBD34-4B9A-4497-BFA2-BD216AA477B8}">
      <dsp:nvSpPr>
        <dsp:cNvPr id="0" name=""/>
        <dsp:cNvSpPr/>
      </dsp:nvSpPr>
      <dsp:spPr>
        <a:xfrm rot="21587331">
          <a:off x="5451716" y="1788330"/>
          <a:ext cx="163780" cy="353187"/>
        </a:xfrm>
        <a:prstGeom prst="rightArrow">
          <a:avLst>
            <a:gd name="adj1" fmla="val 60000"/>
            <a:gd name="adj2" fmla="val 50000"/>
          </a:avLst>
        </a:prstGeom>
        <a:solidFill>
          <a:schemeClr val="accent3">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tr-TR" sz="1500" kern="1200"/>
        </a:p>
      </dsp:txBody>
      <dsp:txXfrm>
        <a:off x="5451716" y="1859058"/>
        <a:ext cx="114646" cy="211913"/>
      </dsp:txXfrm>
    </dsp:sp>
    <dsp:sp modelId="{A215D4FD-2E24-4E9E-9F1C-55C994E3C299}">
      <dsp:nvSpPr>
        <dsp:cNvPr id="0" name=""/>
        <dsp:cNvSpPr/>
      </dsp:nvSpPr>
      <dsp:spPr>
        <a:xfrm>
          <a:off x="5638241" y="1385538"/>
          <a:ext cx="1715806" cy="1151277"/>
        </a:xfrm>
        <a:prstGeom prst="ellipse">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tr-TR" sz="1400" b="1" kern="1200" dirty="0" smtClean="0"/>
            <a:t>İşletme Geliştirme, Büyüme ve </a:t>
          </a:r>
          <a:r>
            <a:rPr lang="tr-TR" sz="1200" b="1" kern="1200" dirty="0" err="1" smtClean="0"/>
            <a:t>Uluslararasılaşma</a:t>
          </a:r>
          <a:r>
            <a:rPr lang="tr-TR" sz="1200" b="1" kern="1200" dirty="0" smtClean="0"/>
            <a:t> </a:t>
          </a:r>
          <a:r>
            <a:rPr lang="tr-TR" sz="1400" b="1" kern="1200" dirty="0" smtClean="0"/>
            <a:t>Destekleri</a:t>
          </a:r>
        </a:p>
      </dsp:txBody>
      <dsp:txXfrm>
        <a:off x="5889515" y="1554139"/>
        <a:ext cx="1213258" cy="814075"/>
      </dsp:txXfrm>
    </dsp:sp>
    <dsp:sp modelId="{3E193F8C-9214-48F5-A07B-E75583E06B2D}">
      <dsp:nvSpPr>
        <dsp:cNvPr id="0" name=""/>
        <dsp:cNvSpPr/>
      </dsp:nvSpPr>
      <dsp:spPr>
        <a:xfrm rot="5365147">
          <a:off x="4245882" y="2470979"/>
          <a:ext cx="173908" cy="353187"/>
        </a:xfrm>
        <a:prstGeom prst="rightArrow">
          <a:avLst>
            <a:gd name="adj1" fmla="val 60000"/>
            <a:gd name="adj2" fmla="val 50000"/>
          </a:avLst>
        </a:prstGeom>
        <a:solidFill>
          <a:schemeClr val="accent4">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tr-TR" sz="1500" kern="1200"/>
        </a:p>
      </dsp:txBody>
      <dsp:txXfrm>
        <a:off x="4271704" y="2515531"/>
        <a:ext cx="121736" cy="211913"/>
      </dsp:txXfrm>
    </dsp:sp>
    <dsp:sp modelId="{2F0D1EC9-F40E-45E2-AAE1-20B44DFD20B2}">
      <dsp:nvSpPr>
        <dsp:cNvPr id="0" name=""/>
        <dsp:cNvSpPr/>
      </dsp:nvSpPr>
      <dsp:spPr>
        <a:xfrm>
          <a:off x="3667392" y="2816536"/>
          <a:ext cx="1410714" cy="1038787"/>
        </a:xfrm>
        <a:prstGeom prst="ellipse">
          <a:avLst/>
        </a:prstGeom>
        <a:solidFill>
          <a:schemeClr val="accent4">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tr-TR" sz="1600" b="1" kern="1200" dirty="0" smtClean="0"/>
            <a:t>KOBİ Finansman Destekleri</a:t>
          </a:r>
          <a:endParaRPr lang="tr-TR" sz="1600" b="1" kern="1200" dirty="0"/>
        </a:p>
      </dsp:txBody>
      <dsp:txXfrm>
        <a:off x="3873986" y="2968663"/>
        <a:ext cx="997526" cy="734533"/>
      </dsp:txXfrm>
    </dsp:sp>
    <dsp:sp modelId="{A83948E8-5CE6-4715-871F-63BDB2FED6D6}">
      <dsp:nvSpPr>
        <dsp:cNvPr id="0" name=""/>
        <dsp:cNvSpPr/>
      </dsp:nvSpPr>
      <dsp:spPr>
        <a:xfrm rot="10813348">
          <a:off x="3122137" y="1788022"/>
          <a:ext cx="188265" cy="353187"/>
        </a:xfrm>
        <a:prstGeom prst="rightArrow">
          <a:avLst>
            <a:gd name="adj1" fmla="val 60000"/>
            <a:gd name="adj2" fmla="val 50000"/>
          </a:avLst>
        </a:prstGeom>
        <a:solidFill>
          <a:schemeClr val="accent2"/>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tr-TR" sz="1500" kern="1200"/>
        </a:p>
      </dsp:txBody>
      <dsp:txXfrm rot="10800000">
        <a:off x="3178616" y="1858769"/>
        <a:ext cx="131786" cy="211913"/>
      </dsp:txXfrm>
    </dsp:sp>
    <dsp:sp modelId="{52B8EBA5-AAF7-48CF-859F-75EE7762B26D}">
      <dsp:nvSpPr>
        <dsp:cNvPr id="0" name=""/>
        <dsp:cNvSpPr/>
      </dsp:nvSpPr>
      <dsp:spPr>
        <a:xfrm>
          <a:off x="1627561" y="1385538"/>
          <a:ext cx="1405780" cy="1151277"/>
        </a:xfrm>
        <a:prstGeom prst="ellipse">
          <a:avLst/>
        </a:prstGeom>
        <a:solidFill>
          <a:schemeClr val="accent2"/>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tr-TR" sz="1400" b="1" kern="1200" dirty="0" smtClean="0"/>
            <a:t>AR-GE, Teknolojik Üretim ve Yerlileştirme Destekleri</a:t>
          </a:r>
          <a:endParaRPr lang="tr-TR" sz="1400" b="1" kern="1200" dirty="0"/>
        </a:p>
      </dsp:txBody>
      <dsp:txXfrm>
        <a:off x="1833433" y="1554139"/>
        <a:ext cx="994036" cy="81407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9E5091-0376-48F7-BFE7-DA5BEB6532BD}">
      <dsp:nvSpPr>
        <dsp:cNvPr id="0" name=""/>
        <dsp:cNvSpPr/>
      </dsp:nvSpPr>
      <dsp:spPr>
        <a:xfrm>
          <a:off x="6379576" y="2292651"/>
          <a:ext cx="91440" cy="471502"/>
        </a:xfrm>
        <a:custGeom>
          <a:avLst/>
          <a:gdLst/>
          <a:ahLst/>
          <a:cxnLst/>
          <a:rect l="0" t="0" r="0" b="0"/>
          <a:pathLst>
            <a:path>
              <a:moveTo>
                <a:pt x="50531" y="0"/>
              </a:moveTo>
              <a:lnTo>
                <a:pt x="50531" y="321314"/>
              </a:lnTo>
              <a:lnTo>
                <a:pt x="45720" y="321314"/>
              </a:lnTo>
              <a:lnTo>
                <a:pt x="45720" y="471502"/>
              </a:lnTo>
            </a:path>
          </a:pathLst>
        </a:custGeom>
        <a:noFill/>
        <a:ln w="25400" cap="flat" cmpd="sng" algn="ctr">
          <a:solidFill>
            <a:schemeClr val="dk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99F025-0257-4363-A93F-1406A61E833D}">
      <dsp:nvSpPr>
        <dsp:cNvPr id="0" name=""/>
        <dsp:cNvSpPr/>
      </dsp:nvSpPr>
      <dsp:spPr>
        <a:xfrm>
          <a:off x="4239829" y="811806"/>
          <a:ext cx="2190278" cy="451376"/>
        </a:xfrm>
        <a:custGeom>
          <a:avLst/>
          <a:gdLst/>
          <a:ahLst/>
          <a:cxnLst/>
          <a:rect l="0" t="0" r="0" b="0"/>
          <a:pathLst>
            <a:path>
              <a:moveTo>
                <a:pt x="0" y="0"/>
              </a:moveTo>
              <a:lnTo>
                <a:pt x="0" y="301188"/>
              </a:lnTo>
              <a:lnTo>
                <a:pt x="2190278" y="301188"/>
              </a:lnTo>
              <a:lnTo>
                <a:pt x="2190278" y="451376"/>
              </a:lnTo>
            </a:path>
          </a:pathLst>
        </a:custGeom>
        <a:noFill/>
        <a:ln w="25400" cap="flat" cmpd="sng" algn="ctr">
          <a:solidFill>
            <a:schemeClr val="dk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CDFE14FE-7BA4-4CB6-81AA-CD75B347861D}">
      <dsp:nvSpPr>
        <dsp:cNvPr id="0" name=""/>
        <dsp:cNvSpPr/>
      </dsp:nvSpPr>
      <dsp:spPr>
        <a:xfrm>
          <a:off x="1984559" y="2292651"/>
          <a:ext cx="91440" cy="471502"/>
        </a:xfrm>
        <a:custGeom>
          <a:avLst/>
          <a:gdLst/>
          <a:ahLst/>
          <a:cxnLst/>
          <a:rect l="0" t="0" r="0" b="0"/>
          <a:pathLst>
            <a:path>
              <a:moveTo>
                <a:pt x="45720" y="0"/>
              </a:moveTo>
              <a:lnTo>
                <a:pt x="45720" y="471502"/>
              </a:lnTo>
            </a:path>
          </a:pathLst>
        </a:custGeom>
        <a:noFill/>
        <a:ln w="25400" cap="flat" cmpd="sng" algn="ctr">
          <a:solidFill>
            <a:schemeClr val="dk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E53DD6-BC0E-44DC-B88C-9C9146D42FFB}">
      <dsp:nvSpPr>
        <dsp:cNvPr id="0" name=""/>
        <dsp:cNvSpPr/>
      </dsp:nvSpPr>
      <dsp:spPr>
        <a:xfrm>
          <a:off x="2030279" y="811806"/>
          <a:ext cx="2209550" cy="451376"/>
        </a:xfrm>
        <a:custGeom>
          <a:avLst/>
          <a:gdLst/>
          <a:ahLst/>
          <a:cxnLst/>
          <a:rect l="0" t="0" r="0" b="0"/>
          <a:pathLst>
            <a:path>
              <a:moveTo>
                <a:pt x="2209550" y="0"/>
              </a:moveTo>
              <a:lnTo>
                <a:pt x="2209550" y="301188"/>
              </a:lnTo>
              <a:lnTo>
                <a:pt x="0" y="301188"/>
              </a:lnTo>
              <a:lnTo>
                <a:pt x="0" y="451376"/>
              </a:lnTo>
            </a:path>
          </a:pathLst>
        </a:custGeom>
        <a:noFill/>
        <a:ln w="25400" cap="flat" cmpd="sng" algn="ctr">
          <a:solidFill>
            <a:schemeClr val="dk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05E022E-1616-4CBB-A706-F44C85DF1A5B}">
      <dsp:nvSpPr>
        <dsp:cNvPr id="0" name=""/>
        <dsp:cNvSpPr/>
      </dsp:nvSpPr>
      <dsp:spPr>
        <a:xfrm>
          <a:off x="181533" y="112910"/>
          <a:ext cx="8116592" cy="698896"/>
        </a:xfrm>
        <a:prstGeom prst="roundRect">
          <a:avLst>
            <a:gd name="adj" fmla="val 10000"/>
          </a:avLst>
        </a:prstGeom>
        <a:solidFill>
          <a:srgbClr val="0066FF"/>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827C8655-FCC1-423B-AFA5-98C627DD7539}">
      <dsp:nvSpPr>
        <dsp:cNvPr id="0" name=""/>
        <dsp:cNvSpPr/>
      </dsp:nvSpPr>
      <dsp:spPr>
        <a:xfrm>
          <a:off x="361667" y="284038"/>
          <a:ext cx="8116592" cy="698896"/>
        </a:xfrm>
        <a:prstGeom prst="roundRect">
          <a:avLst>
            <a:gd name="adj" fmla="val 10000"/>
          </a:avLst>
        </a:prstGeom>
        <a:solidFill>
          <a:schemeClr val="bg2">
            <a:alpha val="90000"/>
          </a:schemeClr>
        </a:solidFill>
        <a:ln w="9525" cap="flat" cmpd="sng" algn="ctr">
          <a:solidFill>
            <a:schemeClr val="dk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tr-TR" sz="2800" b="1" kern="1200" dirty="0">
              <a:solidFill>
                <a:schemeClr val="bg1">
                  <a:lumMod val="10000"/>
                </a:schemeClr>
              </a:solidFill>
              <a:latin typeface="Calibri" pitchFamily="34" charset="0"/>
            </a:rPr>
            <a:t>Ortaklık Modelleri</a:t>
          </a:r>
        </a:p>
      </dsp:txBody>
      <dsp:txXfrm>
        <a:off x="382137" y="304508"/>
        <a:ext cx="8075652" cy="657956"/>
      </dsp:txXfrm>
    </dsp:sp>
    <dsp:sp modelId="{8C332BE4-2F30-456A-894B-8671D60A3ABE}">
      <dsp:nvSpPr>
        <dsp:cNvPr id="0" name=""/>
        <dsp:cNvSpPr/>
      </dsp:nvSpPr>
      <dsp:spPr>
        <a:xfrm>
          <a:off x="4811" y="1263182"/>
          <a:ext cx="4050935" cy="1029468"/>
        </a:xfrm>
        <a:prstGeom prst="roundRect">
          <a:avLst>
            <a:gd name="adj" fmla="val 10000"/>
          </a:avLst>
        </a:prstGeom>
        <a:solidFill>
          <a:srgbClr val="FF000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27C02C90-3903-4113-8A08-E18FD00C77CE}">
      <dsp:nvSpPr>
        <dsp:cNvPr id="0" name=""/>
        <dsp:cNvSpPr/>
      </dsp:nvSpPr>
      <dsp:spPr>
        <a:xfrm>
          <a:off x="184945" y="1434310"/>
          <a:ext cx="4050935" cy="1029468"/>
        </a:xfrm>
        <a:prstGeom prst="roundRect">
          <a:avLst>
            <a:gd name="adj" fmla="val 10000"/>
          </a:avLst>
        </a:prstGeom>
        <a:solidFill>
          <a:schemeClr val="bg2">
            <a:alpha val="90000"/>
          </a:schemeClr>
        </a:solidFill>
        <a:ln w="9525" cap="flat" cmpd="sng" algn="ctr">
          <a:solidFill>
            <a:schemeClr val="dk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tr-TR" sz="1800" b="1" kern="1200" dirty="0">
              <a:solidFill>
                <a:schemeClr val="bg1">
                  <a:lumMod val="10000"/>
                </a:schemeClr>
              </a:solidFill>
              <a:latin typeface="Calibri" pitchFamily="34" charset="0"/>
            </a:rPr>
            <a:t>İşletici Kuruluş Modeli</a:t>
          </a:r>
        </a:p>
      </dsp:txBody>
      <dsp:txXfrm>
        <a:off x="215097" y="1464462"/>
        <a:ext cx="3990631" cy="969164"/>
      </dsp:txXfrm>
    </dsp:sp>
    <dsp:sp modelId="{075C3D22-86E0-4798-8B7F-331B5743B14D}">
      <dsp:nvSpPr>
        <dsp:cNvPr id="0" name=""/>
        <dsp:cNvSpPr/>
      </dsp:nvSpPr>
      <dsp:spPr>
        <a:xfrm>
          <a:off x="205322" y="2764153"/>
          <a:ext cx="3649913" cy="1342674"/>
        </a:xfrm>
        <a:prstGeom prst="roundRect">
          <a:avLst>
            <a:gd name="adj" fmla="val 10000"/>
          </a:avLst>
        </a:prstGeom>
        <a:solidFill>
          <a:srgbClr val="92D05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E7744BC0-5330-4517-BB88-CA4DFB2C4895}">
      <dsp:nvSpPr>
        <dsp:cNvPr id="0" name=""/>
        <dsp:cNvSpPr/>
      </dsp:nvSpPr>
      <dsp:spPr>
        <a:xfrm>
          <a:off x="385457" y="2935281"/>
          <a:ext cx="3649913" cy="1342674"/>
        </a:xfrm>
        <a:prstGeom prst="roundRect">
          <a:avLst>
            <a:gd name="adj" fmla="val 10000"/>
          </a:avLst>
        </a:prstGeom>
        <a:solidFill>
          <a:schemeClr val="bg2">
            <a:alpha val="90000"/>
          </a:schemeClr>
        </a:solidFill>
        <a:ln w="9525" cap="flat" cmpd="sng" algn="ctr">
          <a:solidFill>
            <a:schemeClr val="dk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tr-TR" sz="1400" kern="1200" dirty="0">
              <a:solidFill>
                <a:schemeClr val="bg1">
                  <a:lumMod val="10000"/>
                </a:schemeClr>
              </a:solidFill>
              <a:latin typeface="Calibri" pitchFamily="34" charset="0"/>
            </a:rPr>
            <a:t>Yatırım, mülkiyet, gelir, gider veya benzeri unsurların </a:t>
          </a:r>
          <a:r>
            <a:rPr lang="tr-TR" sz="1400" b="1" u="sng" kern="1200" dirty="0">
              <a:solidFill>
                <a:srgbClr val="FF0000"/>
              </a:solidFill>
              <a:latin typeface="Calibri" pitchFamily="34" charset="0"/>
            </a:rPr>
            <a:t>tek bir yapı tarafından </a:t>
          </a:r>
          <a:r>
            <a:rPr lang="tr-TR" sz="1400" kern="1200" dirty="0">
              <a:solidFill>
                <a:schemeClr val="bg1">
                  <a:lumMod val="10000"/>
                </a:schemeClr>
              </a:solidFill>
              <a:latin typeface="Calibri" pitchFamily="34" charset="0"/>
            </a:rPr>
            <a:t>gerçekleştirileceği modeldir. </a:t>
          </a:r>
        </a:p>
        <a:p>
          <a:pPr lvl="0" algn="ctr" defTabSz="622300">
            <a:lnSpc>
              <a:spcPct val="90000"/>
            </a:lnSpc>
            <a:spcBef>
              <a:spcPct val="0"/>
            </a:spcBef>
            <a:spcAft>
              <a:spcPct val="35000"/>
            </a:spcAft>
          </a:pPr>
          <a:r>
            <a:rPr lang="tr-TR" sz="1400" kern="1200" dirty="0">
              <a:solidFill>
                <a:schemeClr val="bg1">
                  <a:lumMod val="10000"/>
                </a:schemeClr>
              </a:solidFill>
              <a:latin typeface="Calibri" pitchFamily="34" charset="0"/>
            </a:rPr>
            <a:t>(Limited veya A.Ş.)</a:t>
          </a:r>
        </a:p>
      </dsp:txBody>
      <dsp:txXfrm>
        <a:off x="424783" y="2974607"/>
        <a:ext cx="3571261" cy="1264022"/>
      </dsp:txXfrm>
    </dsp:sp>
    <dsp:sp modelId="{939458C0-57A4-4E14-B325-C4DCE66E6C9A}">
      <dsp:nvSpPr>
        <dsp:cNvPr id="0" name=""/>
        <dsp:cNvSpPr/>
      </dsp:nvSpPr>
      <dsp:spPr>
        <a:xfrm>
          <a:off x="4420827" y="1263182"/>
          <a:ext cx="4018560" cy="1029468"/>
        </a:xfrm>
        <a:prstGeom prst="roundRect">
          <a:avLst>
            <a:gd name="adj" fmla="val 10000"/>
          </a:avLst>
        </a:prstGeom>
        <a:solidFill>
          <a:srgbClr val="FF000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90D36E4E-121E-4207-BC02-3108AB2C9EF9}">
      <dsp:nvSpPr>
        <dsp:cNvPr id="0" name=""/>
        <dsp:cNvSpPr/>
      </dsp:nvSpPr>
      <dsp:spPr>
        <a:xfrm>
          <a:off x="4600961" y="1434310"/>
          <a:ext cx="4018560" cy="1029468"/>
        </a:xfrm>
        <a:prstGeom prst="roundRect">
          <a:avLst>
            <a:gd name="adj" fmla="val 10000"/>
          </a:avLst>
        </a:prstGeom>
        <a:solidFill>
          <a:schemeClr val="bg2">
            <a:alpha val="90000"/>
          </a:schemeClr>
        </a:solidFill>
        <a:ln w="9525" cap="flat" cmpd="sng" algn="ctr">
          <a:solidFill>
            <a:schemeClr val="dk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tr-TR" sz="1800" b="1" kern="1200" dirty="0">
              <a:solidFill>
                <a:schemeClr val="bg1">
                  <a:lumMod val="10000"/>
                </a:schemeClr>
              </a:solidFill>
              <a:latin typeface="Calibri" pitchFamily="34" charset="0"/>
            </a:rPr>
            <a:t>Proje Ortaklığı Modeli</a:t>
          </a:r>
        </a:p>
      </dsp:txBody>
      <dsp:txXfrm>
        <a:off x="4631113" y="1464462"/>
        <a:ext cx="3958256" cy="969164"/>
      </dsp:txXfrm>
    </dsp:sp>
    <dsp:sp modelId="{F7497D84-A2E5-42D0-90C0-D6DED0394FF0}">
      <dsp:nvSpPr>
        <dsp:cNvPr id="0" name=""/>
        <dsp:cNvSpPr/>
      </dsp:nvSpPr>
      <dsp:spPr>
        <a:xfrm>
          <a:off x="4639540" y="2764153"/>
          <a:ext cx="3571511" cy="1342674"/>
        </a:xfrm>
        <a:prstGeom prst="roundRect">
          <a:avLst>
            <a:gd name="adj" fmla="val 10000"/>
          </a:avLst>
        </a:prstGeom>
        <a:solidFill>
          <a:srgbClr val="92D05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55C72D8F-08EF-404D-A145-BD472A8AA963}">
      <dsp:nvSpPr>
        <dsp:cNvPr id="0" name=""/>
        <dsp:cNvSpPr/>
      </dsp:nvSpPr>
      <dsp:spPr>
        <a:xfrm>
          <a:off x="4819675" y="2935281"/>
          <a:ext cx="3571511" cy="1342674"/>
        </a:xfrm>
        <a:prstGeom prst="roundRect">
          <a:avLst>
            <a:gd name="adj" fmla="val 10000"/>
          </a:avLst>
        </a:prstGeom>
        <a:solidFill>
          <a:schemeClr val="bg2">
            <a:alpha val="90000"/>
          </a:schemeClr>
        </a:solidFill>
        <a:ln w="9525" cap="flat" cmpd="sng" algn="ctr">
          <a:solidFill>
            <a:schemeClr val="dk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tr-TR" sz="1400" kern="1200" dirty="0">
              <a:solidFill>
                <a:schemeClr val="bg1">
                  <a:lumMod val="10000"/>
                </a:schemeClr>
              </a:solidFill>
              <a:latin typeface="Calibri" pitchFamily="34" charset="0"/>
            </a:rPr>
            <a:t>Yatırım, mülkiyet, gelir, gider veya benzeri unsurların proje ortağı işletmeler tarafından </a:t>
          </a:r>
          <a:r>
            <a:rPr lang="tr-TR" sz="1400" b="1" u="sng" kern="1200" dirty="0">
              <a:solidFill>
                <a:srgbClr val="FF0000"/>
              </a:solidFill>
              <a:latin typeface="Calibri" pitchFamily="34" charset="0"/>
            </a:rPr>
            <a:t>ayrı ayrı </a:t>
          </a:r>
          <a:r>
            <a:rPr lang="tr-TR" sz="1400" kern="1200" dirty="0">
              <a:solidFill>
                <a:schemeClr val="bg1">
                  <a:lumMod val="10000"/>
                </a:schemeClr>
              </a:solidFill>
              <a:latin typeface="Calibri" pitchFamily="34" charset="0"/>
            </a:rPr>
            <a:t>gerçekleştirileceği modeldir.</a:t>
          </a:r>
        </a:p>
      </dsp:txBody>
      <dsp:txXfrm>
        <a:off x="4859001" y="2974607"/>
        <a:ext cx="3492859" cy="126402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7AC877-37E4-45AF-BB7E-52D57AB79D1A}">
      <dsp:nvSpPr>
        <dsp:cNvPr id="0" name=""/>
        <dsp:cNvSpPr/>
      </dsp:nvSpPr>
      <dsp:spPr>
        <a:xfrm rot="5400000">
          <a:off x="4841642" y="-2384099"/>
          <a:ext cx="2260887" cy="7188016"/>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just" defTabSz="1066800">
            <a:lnSpc>
              <a:spcPct val="90000"/>
            </a:lnSpc>
            <a:spcBef>
              <a:spcPct val="0"/>
            </a:spcBef>
            <a:spcAft>
              <a:spcPct val="15000"/>
            </a:spcAft>
            <a:buChar char="••"/>
          </a:pPr>
          <a:r>
            <a:rPr lang="tr-TR" sz="2400" b="0" kern="1200" smtClean="0">
              <a:latin typeface="Calibri" panose="020F0502020204030204" pitchFamily="34" charset="0"/>
            </a:rPr>
            <a:t>Proje süresi asgari 12 ay, azami 36 ay</a:t>
          </a:r>
          <a:endParaRPr lang="tr-TR" sz="2400" kern="1200" dirty="0">
            <a:latin typeface="Calibri" pitchFamily="34" charset="0"/>
          </a:endParaRPr>
        </a:p>
        <a:p>
          <a:pPr marL="228600" lvl="1" indent="-228600" algn="just" defTabSz="1066800">
            <a:lnSpc>
              <a:spcPct val="90000"/>
            </a:lnSpc>
            <a:spcBef>
              <a:spcPct val="0"/>
            </a:spcBef>
            <a:spcAft>
              <a:spcPct val="15000"/>
            </a:spcAft>
            <a:buChar char="••"/>
          </a:pPr>
          <a:r>
            <a:rPr lang="tr-TR" sz="2400" b="0" kern="1200" smtClean="0">
              <a:latin typeface="Calibri" panose="020F0502020204030204" pitchFamily="34" charset="0"/>
            </a:rPr>
            <a:t>Proje süresi 4 ayın katları şeklinde olmalı. </a:t>
          </a:r>
          <a:endParaRPr lang="tr-TR" sz="2400" b="0" kern="1200" dirty="0">
            <a:latin typeface="Calibri" panose="020F0502020204030204" pitchFamily="34" charset="0"/>
          </a:endParaRPr>
        </a:p>
      </dsp:txBody>
      <dsp:txXfrm rot="-5400000">
        <a:off x="2378078" y="189832"/>
        <a:ext cx="7077649" cy="2040153"/>
      </dsp:txXfrm>
    </dsp:sp>
    <dsp:sp modelId="{5C54D709-48DE-405E-8FC3-E6346EFDA2A5}">
      <dsp:nvSpPr>
        <dsp:cNvPr id="0" name=""/>
        <dsp:cNvSpPr/>
      </dsp:nvSpPr>
      <dsp:spPr>
        <a:xfrm>
          <a:off x="108729" y="0"/>
          <a:ext cx="2207458" cy="2419696"/>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tr-TR" sz="2800" b="0" kern="1200" dirty="0">
              <a:latin typeface="Calibri" panose="020F0502020204030204" pitchFamily="34" charset="0"/>
            </a:rPr>
            <a:t>Proje Süresi</a:t>
          </a:r>
          <a:endParaRPr lang="tr-TR" sz="2800" kern="1200" dirty="0">
            <a:latin typeface="Calibri" pitchFamily="34" charset="0"/>
          </a:endParaRPr>
        </a:p>
      </dsp:txBody>
      <dsp:txXfrm>
        <a:off x="216488" y="107759"/>
        <a:ext cx="1991940" cy="2204178"/>
      </dsp:txXfrm>
    </dsp:sp>
    <dsp:sp modelId="{BEAA693D-2B42-4285-819E-F40C80399D53}">
      <dsp:nvSpPr>
        <dsp:cNvPr id="0" name=""/>
        <dsp:cNvSpPr/>
      </dsp:nvSpPr>
      <dsp:spPr>
        <a:xfrm rot="5400000">
          <a:off x="4859107" y="156581"/>
          <a:ext cx="2324244" cy="7188016"/>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just" defTabSz="1066800">
            <a:lnSpc>
              <a:spcPct val="90000"/>
            </a:lnSpc>
            <a:spcBef>
              <a:spcPct val="0"/>
            </a:spcBef>
            <a:spcAft>
              <a:spcPct val="15000"/>
            </a:spcAft>
            <a:buChar char="••"/>
          </a:pPr>
          <a:r>
            <a:rPr lang="tr-TR" sz="2400" kern="1200" dirty="0">
              <a:latin typeface="Calibri" pitchFamily="34" charset="0"/>
            </a:rPr>
            <a:t>Programın destek oranı %60</a:t>
          </a:r>
        </a:p>
        <a:p>
          <a:pPr marL="228600" lvl="1" indent="-228600" algn="just" defTabSz="1066800">
            <a:lnSpc>
              <a:spcPct val="90000"/>
            </a:lnSpc>
            <a:spcBef>
              <a:spcPct val="0"/>
            </a:spcBef>
            <a:spcAft>
              <a:spcPct val="15000"/>
            </a:spcAft>
            <a:buChar char="••"/>
          </a:pPr>
          <a:endParaRPr lang="tr-TR" sz="2400" kern="1200" dirty="0">
            <a:latin typeface="Calibri" pitchFamily="34" charset="0"/>
          </a:endParaRPr>
        </a:p>
        <a:p>
          <a:pPr marL="228600" lvl="1" indent="-228600" algn="just" defTabSz="1066800">
            <a:lnSpc>
              <a:spcPct val="90000"/>
            </a:lnSpc>
            <a:spcBef>
              <a:spcPct val="0"/>
            </a:spcBef>
            <a:spcAft>
              <a:spcPct val="15000"/>
            </a:spcAft>
            <a:buChar char="••"/>
          </a:pPr>
          <a:r>
            <a:rPr lang="tr-TR" sz="2400" kern="1200" dirty="0">
              <a:latin typeface="Calibri" pitchFamily="34" charset="0"/>
            </a:rPr>
            <a:t>%30 Geri Ödemesiz - %70 Geri Ödemeli</a:t>
          </a:r>
        </a:p>
      </dsp:txBody>
      <dsp:txXfrm rot="-5400000">
        <a:off x="2427221" y="2701927"/>
        <a:ext cx="7074556" cy="2097324"/>
      </dsp:txXfrm>
    </dsp:sp>
    <dsp:sp modelId="{25C3030C-3BD1-4F57-9614-CF0AADF13148}">
      <dsp:nvSpPr>
        <dsp:cNvPr id="0" name=""/>
        <dsp:cNvSpPr/>
      </dsp:nvSpPr>
      <dsp:spPr>
        <a:xfrm>
          <a:off x="108729" y="2502922"/>
          <a:ext cx="2207458" cy="2419696"/>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tr-TR" sz="2800" b="0" kern="1200" smtClean="0">
              <a:latin typeface="Calibri" pitchFamily="34" charset="0"/>
            </a:rPr>
            <a:t>Destek Oranı </a:t>
          </a:r>
          <a:endParaRPr lang="tr-TR" sz="2800" kern="1200" dirty="0">
            <a:latin typeface="Calibri" pitchFamily="34" charset="0"/>
          </a:endParaRPr>
        </a:p>
      </dsp:txBody>
      <dsp:txXfrm>
        <a:off x="216488" y="2610681"/>
        <a:ext cx="1991940" cy="220417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E5BCC2-FCCB-4A82-9A71-6000F0A232B3}">
      <dsp:nvSpPr>
        <dsp:cNvPr id="0" name=""/>
        <dsp:cNvSpPr/>
      </dsp:nvSpPr>
      <dsp:spPr>
        <a:xfrm>
          <a:off x="0" y="61427"/>
          <a:ext cx="8990183" cy="655200"/>
        </a:xfrm>
        <a:prstGeom prst="roundRect">
          <a:avLst/>
        </a:prstGeom>
        <a:solidFill>
          <a:srgbClr val="FF000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b="1" kern="1200" dirty="0">
              <a:solidFill>
                <a:schemeClr val="bg1">
                  <a:lumMod val="10000"/>
                </a:schemeClr>
              </a:solidFill>
              <a:latin typeface="Calibri" pitchFamily="34" charset="0"/>
            </a:rPr>
            <a:t>Personel Giderleri (geri ödemesiz)</a:t>
          </a:r>
        </a:p>
      </dsp:txBody>
      <dsp:txXfrm>
        <a:off x="31984" y="93411"/>
        <a:ext cx="8926215" cy="591232"/>
      </dsp:txXfrm>
    </dsp:sp>
    <dsp:sp modelId="{BA67D316-CDA7-43A2-AE63-EE48BD4D21C3}">
      <dsp:nvSpPr>
        <dsp:cNvPr id="0" name=""/>
        <dsp:cNvSpPr/>
      </dsp:nvSpPr>
      <dsp:spPr>
        <a:xfrm>
          <a:off x="0" y="817427"/>
          <a:ext cx="8990183" cy="655200"/>
        </a:xfrm>
        <a:prstGeom prst="roundRect">
          <a:avLst/>
        </a:prstGeom>
        <a:solidFill>
          <a:srgbClr val="FF330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b="1" kern="1200" dirty="0">
              <a:solidFill>
                <a:schemeClr val="bg1">
                  <a:lumMod val="10000"/>
                </a:schemeClr>
              </a:solidFill>
              <a:latin typeface="Calibri" pitchFamily="34" charset="0"/>
            </a:rPr>
            <a:t>Makine, Teçhizat, Kalıp</a:t>
          </a:r>
        </a:p>
      </dsp:txBody>
      <dsp:txXfrm>
        <a:off x="31984" y="849411"/>
        <a:ext cx="8926215" cy="591232"/>
      </dsp:txXfrm>
    </dsp:sp>
    <dsp:sp modelId="{2593CB94-C1B4-470A-9B5A-2899CB10D1D4}">
      <dsp:nvSpPr>
        <dsp:cNvPr id="0" name=""/>
        <dsp:cNvSpPr/>
      </dsp:nvSpPr>
      <dsp:spPr>
        <a:xfrm>
          <a:off x="0" y="1573427"/>
          <a:ext cx="8990183" cy="655200"/>
        </a:xfrm>
        <a:prstGeom prst="roundRect">
          <a:avLst/>
        </a:prstGeom>
        <a:solidFill>
          <a:srgbClr val="FF9933"/>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b="1" kern="1200" dirty="0">
              <a:solidFill>
                <a:schemeClr val="bg1">
                  <a:lumMod val="10000"/>
                </a:schemeClr>
              </a:solidFill>
              <a:latin typeface="Calibri" pitchFamily="34" charset="0"/>
            </a:rPr>
            <a:t>Hammadde, Malzeme Giderleri </a:t>
          </a:r>
        </a:p>
      </dsp:txBody>
      <dsp:txXfrm>
        <a:off x="31984" y="1605411"/>
        <a:ext cx="8926215" cy="591232"/>
      </dsp:txXfrm>
    </dsp:sp>
    <dsp:sp modelId="{6DA14E91-66C8-437A-A28F-71AED739CE91}">
      <dsp:nvSpPr>
        <dsp:cNvPr id="0" name=""/>
        <dsp:cNvSpPr/>
      </dsp:nvSpPr>
      <dsp:spPr>
        <a:xfrm>
          <a:off x="0" y="2350993"/>
          <a:ext cx="8990183" cy="655200"/>
        </a:xfrm>
        <a:prstGeom prst="roundRect">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b="1" kern="1200" dirty="0">
              <a:solidFill>
                <a:schemeClr val="bg1">
                  <a:lumMod val="10000"/>
                </a:schemeClr>
              </a:solidFill>
              <a:latin typeface="Calibri" pitchFamily="34" charset="0"/>
            </a:rPr>
            <a:t>Yazılım Giderleri</a:t>
          </a:r>
        </a:p>
      </dsp:txBody>
      <dsp:txXfrm>
        <a:off x="31984" y="2382977"/>
        <a:ext cx="8926215" cy="591232"/>
      </dsp:txXfrm>
    </dsp:sp>
    <dsp:sp modelId="{269F93E3-47A1-41F8-AFC1-0241C99F4931}">
      <dsp:nvSpPr>
        <dsp:cNvPr id="0" name=""/>
        <dsp:cNvSpPr/>
      </dsp:nvSpPr>
      <dsp:spPr>
        <a:xfrm>
          <a:off x="0" y="3077475"/>
          <a:ext cx="8990183" cy="655200"/>
        </a:xfrm>
        <a:prstGeom prst="roundRect">
          <a:avLst/>
        </a:prstGeom>
        <a:solidFill>
          <a:srgbClr val="FFFFCC"/>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b="1" kern="1200" dirty="0">
              <a:solidFill>
                <a:schemeClr val="bg1">
                  <a:lumMod val="10000"/>
                </a:schemeClr>
              </a:solidFill>
              <a:latin typeface="Calibri" pitchFamily="34" charset="0"/>
            </a:rPr>
            <a:t>Hizmet Alımı</a:t>
          </a:r>
        </a:p>
      </dsp:txBody>
      <dsp:txXfrm>
        <a:off x="31984" y="3109459"/>
        <a:ext cx="8926215" cy="591232"/>
      </dsp:txXfrm>
    </dsp:sp>
    <dsp:sp modelId="{D698BA4B-1295-42A7-B147-44EDD69A8B71}">
      <dsp:nvSpPr>
        <dsp:cNvPr id="0" name=""/>
        <dsp:cNvSpPr/>
      </dsp:nvSpPr>
      <dsp:spPr>
        <a:xfrm>
          <a:off x="0" y="3841427"/>
          <a:ext cx="8990183" cy="655200"/>
        </a:xfrm>
        <a:prstGeom prst="roundRect">
          <a:avLst/>
        </a:prstGeom>
        <a:solidFill>
          <a:schemeClr val="bg2"/>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b="1" kern="1200" dirty="0">
              <a:solidFill>
                <a:schemeClr val="bg1">
                  <a:lumMod val="10000"/>
                </a:schemeClr>
              </a:solidFill>
              <a:latin typeface="Calibri" pitchFamily="34" charset="0"/>
            </a:rPr>
            <a:t>Diğer Giderler (Proje ile ilgili olmak koşuluyla)</a:t>
          </a:r>
        </a:p>
      </dsp:txBody>
      <dsp:txXfrm>
        <a:off x="31984" y="3873411"/>
        <a:ext cx="8926215" cy="59123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A3130-ACEB-4BFD-94BA-1A81F19E2715}">
      <dsp:nvSpPr>
        <dsp:cNvPr id="0" name=""/>
        <dsp:cNvSpPr/>
      </dsp:nvSpPr>
      <dsp:spPr>
        <a:xfrm rot="5400000">
          <a:off x="4883231" y="-2317005"/>
          <a:ext cx="2163341" cy="679735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Yeni istihdam edilecek personel için destek verilir.</a:t>
          </a: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E</a:t>
          </a:r>
          <a:r>
            <a:rPr lang="sv-SE" sz="1600" kern="1200" dirty="0">
              <a:latin typeface="Calibri" panose="020F0502020204030204" pitchFamily="34" charset="0"/>
              <a:cs typeface="Calibri" panose="020F0502020204030204" pitchFamily="34" charset="0"/>
            </a:rPr>
            <a:t>n fazla </a:t>
          </a:r>
          <a:r>
            <a:rPr lang="tr-TR" sz="1600" kern="1200" dirty="0">
              <a:latin typeface="Calibri" panose="020F0502020204030204" pitchFamily="34" charset="0"/>
              <a:cs typeface="Calibri" panose="020F0502020204030204" pitchFamily="34" charset="0"/>
            </a:rPr>
            <a:t>2</a:t>
          </a:r>
          <a:r>
            <a:rPr lang="sv-SE" sz="1600" kern="1200" dirty="0">
              <a:latin typeface="Calibri" panose="020F0502020204030204" pitchFamily="34" charset="0"/>
              <a:cs typeface="Calibri" panose="020F0502020204030204" pitchFamily="34" charset="0"/>
            </a:rPr>
            <a:t> (</a:t>
          </a:r>
          <a:r>
            <a:rPr lang="tr-TR" sz="1600" kern="1200" dirty="0">
              <a:latin typeface="Calibri" panose="020F0502020204030204" pitchFamily="34" charset="0"/>
              <a:cs typeface="Calibri" panose="020F0502020204030204" pitchFamily="34" charset="0"/>
            </a:rPr>
            <a:t>iki</a:t>
          </a:r>
          <a:r>
            <a:rPr lang="sv-SE" sz="1600" kern="1200" dirty="0">
              <a:latin typeface="Calibri" panose="020F0502020204030204" pitchFamily="34" charset="0"/>
              <a:cs typeface="Calibri" panose="020F0502020204030204" pitchFamily="34" charset="0"/>
            </a:rPr>
            <a:t>) personel için destek verilebilir</a:t>
          </a:r>
          <a:r>
            <a:rPr lang="tr-TR" sz="1600" kern="1200" dirty="0">
              <a:latin typeface="Calibri" panose="020F0502020204030204" pitchFamily="34" charset="0"/>
              <a:cs typeface="Calibri" panose="020F0502020204030204" pitchFamily="34" charset="0"/>
            </a:rPr>
            <a:t>.</a:t>
          </a: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Proje başlangıç tarihi itibariyle işletmede son 4 (dört) ay içinde istihdam edilmemiş veya proje başlangıç tarihi itibariyle son 30 (otuz) gün içinde istihdam edilmiş yükseköğretim kurumundan mezun ve işletmede tam zamanlı olarak çalışacak yeni personel için destek sağlanır.</a:t>
          </a: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Yabancı uyruklu personel de istihdam edilebilir.</a:t>
          </a:r>
        </a:p>
      </dsp:txBody>
      <dsp:txXfrm rot="-5400000">
        <a:off x="2566226" y="105606"/>
        <a:ext cx="6691746" cy="1952129"/>
      </dsp:txXfrm>
    </dsp:sp>
    <dsp:sp modelId="{EA76D721-580E-4CFE-8AB1-08AB49290FD9}">
      <dsp:nvSpPr>
        <dsp:cNvPr id="0" name=""/>
        <dsp:cNvSpPr/>
      </dsp:nvSpPr>
      <dsp:spPr>
        <a:xfrm>
          <a:off x="0" y="0"/>
          <a:ext cx="2609774" cy="22260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tr-TR" sz="2400" b="1" kern="1200" dirty="0">
              <a:latin typeface="Calibri" panose="020F0502020204030204" pitchFamily="34" charset="0"/>
              <a:cs typeface="Calibri" panose="020F0502020204030204" pitchFamily="34" charset="0"/>
            </a:rPr>
            <a:t>Personel Gideri</a:t>
          </a:r>
        </a:p>
        <a:p>
          <a:pPr lvl="0" algn="ctr" defTabSz="1066800">
            <a:lnSpc>
              <a:spcPct val="90000"/>
            </a:lnSpc>
            <a:spcBef>
              <a:spcPct val="0"/>
            </a:spcBef>
            <a:spcAft>
              <a:spcPct val="35000"/>
            </a:spcAft>
          </a:pPr>
          <a:r>
            <a:rPr lang="tr-TR" sz="2400" i="1" u="none" kern="1200" dirty="0">
              <a:latin typeface="Calibri" panose="020F0502020204030204" pitchFamily="34" charset="0"/>
              <a:cs typeface="Calibri" panose="020F0502020204030204" pitchFamily="34" charset="0"/>
            </a:rPr>
            <a:t>(Üst Limit: 90.000 TL)</a:t>
          </a:r>
        </a:p>
      </dsp:txBody>
      <dsp:txXfrm>
        <a:off x="108668" y="108668"/>
        <a:ext cx="2392438" cy="2008743"/>
      </dsp:txXfrm>
    </dsp:sp>
    <dsp:sp modelId="{2E7D9D7D-DFC2-44E5-BB9B-BA7D5AF108E2}">
      <dsp:nvSpPr>
        <dsp:cNvPr id="0" name=""/>
        <dsp:cNvSpPr/>
      </dsp:nvSpPr>
      <dsp:spPr>
        <a:xfrm rot="5400000">
          <a:off x="4475107" y="506481"/>
          <a:ext cx="3063932" cy="680206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Yazılım giderleri kapsamında yazılımın lisans bedeli, proje süresi ile sınırlı olmak üzere zaman sınırlı lisans kullanım bedeli, bulut tabanlı yazılım lisans kullanım bedeli ve yazılıma ait eğitim ve danışmanlık giderleri için </a:t>
          </a:r>
          <a:r>
            <a:rPr lang="tr-TR" sz="1600" kern="1200" dirty="0">
              <a:solidFill>
                <a:srgbClr val="FF0000"/>
              </a:solidFill>
              <a:latin typeface="Calibri" panose="020F0502020204030204" pitchFamily="34" charset="0"/>
              <a:cs typeface="Calibri" panose="020F0502020204030204" pitchFamily="34" charset="0"/>
            </a:rPr>
            <a:t>en fazla 50.000.- TL</a:t>
          </a:r>
          <a:r>
            <a:rPr lang="tr-TR" sz="1600" kern="1200" dirty="0">
              <a:latin typeface="Calibri" panose="020F0502020204030204" pitchFamily="34" charset="0"/>
              <a:cs typeface="Calibri" panose="020F0502020204030204" pitchFamily="34" charset="0"/>
            </a:rPr>
            <a:t> destek verilir.</a:t>
          </a:r>
          <a:r>
            <a:rPr lang="tr-TR" sz="1800" b="1" kern="1200" dirty="0">
              <a:solidFill>
                <a:srgbClr val="FF0000"/>
              </a:solidFill>
              <a:latin typeface="Calibri" panose="020F0502020204030204" pitchFamily="34" charset="0"/>
              <a:cs typeface="Calibri" panose="020F0502020204030204" pitchFamily="34" charset="0"/>
            </a:rPr>
            <a:t>*</a:t>
          </a:r>
        </a:p>
        <a:p>
          <a:pPr marL="171450" lvl="1" indent="-171450" algn="l"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Donanım giderleri kapsamında sunucu (server), masaüstü bilgisayar ve diz üstü bilgisayar gibi yazılımın kullanılması için ihtiyaç duyulan diğer donanım giderleri için </a:t>
          </a:r>
          <a:r>
            <a:rPr lang="tr-TR" sz="1600" kern="1200" dirty="0">
              <a:solidFill>
                <a:srgbClr val="FF0000"/>
              </a:solidFill>
              <a:latin typeface="Calibri" panose="020F0502020204030204" pitchFamily="34" charset="0"/>
              <a:cs typeface="Calibri" panose="020F0502020204030204" pitchFamily="34" charset="0"/>
            </a:rPr>
            <a:t>en fazla 50.000.- TL </a:t>
          </a:r>
          <a:r>
            <a:rPr lang="tr-TR" sz="1600" kern="1200" dirty="0">
              <a:latin typeface="Calibri" panose="020F0502020204030204" pitchFamily="34" charset="0"/>
              <a:cs typeface="Calibri" panose="020F0502020204030204" pitchFamily="34" charset="0"/>
            </a:rPr>
            <a:t>destek verilir.</a:t>
          </a:r>
          <a:endParaRPr lang="tr-TR" sz="1600" kern="1200" dirty="0">
            <a:solidFill>
              <a:srgbClr val="FF0000"/>
            </a:solidFill>
            <a:latin typeface="Calibri" panose="020F0502020204030204" pitchFamily="34" charset="0"/>
            <a:cs typeface="Calibri" panose="020F0502020204030204" pitchFamily="34" charset="0"/>
          </a:endParaRPr>
        </a:p>
        <a:p>
          <a:pPr marL="171450" lvl="1" indent="-171450" algn="l" defTabSz="711200">
            <a:lnSpc>
              <a:spcPct val="90000"/>
            </a:lnSpc>
            <a:spcBef>
              <a:spcPct val="0"/>
            </a:spcBef>
            <a:spcAft>
              <a:spcPct val="15000"/>
            </a:spcAft>
            <a:buChar char="••"/>
          </a:pPr>
          <a:r>
            <a:rPr lang="tr-TR" sz="1600" b="1" kern="1200" dirty="0">
              <a:latin typeface="Calibri" panose="020F0502020204030204" pitchFamily="34" charset="0"/>
              <a:cs typeface="Calibri" panose="020F0502020204030204" pitchFamily="34" charset="0"/>
            </a:rPr>
            <a:t>*</a:t>
          </a:r>
          <a:r>
            <a:rPr lang="tr-TR" sz="1600" kern="1200" dirty="0">
              <a:solidFill>
                <a:srgbClr val="FF0000"/>
              </a:solidFill>
              <a:latin typeface="Calibri" panose="020F0502020204030204" pitchFamily="34" charset="0"/>
              <a:cs typeface="Calibri" panose="020F0502020204030204" pitchFamily="34" charset="0"/>
            </a:rPr>
            <a:t>ERP, MRP ve muhasebe yazılımları desteklenmemektedir.</a:t>
          </a:r>
        </a:p>
        <a:p>
          <a:pPr marL="114300" lvl="1" indent="-114300" algn="l" defTabSz="622300">
            <a:lnSpc>
              <a:spcPct val="90000"/>
            </a:lnSpc>
            <a:spcBef>
              <a:spcPct val="0"/>
            </a:spcBef>
            <a:spcAft>
              <a:spcPct val="15000"/>
            </a:spcAft>
            <a:buChar char="••"/>
          </a:pPr>
          <a:endParaRPr lang="tr-TR" sz="1400" kern="1200" dirty="0"/>
        </a:p>
      </dsp:txBody>
      <dsp:txXfrm rot="-5400000">
        <a:off x="2606041" y="2525117"/>
        <a:ext cx="6652496" cy="2764794"/>
      </dsp:txXfrm>
    </dsp:sp>
    <dsp:sp modelId="{BCC3E5CA-EDFB-41E8-964A-E04CF46A4B77}">
      <dsp:nvSpPr>
        <dsp:cNvPr id="0" name=""/>
        <dsp:cNvSpPr/>
      </dsp:nvSpPr>
      <dsp:spPr>
        <a:xfrm>
          <a:off x="1166" y="2481321"/>
          <a:ext cx="2604874" cy="28901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algn="ctr" defTabSz="1066800">
            <a:lnSpc>
              <a:spcPct val="90000"/>
            </a:lnSpc>
            <a:spcBef>
              <a:spcPct val="0"/>
            </a:spcBef>
            <a:spcAft>
              <a:spcPct val="35000"/>
            </a:spcAft>
            <a:buNone/>
          </a:pPr>
          <a:r>
            <a:rPr lang="tr-TR" sz="2400" b="1" kern="1200" dirty="0">
              <a:solidFill>
                <a:prstClr val="white"/>
              </a:solidFill>
              <a:latin typeface="Calibri" panose="020F0502020204030204" pitchFamily="34" charset="0"/>
              <a:ea typeface="+mn-ea"/>
              <a:cs typeface="Calibri" panose="020F0502020204030204" pitchFamily="34" charset="0"/>
            </a:rPr>
            <a:t>Yazılım ve Donanım Giderleri </a:t>
          </a:r>
        </a:p>
        <a:p>
          <a:pPr marL="0" lvl="0" algn="ctr" defTabSz="1066800">
            <a:lnSpc>
              <a:spcPct val="90000"/>
            </a:lnSpc>
            <a:spcBef>
              <a:spcPct val="0"/>
            </a:spcBef>
            <a:spcAft>
              <a:spcPct val="35000"/>
            </a:spcAft>
            <a:buNone/>
          </a:pPr>
          <a:r>
            <a:rPr lang="tr-TR" sz="2400" b="1" kern="1200" dirty="0">
              <a:solidFill>
                <a:prstClr val="white"/>
              </a:solidFill>
              <a:latin typeface="Calibri" panose="020F0502020204030204" pitchFamily="34" charset="0"/>
              <a:ea typeface="+mn-ea"/>
              <a:cs typeface="Calibri" panose="020F0502020204030204" pitchFamily="34" charset="0"/>
            </a:rPr>
            <a:t>(Üst Limit: 100.000 TL)</a:t>
          </a:r>
        </a:p>
      </dsp:txBody>
      <dsp:txXfrm>
        <a:off x="128325" y="2608480"/>
        <a:ext cx="2350556" cy="263586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A3130-ACEB-4BFD-94BA-1A81F19E2715}">
      <dsp:nvSpPr>
        <dsp:cNvPr id="0" name=""/>
        <dsp:cNvSpPr/>
      </dsp:nvSpPr>
      <dsp:spPr>
        <a:xfrm rot="5400000">
          <a:off x="4695168" y="-2551174"/>
          <a:ext cx="2779916" cy="7931339"/>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Ticaret Bakanlığı tarafından onay verilen e-ticaret sitelerine üyelik giderleri,</a:t>
          </a:r>
          <a:endParaRPr lang="tr-TR" sz="1600" kern="1200" dirty="0">
            <a:solidFill>
              <a:srgbClr val="FF0000"/>
            </a:solidFill>
            <a:latin typeface="Calibri" panose="020F0502020204030204" pitchFamily="34" charset="0"/>
            <a:cs typeface="Calibri" panose="020F0502020204030204" pitchFamily="34" charset="0"/>
          </a:endParaRP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Dijital reklam/tanıtım (sosyal medya reklamları, arama motoru optimizasyonu) giderleri,</a:t>
          </a:r>
          <a:endParaRPr lang="tr-TR" sz="1600" kern="1200" dirty="0">
            <a:solidFill>
              <a:srgbClr val="FF0000"/>
            </a:solidFill>
            <a:latin typeface="Calibri" panose="020F0502020204030204" pitchFamily="34" charset="0"/>
            <a:cs typeface="Calibri" panose="020F0502020204030204" pitchFamily="34" charset="0"/>
          </a:endParaRP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Yurt dışında basılan dergilerde yayınlanan giderleri,</a:t>
          </a:r>
          <a:endParaRPr lang="tr-TR" sz="1600" kern="1200" dirty="0">
            <a:solidFill>
              <a:srgbClr val="FF0000"/>
            </a:solidFill>
            <a:latin typeface="Calibri" panose="020F0502020204030204" pitchFamily="34" charset="0"/>
            <a:cs typeface="Calibri" panose="020F0502020204030204" pitchFamily="34" charset="0"/>
          </a:endParaRP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Havayolu dergilerinde yayımlanan reklam giderleri,</a:t>
          </a:r>
          <a:endParaRPr lang="tr-TR" sz="1600" kern="1200" dirty="0">
            <a:solidFill>
              <a:srgbClr val="FF0000"/>
            </a:solidFill>
            <a:latin typeface="Calibri" panose="020F0502020204030204" pitchFamily="34" charset="0"/>
            <a:cs typeface="Calibri" panose="020F0502020204030204" pitchFamily="34" charset="0"/>
          </a:endParaRP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İşletmeyi ve ürünlerini tanıtıcı ve sadece yabancı dilde hazırlanmış katalog giderlerini kapsar.  </a:t>
          </a:r>
          <a:endParaRPr lang="tr-TR" sz="1600" kern="1200" dirty="0">
            <a:solidFill>
              <a:srgbClr val="FF0000"/>
            </a:solidFill>
            <a:latin typeface="Calibri" panose="020F0502020204030204" pitchFamily="34" charset="0"/>
            <a:cs typeface="Calibri" panose="020F0502020204030204" pitchFamily="34" charset="0"/>
          </a:endParaRPr>
        </a:p>
        <a:p>
          <a:pPr marL="171450" lvl="1" indent="-171450" algn="just" defTabSz="711200">
            <a:lnSpc>
              <a:spcPct val="90000"/>
            </a:lnSpc>
            <a:spcBef>
              <a:spcPct val="0"/>
            </a:spcBef>
            <a:spcAft>
              <a:spcPct val="15000"/>
            </a:spcAft>
            <a:buChar char="••"/>
          </a:pPr>
          <a:r>
            <a:rPr lang="tr-TR" sz="1600" b="1" kern="1200" dirty="0">
              <a:solidFill>
                <a:schemeClr val="tx1"/>
              </a:solidFill>
              <a:latin typeface="Calibri" panose="020F0502020204030204" pitchFamily="34" charset="0"/>
              <a:cs typeface="Calibri" panose="020F0502020204030204" pitchFamily="34" charset="0"/>
            </a:rPr>
            <a:t>* </a:t>
          </a:r>
          <a:r>
            <a:rPr lang="tr-TR" sz="1600" kern="1200" dirty="0">
              <a:solidFill>
                <a:srgbClr val="FF0000"/>
              </a:solidFill>
              <a:latin typeface="Calibri" panose="020F0502020204030204" pitchFamily="34" charset="0"/>
              <a:cs typeface="Calibri" panose="020F0502020204030204" pitchFamily="34" charset="0"/>
            </a:rPr>
            <a:t>Her bir gidere ait destek üst limiti 20.000.- TL’dir.</a:t>
          </a:r>
        </a:p>
      </dsp:txBody>
      <dsp:txXfrm rot="-5400000">
        <a:off x="2119457" y="160241"/>
        <a:ext cx="7795635" cy="2508508"/>
      </dsp:txXfrm>
    </dsp:sp>
    <dsp:sp modelId="{EA76D721-580E-4CFE-8AB1-08AB49290FD9}">
      <dsp:nvSpPr>
        <dsp:cNvPr id="0" name=""/>
        <dsp:cNvSpPr/>
      </dsp:nvSpPr>
      <dsp:spPr>
        <a:xfrm>
          <a:off x="0" y="0"/>
          <a:ext cx="2219895" cy="277414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tr-TR" sz="2000" b="1" kern="1200" dirty="0">
              <a:latin typeface="Calibri" panose="020F0502020204030204" pitchFamily="34" charset="0"/>
              <a:cs typeface="Calibri" panose="020F0502020204030204" pitchFamily="34" charset="0"/>
            </a:rPr>
            <a:t>Tanıtım Giderleri</a:t>
          </a:r>
        </a:p>
        <a:p>
          <a:pPr lvl="0" algn="ctr" defTabSz="889000">
            <a:lnSpc>
              <a:spcPct val="90000"/>
            </a:lnSpc>
            <a:spcBef>
              <a:spcPct val="0"/>
            </a:spcBef>
            <a:spcAft>
              <a:spcPct val="35000"/>
            </a:spcAft>
          </a:pPr>
          <a:r>
            <a:rPr lang="tr-TR" sz="2000" i="1" u="none" kern="1200" dirty="0">
              <a:latin typeface="Calibri" panose="020F0502020204030204" pitchFamily="34" charset="0"/>
              <a:cs typeface="Calibri" panose="020F0502020204030204" pitchFamily="34" charset="0"/>
            </a:rPr>
            <a:t>(Üst Limit: 100.000 TL)</a:t>
          </a:r>
        </a:p>
      </dsp:txBody>
      <dsp:txXfrm>
        <a:off x="108366" y="108366"/>
        <a:ext cx="2003163" cy="2557411"/>
      </dsp:txXfrm>
    </dsp:sp>
    <dsp:sp modelId="{2E7D9D7D-DFC2-44E5-BB9B-BA7D5AF108E2}">
      <dsp:nvSpPr>
        <dsp:cNvPr id="0" name=""/>
        <dsp:cNvSpPr/>
      </dsp:nvSpPr>
      <dsp:spPr>
        <a:xfrm rot="5400000">
          <a:off x="4772736" y="494548"/>
          <a:ext cx="2885204" cy="786282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ctr" defTabSz="488950">
            <a:lnSpc>
              <a:spcPct val="90000"/>
            </a:lnSpc>
            <a:spcBef>
              <a:spcPct val="0"/>
            </a:spcBef>
            <a:spcAft>
              <a:spcPct val="15000"/>
            </a:spcAft>
            <a:buChar char="••"/>
          </a:pPr>
          <a:endParaRPr lang="tr-TR" sz="1100" kern="1200" dirty="0">
            <a:solidFill>
              <a:srgbClr val="FF0000"/>
            </a:solidFill>
          </a:endParaRPr>
        </a:p>
        <a:p>
          <a:pPr marL="114300" lvl="1" indent="-114300" algn="just" defTabSz="622300">
            <a:lnSpc>
              <a:spcPct val="90000"/>
            </a:lnSpc>
            <a:spcBef>
              <a:spcPct val="0"/>
            </a:spcBef>
            <a:spcAft>
              <a:spcPct val="15000"/>
            </a:spcAft>
            <a:buChar char="••"/>
          </a:pPr>
          <a:r>
            <a:rPr lang="tr-TR" sz="1400" kern="1200" dirty="0">
              <a:latin typeface="Calibri" panose="020F0502020204030204" pitchFamily="34" charset="0"/>
              <a:cs typeface="Calibri" panose="020F0502020204030204" pitchFamily="34" charset="0"/>
            </a:rPr>
            <a:t>Yurt dışı fuar katılım giderleri; işletmelerin yer kirası, </a:t>
          </a:r>
          <a:r>
            <a:rPr lang="tr-TR" sz="1400" kern="1200" dirty="0" err="1">
              <a:latin typeface="Calibri" panose="020F0502020204030204" pitchFamily="34" charset="0"/>
              <a:cs typeface="Calibri" panose="020F0502020204030204" pitchFamily="34" charset="0"/>
            </a:rPr>
            <a:t>stand</a:t>
          </a:r>
          <a:r>
            <a:rPr lang="tr-TR" sz="1400" kern="1200" dirty="0">
              <a:latin typeface="Calibri" panose="020F0502020204030204" pitchFamily="34" charset="0"/>
              <a:cs typeface="Calibri" panose="020F0502020204030204" pitchFamily="34" charset="0"/>
            </a:rPr>
            <a:t> kurulumu, nakliye ve depolama giderlerine ilişkin harcamaları ile </a:t>
          </a:r>
          <a:r>
            <a:rPr lang="tr-TR" sz="1400" b="1" u="sng" kern="1200" dirty="0">
              <a:solidFill>
                <a:schemeClr val="tx1"/>
              </a:solidFill>
              <a:latin typeface="Calibri" panose="020F0502020204030204" pitchFamily="34" charset="0"/>
              <a:cs typeface="Calibri" panose="020F0502020204030204" pitchFamily="34" charset="0"/>
            </a:rPr>
            <a:t>fuarda görev alacak işletme temsilcilerinin</a:t>
          </a:r>
          <a:r>
            <a:rPr lang="tr-TR" sz="1400" b="1" u="sng" kern="1200" dirty="0">
              <a:solidFill>
                <a:srgbClr val="FF0000"/>
              </a:solidFill>
              <a:latin typeface="Calibri" panose="020F0502020204030204" pitchFamily="34" charset="0"/>
              <a:cs typeface="Calibri" panose="020F0502020204030204" pitchFamily="34" charset="0"/>
            </a:rPr>
            <a:t>*</a:t>
          </a:r>
          <a:r>
            <a:rPr lang="tr-TR" sz="1400" kern="1200" dirty="0">
              <a:latin typeface="Calibri" panose="020F0502020204030204" pitchFamily="34" charset="0"/>
              <a:cs typeface="Calibri" panose="020F0502020204030204" pitchFamily="34" charset="0"/>
            </a:rPr>
            <a:t> fuarın başlangıç tarihinden en fazla 3 gün önce ve fuar bitimi tarihinden en fazla 3 gün sonra olmak üzere gerçekleşen konaklama ve ekonomi sınıfı gidiş-dönüş ulaşım giderlerini kapsar.</a:t>
          </a:r>
        </a:p>
        <a:p>
          <a:pPr marL="114300" lvl="1" indent="-114300" algn="just" defTabSz="622300">
            <a:lnSpc>
              <a:spcPct val="90000"/>
            </a:lnSpc>
            <a:spcBef>
              <a:spcPct val="0"/>
            </a:spcBef>
            <a:spcAft>
              <a:spcPct val="15000"/>
            </a:spcAft>
            <a:buChar char="••"/>
          </a:pPr>
          <a:endParaRPr lang="tr-TR" sz="1400" kern="1200" dirty="0">
            <a:latin typeface="Calibri" panose="020F0502020204030204" pitchFamily="34" charset="0"/>
            <a:cs typeface="Calibri" panose="020F0502020204030204" pitchFamily="34" charset="0"/>
          </a:endParaRPr>
        </a:p>
        <a:p>
          <a:pPr marL="114300" lvl="1" indent="-114300" algn="just" defTabSz="622300">
            <a:lnSpc>
              <a:spcPct val="90000"/>
            </a:lnSpc>
            <a:spcBef>
              <a:spcPct val="0"/>
            </a:spcBef>
            <a:spcAft>
              <a:spcPct val="15000"/>
            </a:spcAft>
            <a:buChar char="••"/>
          </a:pPr>
          <a:r>
            <a:rPr lang="tr-TR" sz="1400" kern="1200" dirty="0">
              <a:latin typeface="Calibri" panose="020F0502020204030204" pitchFamily="34" charset="0"/>
              <a:cs typeface="Calibri" panose="020F0502020204030204" pitchFamily="34" charset="0"/>
            </a:rPr>
            <a:t>İşletme temsilcilerinin proje kapsamında tanıtım ve pazarlama faaliyetlerine yönelik gerçekleştirecekleri yurt dışı iş seyahatine ilişkin </a:t>
          </a:r>
          <a:r>
            <a:rPr lang="tr-TR" sz="1400" b="1" u="sng" kern="1200" dirty="0">
              <a:latin typeface="Calibri" panose="020F0502020204030204" pitchFamily="34" charset="0"/>
              <a:cs typeface="Calibri" panose="020F0502020204030204" pitchFamily="34" charset="0"/>
            </a:rPr>
            <a:t>en fazla 2 işletme temsilcisinin</a:t>
          </a:r>
          <a:r>
            <a:rPr lang="tr-TR" sz="1400" b="1" u="sng" kern="1200" dirty="0">
              <a:solidFill>
                <a:srgbClr val="FF0000"/>
              </a:solidFill>
              <a:latin typeface="Calibri" panose="020F0502020204030204" pitchFamily="34" charset="0"/>
              <a:cs typeface="Calibri" panose="020F0502020204030204" pitchFamily="34" charset="0"/>
            </a:rPr>
            <a:t>*</a:t>
          </a:r>
          <a:r>
            <a:rPr lang="tr-TR" sz="1400" kern="1200" dirty="0">
              <a:latin typeface="Calibri" panose="020F0502020204030204" pitchFamily="34" charset="0"/>
              <a:cs typeface="Calibri" panose="020F0502020204030204" pitchFamily="34" charset="0"/>
            </a:rPr>
            <a:t> konaklama ve ekonomi sınıfı gidiş-dönüş ulaşım giderlerini kapsar. </a:t>
          </a:r>
        </a:p>
        <a:p>
          <a:pPr marL="114300" lvl="1" indent="-114300" algn="just" defTabSz="622300">
            <a:lnSpc>
              <a:spcPct val="90000"/>
            </a:lnSpc>
            <a:spcBef>
              <a:spcPct val="0"/>
            </a:spcBef>
            <a:spcAft>
              <a:spcPct val="15000"/>
            </a:spcAft>
            <a:buChar char="••"/>
          </a:pPr>
          <a:r>
            <a:rPr lang="tr-TR" sz="1400" b="1" kern="1200" dirty="0">
              <a:latin typeface="Calibri" panose="020F0502020204030204" pitchFamily="34" charset="0"/>
              <a:cs typeface="Calibri" panose="020F0502020204030204" pitchFamily="34" charset="0"/>
            </a:rPr>
            <a:t>* </a:t>
          </a:r>
          <a:r>
            <a:rPr lang="tr-TR" sz="1400" kern="1200" dirty="0">
              <a:solidFill>
                <a:srgbClr val="FF0000"/>
              </a:solidFill>
              <a:latin typeface="Calibri" panose="020F0502020204030204" pitchFamily="34" charset="0"/>
              <a:cs typeface="Calibri" panose="020F0502020204030204" pitchFamily="34" charset="0"/>
            </a:rPr>
            <a:t>İşletme temsilcilerinin; işletme sahibi, ortağı veya projede görevli çalışanı olması gerekir.</a:t>
          </a:r>
          <a:endParaRPr lang="tr-TR" sz="1400" kern="1200" dirty="0">
            <a:latin typeface="Calibri" panose="020F0502020204030204" pitchFamily="34" charset="0"/>
            <a:cs typeface="Calibri" panose="020F0502020204030204" pitchFamily="34" charset="0"/>
          </a:endParaRPr>
        </a:p>
        <a:p>
          <a:pPr marL="57150" lvl="1" indent="-57150" algn="l" defTabSz="488950">
            <a:lnSpc>
              <a:spcPct val="90000"/>
            </a:lnSpc>
            <a:spcBef>
              <a:spcPct val="0"/>
            </a:spcBef>
            <a:spcAft>
              <a:spcPct val="15000"/>
            </a:spcAft>
            <a:buChar char="••"/>
          </a:pPr>
          <a:endParaRPr lang="tr-TR" sz="1100" kern="1200" dirty="0"/>
        </a:p>
      </dsp:txBody>
      <dsp:txXfrm rot="-5400000">
        <a:off x="2283926" y="3124202"/>
        <a:ext cx="7721980" cy="2603516"/>
      </dsp:txXfrm>
    </dsp:sp>
    <dsp:sp modelId="{BCC3E5CA-EDFB-41E8-964A-E04CF46A4B77}">
      <dsp:nvSpPr>
        <dsp:cNvPr id="0" name=""/>
        <dsp:cNvSpPr/>
      </dsp:nvSpPr>
      <dsp:spPr>
        <a:xfrm>
          <a:off x="0" y="2911728"/>
          <a:ext cx="2286186" cy="29641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tr-TR" sz="2000" b="1" kern="1200" dirty="0">
              <a:latin typeface="Calibri" panose="020F0502020204030204" pitchFamily="34" charset="0"/>
              <a:cs typeface="Calibri" panose="020F0502020204030204" pitchFamily="34" charset="0"/>
            </a:rPr>
            <a:t>Yurt dışı Fuar ve Seyahat Giderleri</a:t>
          </a:r>
        </a:p>
        <a:p>
          <a:pPr lvl="0" algn="ctr" defTabSz="889000">
            <a:lnSpc>
              <a:spcPct val="90000"/>
            </a:lnSpc>
            <a:spcBef>
              <a:spcPct val="0"/>
            </a:spcBef>
            <a:spcAft>
              <a:spcPct val="35000"/>
            </a:spcAft>
          </a:pPr>
          <a:r>
            <a:rPr lang="tr-TR" sz="2000" i="1" u="none" kern="1200" dirty="0">
              <a:latin typeface="Calibri" panose="020F0502020204030204" pitchFamily="34" charset="0"/>
              <a:cs typeface="Calibri" panose="020F0502020204030204" pitchFamily="34" charset="0"/>
            </a:rPr>
            <a:t>(Üst Limit: 150.000 TL)</a:t>
          </a:r>
          <a:endParaRPr lang="tr-TR" sz="2000" b="1" kern="1200" dirty="0">
            <a:latin typeface="Calibri" panose="020F0502020204030204" pitchFamily="34" charset="0"/>
            <a:cs typeface="Calibri" panose="020F0502020204030204" pitchFamily="34" charset="0"/>
          </a:endParaRPr>
        </a:p>
      </dsp:txBody>
      <dsp:txXfrm>
        <a:off x="111602" y="3023330"/>
        <a:ext cx="2062982" cy="274092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A3130-ACEB-4BFD-94BA-1A81F19E2715}">
      <dsp:nvSpPr>
        <dsp:cNvPr id="0" name=""/>
        <dsp:cNvSpPr/>
      </dsp:nvSpPr>
      <dsp:spPr>
        <a:xfrm rot="5400000">
          <a:off x="3440682" y="-861401"/>
          <a:ext cx="4916552" cy="689350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Test, analiz giderleri; işletmelerin, yurt içi ve yurt dışı laboratuvarlardan uluslararası pazarlara girişini sağlayacak ve/veya uluslararası pazarlarda rekabet avantajı yaratacak akredite olunan test, analiz konularında alacakları hizmet giderlerini kapsar.</a:t>
          </a:r>
        </a:p>
        <a:p>
          <a:pPr marL="171450" lvl="1" indent="-171450" algn="just" defTabSz="711200">
            <a:lnSpc>
              <a:spcPct val="90000"/>
            </a:lnSpc>
            <a:spcBef>
              <a:spcPct val="0"/>
            </a:spcBef>
            <a:spcAft>
              <a:spcPct val="15000"/>
            </a:spcAft>
            <a:buChar char="••"/>
          </a:pPr>
          <a:endParaRPr lang="tr-TR" sz="1600" kern="1200" dirty="0">
            <a:latin typeface="Calibri" panose="020F0502020204030204" pitchFamily="34" charset="0"/>
            <a:cs typeface="Calibri" panose="020F0502020204030204" pitchFamily="34" charset="0"/>
          </a:endParaRP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Belgelendirme giderleri, işletmelerin uluslararası pazarlara girişini sağlayacak ve/veya uluslararası pazarlarda rekabet avantajı yaratacak belge alımlarını kapsar.</a:t>
          </a:r>
        </a:p>
        <a:p>
          <a:pPr marL="171450" lvl="1" indent="-171450" algn="just" defTabSz="711200">
            <a:lnSpc>
              <a:spcPct val="90000"/>
            </a:lnSpc>
            <a:spcBef>
              <a:spcPct val="0"/>
            </a:spcBef>
            <a:spcAft>
              <a:spcPct val="15000"/>
            </a:spcAft>
            <a:buChar char="••"/>
          </a:pPr>
          <a:endParaRPr lang="tr-TR" sz="1600" kern="1200" dirty="0">
            <a:latin typeface="Calibri" panose="020F0502020204030204" pitchFamily="34" charset="0"/>
            <a:cs typeface="Calibri" panose="020F0502020204030204" pitchFamily="34" charset="0"/>
          </a:endParaRP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Belgelendirme giderleri kapsamında başvuru, dosya inceleme, danışmanlık, eğitim, tetkik, denetim ve belge alımı giderlerine </a:t>
          </a:r>
          <a:r>
            <a:rPr lang="tr-TR" sz="1600" b="1" u="none" kern="1200" dirty="0">
              <a:solidFill>
                <a:schemeClr val="tx1"/>
              </a:solidFill>
              <a:latin typeface="Calibri" panose="020F0502020204030204" pitchFamily="34" charset="0"/>
              <a:cs typeface="Calibri" panose="020F0502020204030204" pitchFamily="34" charset="0"/>
            </a:rPr>
            <a:t>20.000 -TL’ye kadar </a:t>
          </a:r>
          <a:r>
            <a:rPr lang="tr-TR" sz="1600" kern="1200" dirty="0">
              <a:latin typeface="Calibri" panose="020F0502020204030204" pitchFamily="34" charset="0"/>
              <a:cs typeface="Calibri" panose="020F0502020204030204" pitchFamily="34" charset="0"/>
            </a:rPr>
            <a:t>destek verilir.</a:t>
          </a:r>
        </a:p>
        <a:p>
          <a:pPr marL="57150" lvl="1" indent="-57150" algn="just" defTabSz="488950">
            <a:lnSpc>
              <a:spcPct val="90000"/>
            </a:lnSpc>
            <a:spcBef>
              <a:spcPct val="0"/>
            </a:spcBef>
            <a:spcAft>
              <a:spcPct val="15000"/>
            </a:spcAft>
            <a:buChar char="••"/>
          </a:pPr>
          <a:endParaRPr lang="tr-TR" sz="1100" kern="1200" dirty="0"/>
        </a:p>
      </dsp:txBody>
      <dsp:txXfrm rot="-5400000">
        <a:off x="2452206" y="367081"/>
        <a:ext cx="6653499" cy="4436540"/>
      </dsp:txXfrm>
    </dsp:sp>
    <dsp:sp modelId="{EA76D721-580E-4CFE-8AB1-08AB49290FD9}">
      <dsp:nvSpPr>
        <dsp:cNvPr id="0" name=""/>
        <dsp:cNvSpPr/>
      </dsp:nvSpPr>
      <dsp:spPr>
        <a:xfrm>
          <a:off x="0" y="49768"/>
          <a:ext cx="2388459" cy="501832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tr-TR" sz="2000" b="1" kern="1200" dirty="0">
              <a:latin typeface="Calibri" panose="020F0502020204030204" pitchFamily="34" charset="0"/>
              <a:cs typeface="Calibri" panose="020F0502020204030204" pitchFamily="34" charset="0"/>
            </a:rPr>
            <a:t>Test, Analiz ve Belgelendirme Giderleri</a:t>
          </a:r>
        </a:p>
        <a:p>
          <a:pPr lvl="0" algn="ctr" defTabSz="889000">
            <a:lnSpc>
              <a:spcPct val="90000"/>
            </a:lnSpc>
            <a:spcBef>
              <a:spcPct val="0"/>
            </a:spcBef>
            <a:spcAft>
              <a:spcPct val="35000"/>
            </a:spcAft>
          </a:pPr>
          <a:r>
            <a:rPr lang="tr-TR" sz="2000" i="1" u="none" kern="1200" dirty="0">
              <a:latin typeface="Calibri" panose="020F0502020204030204" pitchFamily="34" charset="0"/>
              <a:cs typeface="Calibri" panose="020F0502020204030204" pitchFamily="34" charset="0"/>
            </a:rPr>
            <a:t>(Üst Limit: 100.000 TL)</a:t>
          </a:r>
        </a:p>
      </dsp:txBody>
      <dsp:txXfrm>
        <a:off x="116595" y="166363"/>
        <a:ext cx="2155269" cy="478513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A3130-ACEB-4BFD-94BA-1A81F19E2715}">
      <dsp:nvSpPr>
        <dsp:cNvPr id="0" name=""/>
        <dsp:cNvSpPr/>
      </dsp:nvSpPr>
      <dsp:spPr>
        <a:xfrm rot="5400000">
          <a:off x="3510614" y="-856380"/>
          <a:ext cx="4911751" cy="68834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Eğitim ve danışmanlık giderleri; işletmelerin proje kapsamında ihracata yönelik alacakları eğitim ve danışmanlık (pazar araştırma danışmanlığı dahil) giderlerini kapsar.</a:t>
          </a:r>
        </a:p>
        <a:p>
          <a:pPr marL="171450" lvl="1" indent="-171450" algn="just" defTabSz="711200">
            <a:lnSpc>
              <a:spcPct val="90000"/>
            </a:lnSpc>
            <a:spcBef>
              <a:spcPct val="0"/>
            </a:spcBef>
            <a:spcAft>
              <a:spcPct val="15000"/>
            </a:spcAft>
            <a:buChar char="••"/>
          </a:pPr>
          <a:endParaRPr lang="tr-TR" sz="1600" kern="1200" dirty="0">
            <a:latin typeface="Calibri" panose="020F0502020204030204" pitchFamily="34" charset="0"/>
            <a:cs typeface="Calibri" panose="020F0502020204030204" pitchFamily="34" charset="0"/>
          </a:endParaRPr>
        </a:p>
        <a:p>
          <a:pPr marL="171450" lvl="1" indent="-171450" algn="just" defTabSz="711200">
            <a:lnSpc>
              <a:spcPct val="90000"/>
            </a:lnSpc>
            <a:spcBef>
              <a:spcPct val="0"/>
            </a:spcBef>
            <a:spcAft>
              <a:spcPct val="15000"/>
            </a:spcAft>
            <a:buChar char="••"/>
          </a:pPr>
          <a:r>
            <a:rPr lang="tr-TR" sz="1600" b="1" kern="1200" dirty="0">
              <a:latin typeface="Calibri" panose="020F0502020204030204" pitchFamily="34" charset="0"/>
              <a:cs typeface="Calibri" panose="020F0502020204030204" pitchFamily="34" charset="0"/>
            </a:rPr>
            <a:t>Eğitim hizmeti alınabilecek kuruluşlar; </a:t>
          </a: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Türkiye İhracatçılar Meclisi (TİM), </a:t>
          </a: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İhracatçı Birlikleri, </a:t>
          </a: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Üniversitelerin işletmelere yönelik eğitim hizmeti vermek amacıyla kurulmuş birimleri, </a:t>
          </a: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Mevzuatlarının dış ticaret kapsamında eğitim vermeye izin vermesi şartıyla kamu kurum/kuruluşları ve bunların eğitim hizmeti vermek amacıyla kurulmuş birimleri,</a:t>
          </a:r>
        </a:p>
        <a:p>
          <a:pPr marL="171450" lvl="1" indent="-171450" algn="just" defTabSz="711200">
            <a:lnSpc>
              <a:spcPct val="90000"/>
            </a:lnSpc>
            <a:spcBef>
              <a:spcPct val="0"/>
            </a:spcBef>
            <a:spcAft>
              <a:spcPct val="15000"/>
            </a:spcAft>
            <a:buChar char="••"/>
          </a:pPr>
          <a:r>
            <a:rPr lang="tr-TR" sz="1600" kern="1200" dirty="0">
              <a:latin typeface="Calibri" panose="020F0502020204030204" pitchFamily="34" charset="0"/>
              <a:cs typeface="Calibri" panose="020F0502020204030204" pitchFamily="34" charset="0"/>
            </a:rPr>
            <a:t> 08/02/2007 tarihli ve 5580 sayılı Özel Öğretim Kurumları Kanunu kapsamında kurum açma iznine sahip ve alanında program onayı olan kurum/kuruluşlardır.</a:t>
          </a:r>
        </a:p>
        <a:p>
          <a:pPr marL="57150" lvl="1" indent="-57150" algn="just" defTabSz="444500">
            <a:lnSpc>
              <a:spcPct val="90000"/>
            </a:lnSpc>
            <a:spcBef>
              <a:spcPct val="0"/>
            </a:spcBef>
            <a:spcAft>
              <a:spcPct val="15000"/>
            </a:spcAft>
            <a:buChar char="••"/>
          </a:pPr>
          <a:endParaRPr lang="tr-TR" sz="1000" kern="1200" dirty="0"/>
        </a:p>
      </dsp:txBody>
      <dsp:txXfrm rot="-5400000">
        <a:off x="2524758" y="369248"/>
        <a:ext cx="6643692" cy="4432207"/>
      </dsp:txXfrm>
    </dsp:sp>
    <dsp:sp modelId="{EA76D721-580E-4CFE-8AB1-08AB49290FD9}">
      <dsp:nvSpPr>
        <dsp:cNvPr id="0" name=""/>
        <dsp:cNvSpPr/>
      </dsp:nvSpPr>
      <dsp:spPr>
        <a:xfrm>
          <a:off x="0" y="72803"/>
          <a:ext cx="2523521" cy="500835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tr-TR" sz="2400" b="1" kern="1200" dirty="0">
              <a:latin typeface="Calibri" panose="020F0502020204030204" pitchFamily="34" charset="0"/>
              <a:cs typeface="Calibri" panose="020F0502020204030204" pitchFamily="34" charset="0"/>
            </a:rPr>
            <a:t>Hizmet Alımı Giderleri</a:t>
          </a:r>
        </a:p>
        <a:p>
          <a:pPr lvl="0" algn="ctr" defTabSz="1066800">
            <a:lnSpc>
              <a:spcPct val="90000"/>
            </a:lnSpc>
            <a:spcBef>
              <a:spcPct val="0"/>
            </a:spcBef>
            <a:spcAft>
              <a:spcPct val="35000"/>
            </a:spcAft>
          </a:pPr>
          <a:r>
            <a:rPr lang="tr-TR" sz="2400" i="1" u="none" kern="1200" dirty="0">
              <a:latin typeface="Calibri" panose="020F0502020204030204" pitchFamily="34" charset="0"/>
              <a:cs typeface="Calibri" panose="020F0502020204030204" pitchFamily="34" charset="0"/>
            </a:rPr>
            <a:t>(Üst Limit: 100.000 TL)</a:t>
          </a:r>
        </a:p>
      </dsp:txBody>
      <dsp:txXfrm>
        <a:off x="123188" y="195991"/>
        <a:ext cx="2277145" cy="4761983"/>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A3130-ACEB-4BFD-94BA-1A81F19E2715}">
      <dsp:nvSpPr>
        <dsp:cNvPr id="0" name=""/>
        <dsp:cNvSpPr/>
      </dsp:nvSpPr>
      <dsp:spPr>
        <a:xfrm rot="5400000">
          <a:off x="3716007" y="-1004326"/>
          <a:ext cx="4911751" cy="717935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622300">
            <a:lnSpc>
              <a:spcPct val="90000"/>
            </a:lnSpc>
            <a:spcBef>
              <a:spcPct val="0"/>
            </a:spcBef>
            <a:spcAft>
              <a:spcPct val="15000"/>
            </a:spcAft>
            <a:buChar char="••"/>
          </a:pPr>
          <a:r>
            <a:rPr lang="tr-TR" sz="1400" kern="1200" dirty="0">
              <a:latin typeface="Calibri" panose="020F0502020204030204" pitchFamily="34" charset="0"/>
              <a:cs typeface="Calibri" panose="020F0502020204030204" pitchFamily="34" charset="0"/>
            </a:rPr>
            <a:t>Tasarım giderleri; işletmelerin ihracata konu ürün/ambalaj tasarım giderlerini kapsar.</a:t>
          </a:r>
        </a:p>
        <a:p>
          <a:pPr marL="114300" lvl="1" indent="-114300" algn="just" defTabSz="622300">
            <a:lnSpc>
              <a:spcPct val="90000"/>
            </a:lnSpc>
            <a:spcBef>
              <a:spcPct val="0"/>
            </a:spcBef>
            <a:spcAft>
              <a:spcPct val="15000"/>
            </a:spcAft>
            <a:buChar char="••"/>
          </a:pPr>
          <a:endParaRPr lang="tr-TR" sz="1400" kern="1200" dirty="0">
            <a:latin typeface="Calibri" panose="020F0502020204030204" pitchFamily="34" charset="0"/>
            <a:cs typeface="Calibri" panose="020F0502020204030204" pitchFamily="34" charset="0"/>
          </a:endParaRPr>
        </a:p>
        <a:p>
          <a:pPr marL="114300" lvl="1" indent="-114300" algn="just" defTabSz="622300">
            <a:lnSpc>
              <a:spcPct val="90000"/>
            </a:lnSpc>
            <a:spcBef>
              <a:spcPct val="0"/>
            </a:spcBef>
            <a:spcAft>
              <a:spcPct val="15000"/>
            </a:spcAft>
            <a:buChar char="••"/>
          </a:pPr>
          <a:r>
            <a:rPr lang="tr-TR" sz="1400" kern="1200" dirty="0">
              <a:latin typeface="Calibri" panose="020F0502020204030204" pitchFamily="34" charset="0"/>
              <a:cs typeface="Calibri" panose="020F0502020204030204" pitchFamily="34" charset="0"/>
            </a:rPr>
            <a:t>Yurt dışı marka tescil giderleri; işletmelerin TÜRKPATENT (Türk Patent ve Marka Kurumu) muadili yurt dışı kurum/kuruluşlardan alacakları Marka Tescil Belgeleri için başvuru yapılan kurum/kuruluşlara yaptığı ödemelere ilişkin giderleri kapsar. </a:t>
          </a:r>
        </a:p>
        <a:p>
          <a:pPr marL="114300" lvl="1" indent="-114300" algn="just" defTabSz="622300">
            <a:lnSpc>
              <a:spcPct val="90000"/>
            </a:lnSpc>
            <a:spcBef>
              <a:spcPct val="0"/>
            </a:spcBef>
            <a:spcAft>
              <a:spcPct val="15000"/>
            </a:spcAft>
            <a:buChar char="••"/>
          </a:pPr>
          <a:endParaRPr lang="tr-TR" sz="1400" kern="1200" dirty="0">
            <a:latin typeface="Calibri" panose="020F0502020204030204" pitchFamily="34" charset="0"/>
            <a:cs typeface="Calibri" panose="020F0502020204030204" pitchFamily="34" charset="0"/>
          </a:endParaRPr>
        </a:p>
        <a:p>
          <a:pPr marL="114300" lvl="1" indent="-114300" algn="just" defTabSz="622300">
            <a:lnSpc>
              <a:spcPct val="90000"/>
            </a:lnSpc>
            <a:spcBef>
              <a:spcPct val="0"/>
            </a:spcBef>
            <a:spcAft>
              <a:spcPct val="15000"/>
            </a:spcAft>
            <a:buChar char="••"/>
          </a:pPr>
          <a:r>
            <a:rPr lang="tr-TR" sz="1400" kern="1200" dirty="0">
              <a:latin typeface="Calibri" panose="020F0502020204030204" pitchFamily="34" charset="0"/>
              <a:cs typeface="Calibri" panose="020F0502020204030204" pitchFamily="34" charset="0"/>
            </a:rPr>
            <a:t>Nakliye giderleri; işletmelerin ihracata konu ürün numunesinin yurt dışına havayolu/karayolu/demiryolu/denizyolu ile yapacağı ihracat işleminde ürün numunesinin alıcıya ulaşım sürecindeki tüm nakliye ve sigorta giderlerini kapsar.</a:t>
          </a:r>
        </a:p>
        <a:p>
          <a:pPr marL="114300" lvl="1" indent="-114300" algn="just" defTabSz="622300">
            <a:lnSpc>
              <a:spcPct val="90000"/>
            </a:lnSpc>
            <a:spcBef>
              <a:spcPct val="0"/>
            </a:spcBef>
            <a:spcAft>
              <a:spcPct val="15000"/>
            </a:spcAft>
            <a:buChar char="••"/>
          </a:pPr>
          <a:endParaRPr lang="tr-TR" sz="1400" kern="1200" dirty="0">
            <a:latin typeface="Calibri" panose="020F0502020204030204" pitchFamily="34" charset="0"/>
            <a:cs typeface="Calibri" panose="020F0502020204030204" pitchFamily="34" charset="0"/>
          </a:endParaRPr>
        </a:p>
        <a:p>
          <a:pPr marL="114300" lvl="1" indent="-114300" algn="just" defTabSz="622300">
            <a:lnSpc>
              <a:spcPct val="90000"/>
            </a:lnSpc>
            <a:spcBef>
              <a:spcPct val="0"/>
            </a:spcBef>
            <a:spcAft>
              <a:spcPct val="15000"/>
            </a:spcAft>
            <a:buChar char="••"/>
          </a:pPr>
          <a:r>
            <a:rPr lang="tr-TR" sz="1400" kern="1200" dirty="0">
              <a:latin typeface="Calibri" panose="020F0502020204030204" pitchFamily="34" charset="0"/>
              <a:cs typeface="Calibri" panose="020F0502020204030204" pitchFamily="34" charset="0"/>
            </a:rPr>
            <a:t>Diğer hizmet alımları giderleri; proje ile ilişkilendirilebilecek diğer hizmet alım giderlerini kapsar.</a:t>
          </a:r>
        </a:p>
        <a:p>
          <a:pPr marL="114300" lvl="1" indent="-114300" algn="just" defTabSz="622300">
            <a:lnSpc>
              <a:spcPct val="90000"/>
            </a:lnSpc>
            <a:spcBef>
              <a:spcPct val="0"/>
            </a:spcBef>
            <a:spcAft>
              <a:spcPct val="15000"/>
            </a:spcAft>
            <a:buChar char="••"/>
          </a:pPr>
          <a:endParaRPr lang="tr-TR" sz="1400" kern="1200" dirty="0">
            <a:latin typeface="Calibri" panose="020F0502020204030204" pitchFamily="34" charset="0"/>
            <a:cs typeface="Calibri" panose="020F0502020204030204" pitchFamily="34" charset="0"/>
          </a:endParaRPr>
        </a:p>
        <a:p>
          <a:pPr marL="114300" lvl="1" indent="-114300" algn="just" defTabSz="622300">
            <a:lnSpc>
              <a:spcPct val="90000"/>
            </a:lnSpc>
            <a:spcBef>
              <a:spcPct val="0"/>
            </a:spcBef>
            <a:spcAft>
              <a:spcPct val="15000"/>
            </a:spcAft>
            <a:buChar char="••"/>
          </a:pPr>
          <a:r>
            <a:rPr lang="tr-TR" sz="1400" kern="1200" dirty="0">
              <a:latin typeface="Calibri" panose="020F0502020204030204" pitchFamily="34" charset="0"/>
              <a:cs typeface="Calibri" panose="020F0502020204030204" pitchFamily="34" charset="0"/>
            </a:rPr>
            <a:t>Eğitim, danışmanlık, tasarım, yurt dışı marka tescil, nakliye ve diğer hizmet alımı giderlerinin her biri için </a:t>
          </a:r>
          <a:r>
            <a:rPr lang="tr-TR" sz="1400" kern="1200" dirty="0">
              <a:solidFill>
                <a:srgbClr val="FF0000"/>
              </a:solidFill>
              <a:latin typeface="Calibri" panose="020F0502020204030204" pitchFamily="34" charset="0"/>
              <a:cs typeface="Calibri" panose="020F0502020204030204" pitchFamily="34" charset="0"/>
            </a:rPr>
            <a:t>20.000.-TL’ye kadar</a:t>
          </a:r>
          <a:r>
            <a:rPr lang="tr-TR" sz="1400" kern="1200" dirty="0">
              <a:latin typeface="Calibri" panose="020F0502020204030204" pitchFamily="34" charset="0"/>
              <a:cs typeface="Calibri" panose="020F0502020204030204" pitchFamily="34" charset="0"/>
            </a:rPr>
            <a:t> destek verilir.</a:t>
          </a:r>
        </a:p>
      </dsp:txBody>
      <dsp:txXfrm rot="-5400000">
        <a:off x="2582205" y="369248"/>
        <a:ext cx="6939584" cy="4432207"/>
      </dsp:txXfrm>
    </dsp:sp>
    <dsp:sp modelId="{EA76D721-580E-4CFE-8AB1-08AB49290FD9}">
      <dsp:nvSpPr>
        <dsp:cNvPr id="0" name=""/>
        <dsp:cNvSpPr/>
      </dsp:nvSpPr>
      <dsp:spPr>
        <a:xfrm>
          <a:off x="0" y="88300"/>
          <a:ext cx="2539416" cy="497736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tr-TR" sz="2800" b="1" kern="1200" dirty="0">
              <a:latin typeface="Calibri" panose="020F0502020204030204" pitchFamily="34" charset="0"/>
              <a:cs typeface="Calibri" panose="020F0502020204030204" pitchFamily="34" charset="0"/>
            </a:rPr>
            <a:t>Hizmet Alımı Giderleri</a:t>
          </a:r>
        </a:p>
      </dsp:txBody>
      <dsp:txXfrm>
        <a:off x="123964" y="212264"/>
        <a:ext cx="2291488" cy="472943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076172-5268-482A-B3CE-050FEEB6D416}">
      <dsp:nvSpPr>
        <dsp:cNvPr id="0" name=""/>
        <dsp:cNvSpPr/>
      </dsp:nvSpPr>
      <dsp:spPr>
        <a:xfrm>
          <a:off x="3048000" y="486780"/>
          <a:ext cx="1643248" cy="570383"/>
        </a:xfrm>
        <a:custGeom>
          <a:avLst/>
          <a:gdLst/>
          <a:ahLst/>
          <a:cxnLst/>
          <a:rect l="0" t="0" r="0" b="0"/>
          <a:pathLst>
            <a:path>
              <a:moveTo>
                <a:pt x="0" y="0"/>
              </a:moveTo>
              <a:lnTo>
                <a:pt x="0" y="285191"/>
              </a:lnTo>
              <a:lnTo>
                <a:pt x="1643248" y="285191"/>
              </a:lnTo>
              <a:lnTo>
                <a:pt x="1643248" y="5703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DE762F5-4EA3-4DC9-839B-60205E636102}">
      <dsp:nvSpPr>
        <dsp:cNvPr id="0" name=""/>
        <dsp:cNvSpPr/>
      </dsp:nvSpPr>
      <dsp:spPr>
        <a:xfrm>
          <a:off x="1404751" y="486780"/>
          <a:ext cx="1643248" cy="570383"/>
        </a:xfrm>
        <a:custGeom>
          <a:avLst/>
          <a:gdLst/>
          <a:ahLst/>
          <a:cxnLst/>
          <a:rect l="0" t="0" r="0" b="0"/>
          <a:pathLst>
            <a:path>
              <a:moveTo>
                <a:pt x="1643248" y="0"/>
              </a:moveTo>
              <a:lnTo>
                <a:pt x="1643248" y="285191"/>
              </a:lnTo>
              <a:lnTo>
                <a:pt x="0" y="285191"/>
              </a:lnTo>
              <a:lnTo>
                <a:pt x="0" y="5703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D26D49-F624-4F72-8D61-C8E80A365A0C}">
      <dsp:nvSpPr>
        <dsp:cNvPr id="0" name=""/>
        <dsp:cNvSpPr/>
      </dsp:nvSpPr>
      <dsp:spPr>
        <a:xfrm>
          <a:off x="1689943" y="1180"/>
          <a:ext cx="2716113" cy="485600"/>
        </a:xfrm>
        <a:prstGeom prst="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tr-TR" sz="1800" b="1" kern="1200" dirty="0" smtClean="0"/>
            <a:t>KOSGEB DESTEKLERİ</a:t>
          </a:r>
          <a:endParaRPr lang="tr-TR" sz="1800" b="1" kern="1200" dirty="0"/>
        </a:p>
      </dsp:txBody>
      <dsp:txXfrm>
        <a:off x="1689943" y="1180"/>
        <a:ext cx="2716113" cy="485600"/>
      </dsp:txXfrm>
    </dsp:sp>
    <dsp:sp modelId="{9C6B4F22-AE35-4FE6-922D-D02F670330D7}">
      <dsp:nvSpPr>
        <dsp:cNvPr id="0" name=""/>
        <dsp:cNvSpPr/>
      </dsp:nvSpPr>
      <dsp:spPr>
        <a:xfrm>
          <a:off x="46694" y="1057164"/>
          <a:ext cx="2716113" cy="646557"/>
        </a:xfrm>
        <a:prstGeom prst="rect">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tr-TR" sz="1800" kern="1200" dirty="0" smtClean="0"/>
            <a:t>KOSGEB Destek Programları Yönetmeliği</a:t>
          </a:r>
          <a:endParaRPr lang="tr-TR" sz="1800" kern="1200" dirty="0"/>
        </a:p>
      </dsp:txBody>
      <dsp:txXfrm>
        <a:off x="46694" y="1057164"/>
        <a:ext cx="2716113" cy="646557"/>
      </dsp:txXfrm>
    </dsp:sp>
    <dsp:sp modelId="{AB2A34E5-A170-4D76-9EC0-E064ECE61FC1}">
      <dsp:nvSpPr>
        <dsp:cNvPr id="0" name=""/>
        <dsp:cNvSpPr/>
      </dsp:nvSpPr>
      <dsp:spPr>
        <a:xfrm>
          <a:off x="3333191" y="1057164"/>
          <a:ext cx="2716113" cy="6698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tr-TR" sz="1800" kern="1200" dirty="0" smtClean="0"/>
            <a:t>KOSGEB KOBİ Kredi Faiz Desteği Yönetmeliği</a:t>
          </a:r>
          <a:endParaRPr lang="tr-TR" sz="1800" kern="1200" dirty="0"/>
        </a:p>
      </dsp:txBody>
      <dsp:txXfrm>
        <a:off x="3333191" y="1057164"/>
        <a:ext cx="2716113" cy="669847"/>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301C2A-5354-4786-BE53-DA61A6997258}">
      <dsp:nvSpPr>
        <dsp:cNvPr id="0" name=""/>
        <dsp:cNvSpPr/>
      </dsp:nvSpPr>
      <dsp:spPr>
        <a:xfrm>
          <a:off x="-4739141" y="-726422"/>
          <a:ext cx="5644834" cy="5644834"/>
        </a:xfrm>
        <a:prstGeom prst="blockArc">
          <a:avLst>
            <a:gd name="adj1" fmla="val 18900000"/>
            <a:gd name="adj2" fmla="val 2700000"/>
            <a:gd name="adj3" fmla="val 383"/>
          </a:avLst>
        </a:pr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FB845F-7269-411B-B587-0485C5DE495F}">
      <dsp:nvSpPr>
        <dsp:cNvPr id="0" name=""/>
        <dsp:cNvSpPr/>
      </dsp:nvSpPr>
      <dsp:spPr>
        <a:xfrm>
          <a:off x="582489" y="419199"/>
          <a:ext cx="7989038" cy="838398"/>
        </a:xfrm>
        <a:prstGeom prst="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665478" tIns="60960" rIns="60960" bIns="60960" numCol="1" spcCol="1270" anchor="ctr" anchorCtr="0">
          <a:noAutofit/>
        </a:bodyPr>
        <a:lstStyle/>
        <a:p>
          <a:pPr lvl="0" algn="l" defTabSz="1066800">
            <a:lnSpc>
              <a:spcPct val="90000"/>
            </a:lnSpc>
            <a:spcBef>
              <a:spcPct val="0"/>
            </a:spcBef>
            <a:spcAft>
              <a:spcPct val="35000"/>
            </a:spcAft>
          </a:pPr>
          <a:r>
            <a:rPr lang="tr-TR" sz="2400" b="1" kern="1200" cap="none" spc="50" dirty="0" smtClean="0">
              <a:ln w="12700" cmpd="sng">
                <a:prstDash val="solid"/>
              </a:ln>
              <a:effectLst>
                <a:glow rad="53100">
                  <a:schemeClr val="accent6">
                    <a:satMod val="180000"/>
                    <a:alpha val="30000"/>
                  </a:schemeClr>
                </a:glow>
              </a:effectLst>
            </a:rPr>
            <a:t>     İşletme Kredisi</a:t>
          </a:r>
          <a:endParaRPr lang="tr-TR" sz="2400" b="1" kern="1200" cap="none" spc="50" dirty="0">
            <a:ln w="12700" cmpd="sng">
              <a:prstDash val="solid"/>
            </a:ln>
            <a:effectLst>
              <a:glow rad="53100">
                <a:schemeClr val="accent6">
                  <a:satMod val="180000"/>
                  <a:alpha val="30000"/>
                </a:schemeClr>
              </a:glow>
            </a:effectLst>
          </a:endParaRPr>
        </a:p>
      </dsp:txBody>
      <dsp:txXfrm>
        <a:off x="582489" y="419199"/>
        <a:ext cx="7989038" cy="838398"/>
      </dsp:txXfrm>
    </dsp:sp>
    <dsp:sp modelId="{86A3F47F-AD4F-4AF4-8B1D-950389CCC72F}">
      <dsp:nvSpPr>
        <dsp:cNvPr id="0" name=""/>
        <dsp:cNvSpPr/>
      </dsp:nvSpPr>
      <dsp:spPr>
        <a:xfrm>
          <a:off x="58490" y="314399"/>
          <a:ext cx="1047997" cy="1047997"/>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00F4F4C-BF2B-42E5-826E-A7A509353275}">
      <dsp:nvSpPr>
        <dsp:cNvPr id="0" name=""/>
        <dsp:cNvSpPr/>
      </dsp:nvSpPr>
      <dsp:spPr>
        <a:xfrm>
          <a:off x="887247" y="1676796"/>
          <a:ext cx="7684280" cy="838398"/>
        </a:xfrm>
        <a:prstGeom prst="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665478" tIns="60960" rIns="60960" bIns="60960" numCol="1" spcCol="1270" anchor="ctr" anchorCtr="0">
          <a:noAutofit/>
        </a:bodyPr>
        <a:lstStyle/>
        <a:p>
          <a:pPr lvl="0" algn="l" defTabSz="1066800">
            <a:lnSpc>
              <a:spcPct val="90000"/>
            </a:lnSpc>
            <a:spcBef>
              <a:spcPct val="0"/>
            </a:spcBef>
            <a:spcAft>
              <a:spcPct val="35000"/>
            </a:spcAft>
          </a:pPr>
          <a:r>
            <a:rPr lang="tr-TR" sz="2400" b="1" kern="1200" cap="none" spc="50" dirty="0" smtClean="0">
              <a:ln w="12700" cmpd="sng">
                <a:prstDash val="solid"/>
              </a:ln>
              <a:effectLst>
                <a:glow rad="53100">
                  <a:schemeClr val="accent6">
                    <a:satMod val="180000"/>
                    <a:alpha val="30000"/>
                  </a:schemeClr>
                </a:glow>
              </a:effectLst>
            </a:rPr>
            <a:t>     Makine- Teçhizat Kredisi</a:t>
          </a:r>
          <a:endParaRPr lang="tr-TR" sz="2400" b="1" kern="1200" cap="none" spc="50" dirty="0">
            <a:ln w="12700" cmpd="sng">
              <a:prstDash val="solid"/>
            </a:ln>
            <a:effectLst>
              <a:glow rad="53100">
                <a:schemeClr val="accent6">
                  <a:satMod val="180000"/>
                  <a:alpha val="30000"/>
                </a:schemeClr>
              </a:glow>
            </a:effectLst>
          </a:endParaRPr>
        </a:p>
      </dsp:txBody>
      <dsp:txXfrm>
        <a:off x="887247" y="1676796"/>
        <a:ext cx="7684280" cy="838398"/>
      </dsp:txXfrm>
    </dsp:sp>
    <dsp:sp modelId="{CE2B6A86-F834-47AD-88E8-8B5CEC57607A}">
      <dsp:nvSpPr>
        <dsp:cNvPr id="0" name=""/>
        <dsp:cNvSpPr/>
      </dsp:nvSpPr>
      <dsp:spPr>
        <a:xfrm>
          <a:off x="363248" y="1571996"/>
          <a:ext cx="1047997" cy="1047997"/>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BC408CC-7F2A-41BA-9CD5-84B6EF5D1919}">
      <dsp:nvSpPr>
        <dsp:cNvPr id="0" name=""/>
        <dsp:cNvSpPr/>
      </dsp:nvSpPr>
      <dsp:spPr>
        <a:xfrm>
          <a:off x="582489" y="2934392"/>
          <a:ext cx="7989038" cy="838398"/>
        </a:xfrm>
        <a:prstGeom prst="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665478" tIns="60960" rIns="60960" bIns="60960" numCol="1" spcCol="1270" anchor="ctr" anchorCtr="0">
          <a:noAutofit/>
        </a:bodyPr>
        <a:lstStyle/>
        <a:p>
          <a:pPr lvl="0" algn="l" defTabSz="1066800">
            <a:lnSpc>
              <a:spcPct val="90000"/>
            </a:lnSpc>
            <a:spcBef>
              <a:spcPct val="0"/>
            </a:spcBef>
            <a:spcAft>
              <a:spcPct val="35000"/>
            </a:spcAft>
          </a:pPr>
          <a:r>
            <a:rPr lang="tr-TR" sz="2400" b="1" kern="1200" cap="none" spc="50" dirty="0" smtClean="0">
              <a:ln w="12700" cmpd="sng">
                <a:prstDash val="solid"/>
              </a:ln>
              <a:effectLst>
                <a:glow rad="53100">
                  <a:schemeClr val="accent6">
                    <a:satMod val="180000"/>
                    <a:alpha val="30000"/>
                  </a:schemeClr>
                </a:glow>
              </a:effectLst>
            </a:rPr>
            <a:t>     Acil </a:t>
          </a:r>
          <a:r>
            <a:rPr lang="tr-TR" sz="2400" b="1" kern="1200" cap="none" spc="50" smtClean="0">
              <a:ln w="12700" cmpd="sng">
                <a:prstDash val="solid"/>
              </a:ln>
              <a:effectLst>
                <a:glow rad="53100">
                  <a:schemeClr val="accent6">
                    <a:satMod val="180000"/>
                    <a:alpha val="30000"/>
                  </a:schemeClr>
                </a:glow>
              </a:effectLst>
            </a:rPr>
            <a:t>Destek Kredisi</a:t>
          </a:r>
          <a:endParaRPr lang="tr-TR" sz="2400" b="1" kern="1200" cap="none" spc="50" dirty="0">
            <a:ln w="12700" cmpd="sng">
              <a:prstDash val="solid"/>
            </a:ln>
            <a:effectLst>
              <a:glow rad="53100">
                <a:schemeClr val="accent6">
                  <a:satMod val="180000"/>
                  <a:alpha val="30000"/>
                </a:schemeClr>
              </a:glow>
            </a:effectLst>
          </a:endParaRPr>
        </a:p>
      </dsp:txBody>
      <dsp:txXfrm>
        <a:off x="582489" y="2934392"/>
        <a:ext cx="7989038" cy="838398"/>
      </dsp:txXfrm>
    </dsp:sp>
    <dsp:sp modelId="{EED654A5-A827-43F3-AFAA-D91541F18871}">
      <dsp:nvSpPr>
        <dsp:cNvPr id="0" name=""/>
        <dsp:cNvSpPr/>
      </dsp:nvSpPr>
      <dsp:spPr>
        <a:xfrm>
          <a:off x="58490" y="2829593"/>
          <a:ext cx="1047997" cy="1047997"/>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918478-FCEF-4F06-8BB5-ECDC4C274354}">
      <dsp:nvSpPr>
        <dsp:cNvPr id="0" name=""/>
        <dsp:cNvSpPr/>
      </dsp:nvSpPr>
      <dsp:spPr>
        <a:xfrm>
          <a:off x="0" y="0"/>
          <a:ext cx="7244185" cy="2202341"/>
        </a:xfrm>
        <a:prstGeom prst="roundRect">
          <a:avLst>
            <a:gd name="adj" fmla="val 10000"/>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91440" tIns="91440" rIns="91440" bIns="91440" numCol="1" spcCol="1270" anchor="ctr" anchorCtr="0">
          <a:noAutofit/>
        </a:bodyPr>
        <a:lstStyle/>
        <a:p>
          <a:pPr lvl="0" algn="just" defTabSz="1066800" rtl="0">
            <a:lnSpc>
              <a:spcPct val="90000"/>
            </a:lnSpc>
            <a:spcBef>
              <a:spcPct val="0"/>
            </a:spcBef>
            <a:spcAft>
              <a:spcPct val="35000"/>
            </a:spcAft>
          </a:pPr>
          <a:r>
            <a:rPr lang="tr-TR" sz="2400" b="1" u="none" kern="1200" dirty="0" smtClean="0"/>
            <a:t>Teknoloji Odaklı Sanayi Hamlesi Programı kapsamında Türkiye’de orta-yüksek ve yüksek teknoloji seviyeli sektörlerdeki katma değeri yüksek ürünlerin ve bu sektörlerin gelişimi için kritik önemi haiz ürünlerin üretimini artırmaya yönelik</a:t>
          </a:r>
          <a:endParaRPr lang="tr-TR" sz="2000" b="1" u="none" kern="1200" dirty="0">
            <a:solidFill>
              <a:srgbClr val="FFC000"/>
            </a:solidFill>
          </a:endParaRPr>
        </a:p>
      </dsp:txBody>
      <dsp:txXfrm>
        <a:off x="64504" y="64504"/>
        <a:ext cx="7115177" cy="2073333"/>
      </dsp:txXfrm>
    </dsp:sp>
    <dsp:sp modelId="{238E140D-9CF2-4B72-BC89-D2C9FD59427E}">
      <dsp:nvSpPr>
        <dsp:cNvPr id="0" name=""/>
        <dsp:cNvSpPr/>
      </dsp:nvSpPr>
      <dsp:spPr>
        <a:xfrm>
          <a:off x="7290929" y="769146"/>
          <a:ext cx="940196" cy="66404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just" defTabSz="1333500">
            <a:lnSpc>
              <a:spcPct val="90000"/>
            </a:lnSpc>
            <a:spcBef>
              <a:spcPct val="0"/>
            </a:spcBef>
            <a:spcAft>
              <a:spcPct val="35000"/>
            </a:spcAft>
          </a:pPr>
          <a:endParaRPr lang="tr-TR" sz="3000" kern="1200"/>
        </a:p>
      </dsp:txBody>
      <dsp:txXfrm>
        <a:off x="7290929" y="901956"/>
        <a:ext cx="740982" cy="398428"/>
      </dsp:txXfrm>
    </dsp:sp>
    <dsp:sp modelId="{58771618-7CB8-4D5A-B60D-FC784BBAD5DA}">
      <dsp:nvSpPr>
        <dsp:cNvPr id="0" name=""/>
        <dsp:cNvSpPr/>
      </dsp:nvSpPr>
      <dsp:spPr>
        <a:xfrm>
          <a:off x="8247763" y="0"/>
          <a:ext cx="3103732" cy="2202341"/>
        </a:xfrm>
        <a:prstGeom prst="roundRect">
          <a:avLst>
            <a:gd name="adj" fmla="val 10000"/>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tr-TR" sz="2400" b="1" u="none" kern="1200" dirty="0" smtClean="0"/>
            <a:t>KOBİ’lere ait yatırım projelerinin desteklenmesidir.</a:t>
          </a:r>
          <a:endParaRPr lang="tr-TR" sz="2800" b="1" u="none" kern="1200" dirty="0"/>
        </a:p>
      </dsp:txBody>
      <dsp:txXfrm>
        <a:off x="8312267" y="64504"/>
        <a:ext cx="2974724" cy="2073333"/>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301C2A-5354-4786-BE53-DA61A6997258}">
      <dsp:nvSpPr>
        <dsp:cNvPr id="0" name=""/>
        <dsp:cNvSpPr/>
      </dsp:nvSpPr>
      <dsp:spPr>
        <a:xfrm>
          <a:off x="-5574465" y="-859990"/>
          <a:ext cx="6688533" cy="6688533"/>
        </a:xfrm>
        <a:prstGeom prst="blockArc">
          <a:avLst>
            <a:gd name="adj1" fmla="val 18900000"/>
            <a:gd name="adj2" fmla="val 2700000"/>
            <a:gd name="adj3" fmla="val 32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FB845F-7269-411B-B587-0485C5DE495F}">
      <dsp:nvSpPr>
        <dsp:cNvPr id="0" name=""/>
        <dsp:cNvSpPr/>
      </dsp:nvSpPr>
      <dsp:spPr>
        <a:xfrm>
          <a:off x="913344" y="1110834"/>
          <a:ext cx="7689182" cy="617360"/>
        </a:xfrm>
        <a:prstGeom prst="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126661" tIns="60960" rIns="60960" bIns="60960" numCol="1" spcCol="1270" anchor="ctr" anchorCtr="0">
          <a:noAutofit/>
        </a:bodyPr>
        <a:lstStyle/>
        <a:p>
          <a:pPr lvl="0" algn="l" defTabSz="1066800">
            <a:lnSpc>
              <a:spcPct val="90000"/>
            </a:lnSpc>
            <a:spcBef>
              <a:spcPct val="0"/>
            </a:spcBef>
            <a:spcAft>
              <a:spcPct val="35000"/>
            </a:spcAft>
          </a:pPr>
          <a:r>
            <a:rPr lang="tr-TR" sz="2400" b="0" kern="1200" dirty="0" smtClean="0"/>
            <a:t>     Stratejik ve Öncelikli Sektörlerdeki İşletmeler</a:t>
          </a:r>
          <a:endParaRPr lang="tr-TR" sz="2400" b="0" kern="1200" dirty="0"/>
        </a:p>
      </dsp:txBody>
      <dsp:txXfrm>
        <a:off x="913344" y="1110834"/>
        <a:ext cx="7689182" cy="617360"/>
      </dsp:txXfrm>
    </dsp:sp>
    <dsp:sp modelId="{86A3F47F-AD4F-4AF4-8B1D-950389CCC72F}">
      <dsp:nvSpPr>
        <dsp:cNvPr id="0" name=""/>
        <dsp:cNvSpPr/>
      </dsp:nvSpPr>
      <dsp:spPr>
        <a:xfrm>
          <a:off x="26209" y="532380"/>
          <a:ext cx="1774269" cy="1774269"/>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00F4F4C-BF2B-42E5-826E-A7A509353275}">
      <dsp:nvSpPr>
        <dsp:cNvPr id="0" name=""/>
        <dsp:cNvSpPr/>
      </dsp:nvSpPr>
      <dsp:spPr>
        <a:xfrm>
          <a:off x="913344" y="3209640"/>
          <a:ext cx="7689182" cy="678793"/>
        </a:xfrm>
        <a:prstGeom prst="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126661" tIns="60960" rIns="60960" bIns="60960" numCol="1" spcCol="1270" anchor="ctr" anchorCtr="0">
          <a:noAutofit/>
        </a:bodyPr>
        <a:lstStyle/>
        <a:p>
          <a:pPr lvl="0" algn="l" defTabSz="1066800">
            <a:lnSpc>
              <a:spcPct val="90000"/>
            </a:lnSpc>
            <a:spcBef>
              <a:spcPct val="0"/>
            </a:spcBef>
            <a:spcAft>
              <a:spcPct val="35000"/>
            </a:spcAft>
          </a:pPr>
          <a:r>
            <a:rPr lang="tr-TR" sz="2400" b="0" kern="1200" dirty="0" smtClean="0"/>
            <a:t>     Girişimci İşletmeler </a:t>
          </a:r>
          <a:endParaRPr lang="tr-TR" sz="2400" b="0" kern="1200" dirty="0"/>
        </a:p>
      </dsp:txBody>
      <dsp:txXfrm>
        <a:off x="913344" y="3209640"/>
        <a:ext cx="7689182" cy="678793"/>
      </dsp:txXfrm>
    </dsp:sp>
    <dsp:sp modelId="{CE2B6A86-F834-47AD-88E8-8B5CEC57607A}">
      <dsp:nvSpPr>
        <dsp:cNvPr id="0" name=""/>
        <dsp:cNvSpPr/>
      </dsp:nvSpPr>
      <dsp:spPr>
        <a:xfrm>
          <a:off x="26209" y="2661901"/>
          <a:ext cx="1774269" cy="1774269"/>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AC3FBD-CF9E-41BD-91DB-72403EE4297E}">
      <dsp:nvSpPr>
        <dsp:cNvPr id="0" name=""/>
        <dsp:cNvSpPr/>
      </dsp:nvSpPr>
      <dsp:spPr>
        <a:xfrm>
          <a:off x="-5436785" y="-832482"/>
          <a:ext cx="6473585" cy="6473585"/>
        </a:xfrm>
        <a:prstGeom prst="blockArc">
          <a:avLst>
            <a:gd name="adj1" fmla="val 18900000"/>
            <a:gd name="adj2" fmla="val 2700000"/>
            <a:gd name="adj3" fmla="val 334"/>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5E63987-7293-41BE-87CC-35C9432AF470}">
      <dsp:nvSpPr>
        <dsp:cNvPr id="0" name=""/>
        <dsp:cNvSpPr/>
      </dsp:nvSpPr>
      <dsp:spPr>
        <a:xfrm>
          <a:off x="863603" y="879233"/>
          <a:ext cx="10218624" cy="110523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90395" tIns="63500" rIns="63500" bIns="63500" numCol="1" spcCol="1270" anchor="ctr" anchorCtr="0">
          <a:noAutofit/>
        </a:bodyPr>
        <a:lstStyle/>
        <a:p>
          <a:pPr lvl="0" algn="l" defTabSz="1111250">
            <a:lnSpc>
              <a:spcPct val="90000"/>
            </a:lnSpc>
            <a:spcBef>
              <a:spcPct val="0"/>
            </a:spcBef>
            <a:spcAft>
              <a:spcPct val="35000"/>
            </a:spcAft>
          </a:pPr>
          <a:r>
            <a:rPr lang="tr-TR" sz="2500" b="1" kern="1200" dirty="0" smtClean="0"/>
            <a:t>Bakanlığa ön başvuruda bulunup kesin başvuru yapmaya davet edilerek Portal üzerinden KOSGEB’e yönlendirilen, </a:t>
          </a:r>
          <a:endParaRPr lang="tr-TR" sz="2500" b="1" kern="1200" dirty="0"/>
        </a:p>
      </dsp:txBody>
      <dsp:txXfrm>
        <a:off x="863603" y="879233"/>
        <a:ext cx="10218624" cy="1105231"/>
      </dsp:txXfrm>
    </dsp:sp>
    <dsp:sp modelId="{0EA6DFC3-57A4-4A06-BD2C-ECBE8E2EEA09}">
      <dsp:nvSpPr>
        <dsp:cNvPr id="0" name=""/>
        <dsp:cNvSpPr/>
      </dsp:nvSpPr>
      <dsp:spPr>
        <a:xfrm>
          <a:off x="360906" y="867510"/>
          <a:ext cx="962913" cy="112870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186AE06-E7F0-489F-A1D2-910C94DCD904}">
      <dsp:nvSpPr>
        <dsp:cNvPr id="0" name=""/>
        <dsp:cNvSpPr/>
      </dsp:nvSpPr>
      <dsp:spPr>
        <a:xfrm>
          <a:off x="842362" y="2819841"/>
          <a:ext cx="10261105" cy="1018989"/>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90395" tIns="63500" rIns="63500" bIns="63500" numCol="1" spcCol="1270" anchor="ctr" anchorCtr="0">
          <a:noAutofit/>
        </a:bodyPr>
        <a:lstStyle/>
        <a:p>
          <a:pPr lvl="0" algn="l" defTabSz="1111250">
            <a:lnSpc>
              <a:spcPct val="90000"/>
            </a:lnSpc>
            <a:spcBef>
              <a:spcPct val="0"/>
            </a:spcBef>
            <a:spcAft>
              <a:spcPct val="35000"/>
            </a:spcAft>
          </a:pPr>
          <a:r>
            <a:rPr lang="tr-TR" sz="2500" b="1" kern="1200" dirty="0" smtClean="0"/>
            <a:t>Türkiye’de yerleşik sermaye şirketi statüsünde olan,</a:t>
          </a:r>
          <a:endParaRPr lang="tr-TR" sz="2500" b="1" kern="1200" dirty="0"/>
        </a:p>
      </dsp:txBody>
      <dsp:txXfrm>
        <a:off x="842362" y="2819841"/>
        <a:ext cx="10261105" cy="1018989"/>
      </dsp:txXfrm>
    </dsp:sp>
    <dsp:sp modelId="{8EAF64B9-3E09-4B57-BB23-BF31D37DE8D2}">
      <dsp:nvSpPr>
        <dsp:cNvPr id="0" name=""/>
        <dsp:cNvSpPr/>
      </dsp:nvSpPr>
      <dsp:spPr>
        <a:xfrm>
          <a:off x="343880" y="2708027"/>
          <a:ext cx="996964" cy="122138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65EE03-901D-428F-B61F-E11B15DC4521}">
      <dsp:nvSpPr>
        <dsp:cNvPr id="0" name=""/>
        <dsp:cNvSpPr/>
      </dsp:nvSpPr>
      <dsp:spPr>
        <a:xfrm rot="10800000">
          <a:off x="1329732" y="1928"/>
          <a:ext cx="5897050" cy="1932173"/>
        </a:xfrm>
        <a:prstGeom prst="homePlate">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2035" tIns="91440" rIns="170688" bIns="91440" numCol="1" spcCol="1270" anchor="ctr" anchorCtr="0">
          <a:noAutofit/>
        </a:bodyPr>
        <a:lstStyle/>
        <a:p>
          <a:pPr lvl="0" algn="ctr" defTabSz="1066800">
            <a:lnSpc>
              <a:spcPct val="90000"/>
            </a:lnSpc>
            <a:spcBef>
              <a:spcPct val="0"/>
            </a:spcBef>
            <a:spcAft>
              <a:spcPct val="35000"/>
            </a:spcAft>
          </a:pPr>
          <a:r>
            <a:rPr lang="tr-TR" sz="2400" b="1" kern="1200" dirty="0">
              <a:solidFill>
                <a:schemeClr val="bg1"/>
              </a:solidFill>
            </a:rPr>
            <a:t>Ar-Ge/Yenilik Faaliyetleri Sonucu Ortaya Çıkan Ürünlerin</a:t>
          </a:r>
          <a:endParaRPr lang="tr-TR" sz="2400" kern="1200" dirty="0">
            <a:solidFill>
              <a:schemeClr val="bg1"/>
            </a:solidFill>
          </a:endParaRPr>
        </a:p>
      </dsp:txBody>
      <dsp:txXfrm rot="10800000">
        <a:off x="1812775" y="1928"/>
        <a:ext cx="5414007" cy="1932173"/>
      </dsp:txXfrm>
    </dsp:sp>
    <dsp:sp modelId="{07A1539B-01E1-4027-BBF2-D61886B160B3}">
      <dsp:nvSpPr>
        <dsp:cNvPr id="0" name=""/>
        <dsp:cNvSpPr/>
      </dsp:nvSpPr>
      <dsp:spPr>
        <a:xfrm>
          <a:off x="694097" y="7222"/>
          <a:ext cx="1932173" cy="1932173"/>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0B8BA8E-C81E-4514-809C-620F18C3917B}">
      <dsp:nvSpPr>
        <dsp:cNvPr id="0" name=""/>
        <dsp:cNvSpPr/>
      </dsp:nvSpPr>
      <dsp:spPr>
        <a:xfrm rot="10800000">
          <a:off x="1384823" y="2511662"/>
          <a:ext cx="5873589" cy="1932173"/>
        </a:xfrm>
        <a:prstGeom prst="homePlate">
          <a:avLst/>
        </a:prstGeom>
        <a:solidFill>
          <a:schemeClr val="accent4">
            <a:hueOff val="165828"/>
            <a:satOff val="0"/>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2035" tIns="91440" rIns="170688" bIns="91440" numCol="1" spcCol="1270" anchor="ctr" anchorCtr="0">
          <a:noAutofit/>
        </a:bodyPr>
        <a:lstStyle/>
        <a:p>
          <a:pPr lvl="0" algn="ctr" defTabSz="1066800">
            <a:lnSpc>
              <a:spcPct val="90000"/>
            </a:lnSpc>
            <a:spcBef>
              <a:spcPct val="0"/>
            </a:spcBef>
            <a:spcAft>
              <a:spcPct val="35000"/>
            </a:spcAft>
          </a:pPr>
          <a:r>
            <a:rPr lang="tr-TR" sz="2400" b="1" kern="1200" dirty="0">
              <a:solidFill>
                <a:schemeClr val="bg1"/>
              </a:solidFill>
            </a:rPr>
            <a:t>Orta - Yüksek veya Yüksek Teknoloji Alanında Yer Alan ve Cari İşlemler Hesabına Katkı Sağlayacak Ürünlerin</a:t>
          </a:r>
        </a:p>
      </dsp:txBody>
      <dsp:txXfrm rot="10800000">
        <a:off x="1867866" y="2511662"/>
        <a:ext cx="5390546" cy="1932173"/>
      </dsp:txXfrm>
    </dsp:sp>
    <dsp:sp modelId="{60714F35-6766-4AD7-B1E7-AA5AFAB9D698}">
      <dsp:nvSpPr>
        <dsp:cNvPr id="0" name=""/>
        <dsp:cNvSpPr/>
      </dsp:nvSpPr>
      <dsp:spPr>
        <a:xfrm>
          <a:off x="676776" y="2510870"/>
          <a:ext cx="1932173" cy="1932173"/>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32000" r="-3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FC9341-7765-4FEF-B5BF-226C6C299425}">
      <dsp:nvSpPr>
        <dsp:cNvPr id="0" name=""/>
        <dsp:cNvSpPr/>
      </dsp:nvSpPr>
      <dsp:spPr>
        <a:xfrm>
          <a:off x="4046" y="1089035"/>
          <a:ext cx="2433432" cy="747675"/>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lvl="0" algn="ctr" defTabSz="488950">
            <a:lnSpc>
              <a:spcPct val="100000"/>
            </a:lnSpc>
            <a:spcBef>
              <a:spcPct val="0"/>
            </a:spcBef>
            <a:spcAft>
              <a:spcPts val="0"/>
            </a:spcAft>
          </a:pPr>
          <a:r>
            <a:rPr lang="tr-TR" sz="1100" b="1" kern="1200" dirty="0">
              <a:solidFill>
                <a:schemeClr val="bg1"/>
              </a:solidFill>
            </a:rPr>
            <a:t>Ar-Ge veya yenilik projesi/faaliyetinin başarı ile tamamlanma tarihinden itibaren </a:t>
          </a:r>
        </a:p>
        <a:p>
          <a:pPr lvl="0" algn="ctr" defTabSz="488950">
            <a:lnSpc>
              <a:spcPct val="100000"/>
            </a:lnSpc>
            <a:spcBef>
              <a:spcPct val="0"/>
            </a:spcBef>
            <a:spcAft>
              <a:spcPts val="0"/>
            </a:spcAft>
          </a:pPr>
          <a:r>
            <a:rPr lang="tr-TR" sz="1100" b="1" kern="1200" dirty="0">
              <a:solidFill>
                <a:schemeClr val="bg1"/>
              </a:solidFill>
            </a:rPr>
            <a:t>5 (beş) yıl içerisinde</a:t>
          </a:r>
          <a:endParaRPr lang="tr-TR" sz="1100" kern="1200" dirty="0">
            <a:solidFill>
              <a:schemeClr val="bg1"/>
            </a:solidFill>
          </a:endParaRPr>
        </a:p>
      </dsp:txBody>
      <dsp:txXfrm>
        <a:off x="4046" y="1089035"/>
        <a:ext cx="2433432" cy="747675"/>
      </dsp:txXfrm>
    </dsp:sp>
    <dsp:sp modelId="{CD133894-224C-4429-BA5C-5F2C31EE5BD7}">
      <dsp:nvSpPr>
        <dsp:cNvPr id="0" name=""/>
        <dsp:cNvSpPr/>
      </dsp:nvSpPr>
      <dsp:spPr>
        <a:xfrm>
          <a:off x="4046" y="1836711"/>
          <a:ext cx="2433432" cy="181170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tr-TR" sz="1100" b="1" i="0" u="none" strike="noStrike" kern="1200" baseline="0" dirty="0">
              <a:solidFill>
                <a:prstClr val="black"/>
              </a:solidFill>
              <a:latin typeface="AvenirNextCondensed-DemiBold"/>
              <a:ea typeface="+mn-ea"/>
              <a:cs typeface="+mn-cs"/>
            </a:rPr>
            <a:t>Kamu Desteği, Vakıflar veya Uluslararası Fonlar Tarafından Desteklenmiş</a:t>
          </a:r>
          <a:endParaRPr lang="tr-TR" sz="1100" kern="1200" dirty="0"/>
        </a:p>
        <a:p>
          <a:pPr marL="0" marR="0" lvl="1" indent="0" algn="l" defTabSz="577850" eaLnBrk="1" fontAlgn="auto" latinLnBrk="0" hangingPunct="1">
            <a:lnSpc>
              <a:spcPct val="100000"/>
            </a:lnSpc>
            <a:spcBef>
              <a:spcPct val="0"/>
            </a:spcBef>
            <a:spcAft>
              <a:spcPct val="15000"/>
            </a:spcAft>
            <a:buClrTx/>
            <a:buSzTx/>
            <a:buFont typeface="Arial" panose="020B0604020202020204" pitchFamily="34" charset="0"/>
            <a:buChar char="••"/>
            <a:tabLst/>
            <a:defRPr/>
          </a:pPr>
          <a:r>
            <a:rPr lang="tr-TR" sz="1100" b="1" kern="1200" dirty="0">
              <a:solidFill>
                <a:schemeClr val="tx1"/>
              </a:solidFill>
            </a:rPr>
            <a:t>Yurtiçi Teknoloji Geliştirme Bölgelerinde Geliştirilmiş</a:t>
          </a:r>
          <a:endParaRPr lang="tr-TR" sz="1100" kern="1200" dirty="0"/>
        </a:p>
        <a:p>
          <a:pPr marL="0" marR="0" lvl="1" indent="0" algn="l" defTabSz="577850" eaLnBrk="1" fontAlgn="auto" latinLnBrk="0" hangingPunct="1">
            <a:lnSpc>
              <a:spcPct val="100000"/>
            </a:lnSpc>
            <a:spcBef>
              <a:spcPct val="0"/>
            </a:spcBef>
            <a:spcAft>
              <a:spcPct val="15000"/>
            </a:spcAft>
            <a:buClrTx/>
            <a:buSzTx/>
            <a:buFont typeface="Arial" panose="020B0604020202020204" pitchFamily="34" charset="0"/>
            <a:buChar char="••"/>
            <a:tabLst/>
            <a:defRPr/>
          </a:pPr>
          <a:r>
            <a:rPr lang="tr-TR" sz="1100" b="1" i="0" u="none" strike="noStrike" kern="1200" baseline="0" dirty="0">
              <a:solidFill>
                <a:schemeClr val="tx1"/>
              </a:solidFill>
              <a:latin typeface="AvenirNextCondensed-DemiBold"/>
            </a:rPr>
            <a:t>Kamu Araştırma Merkezleri / Enstitülerince Geliştirilmiş</a:t>
          </a:r>
          <a:endParaRPr lang="tr-TR" sz="1100" kern="1200" dirty="0"/>
        </a:p>
        <a:p>
          <a:pPr marL="0" marR="0" lvl="1" indent="0" algn="l" defTabSz="577850" eaLnBrk="1" fontAlgn="auto" latinLnBrk="0" hangingPunct="1">
            <a:lnSpc>
              <a:spcPct val="100000"/>
            </a:lnSpc>
            <a:spcBef>
              <a:spcPct val="0"/>
            </a:spcBef>
            <a:spcAft>
              <a:spcPct val="15000"/>
            </a:spcAft>
            <a:buClrTx/>
            <a:buSzTx/>
            <a:buFont typeface="Arial" panose="020B0604020202020204" pitchFamily="34" charset="0"/>
            <a:buChar char="••"/>
            <a:tabLst/>
            <a:defRPr/>
          </a:pPr>
          <a:r>
            <a:rPr lang="tr-TR" sz="1100" b="1" i="0" u="none" strike="noStrike" kern="1200" baseline="0" dirty="0">
              <a:solidFill>
                <a:prstClr val="black"/>
              </a:solidFill>
              <a:latin typeface="AvenirNextCondensed-DemiBold"/>
              <a:ea typeface="+mn-ea"/>
              <a:cs typeface="+mn-cs"/>
            </a:rPr>
            <a:t> 5746 Sayılı Kanun Kapsamında Kurulan Ar-Ge Merkezlerinde Geliştirilmiş</a:t>
          </a:r>
          <a:endParaRPr lang="tr-TR" sz="1100" kern="1200" dirty="0"/>
        </a:p>
      </dsp:txBody>
      <dsp:txXfrm>
        <a:off x="4046" y="1836711"/>
        <a:ext cx="2433432" cy="1811700"/>
      </dsp:txXfrm>
    </dsp:sp>
    <dsp:sp modelId="{7CDD84E0-B5B2-4FC5-BCB0-7FF2B0E19AFD}">
      <dsp:nvSpPr>
        <dsp:cNvPr id="0" name=""/>
        <dsp:cNvSpPr/>
      </dsp:nvSpPr>
      <dsp:spPr>
        <a:xfrm>
          <a:off x="2778159" y="1089035"/>
          <a:ext cx="2433432" cy="747675"/>
        </a:xfrm>
        <a:prstGeom prst="rect">
          <a:avLst/>
        </a:prstGeom>
        <a:solidFill>
          <a:schemeClr val="accent1">
            <a:lumMod val="7500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tr-TR" sz="1400" b="1" kern="1200" dirty="0">
              <a:solidFill>
                <a:schemeClr val="bg1"/>
              </a:solidFill>
            </a:rPr>
            <a:t>Patent belgesinin veriliş tarihinden itibaren 5 (beş) yıl içerisinde</a:t>
          </a:r>
          <a:endParaRPr lang="tr-TR" sz="1400" kern="1200" dirty="0">
            <a:solidFill>
              <a:schemeClr val="bg1"/>
            </a:solidFill>
          </a:endParaRPr>
        </a:p>
      </dsp:txBody>
      <dsp:txXfrm>
        <a:off x="2778159" y="1089035"/>
        <a:ext cx="2433432" cy="747675"/>
      </dsp:txXfrm>
    </dsp:sp>
    <dsp:sp modelId="{43727285-98C4-480D-895E-78D57D084E17}">
      <dsp:nvSpPr>
        <dsp:cNvPr id="0" name=""/>
        <dsp:cNvSpPr/>
      </dsp:nvSpPr>
      <dsp:spPr>
        <a:xfrm>
          <a:off x="2778159" y="1828250"/>
          <a:ext cx="2433432" cy="1811700"/>
        </a:xfrm>
        <a:prstGeom prst="rect">
          <a:avLst/>
        </a:prstGeom>
        <a:solidFill>
          <a:schemeClr val="accent1">
            <a:lumMod val="20000"/>
            <a:lumOff val="80000"/>
            <a:alpha val="9000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tr-TR" sz="1100" b="1" kern="1200" dirty="0"/>
            <a:t>Patent ile Koruma Altına Alınan</a:t>
          </a:r>
        </a:p>
      </dsp:txBody>
      <dsp:txXfrm>
        <a:off x="2778159" y="1828250"/>
        <a:ext cx="2433432" cy="1811700"/>
      </dsp:txXfrm>
    </dsp:sp>
    <dsp:sp modelId="{DE2ADB72-5AF9-468A-8EAA-ECDE722D1D32}">
      <dsp:nvSpPr>
        <dsp:cNvPr id="0" name=""/>
        <dsp:cNvSpPr/>
      </dsp:nvSpPr>
      <dsp:spPr>
        <a:xfrm>
          <a:off x="5552272" y="1064990"/>
          <a:ext cx="2433432" cy="747675"/>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tr-TR" sz="1400" b="1" kern="1200" dirty="0">
              <a:solidFill>
                <a:schemeClr val="bg1"/>
              </a:solidFill>
            </a:rPr>
            <a:t>Teknolojik Ürün (TÜR) Deneyim Belgesinin geçerlilik süresi içerisinde</a:t>
          </a:r>
          <a:endParaRPr lang="tr-TR" sz="1400" kern="1200" dirty="0">
            <a:solidFill>
              <a:schemeClr val="bg1"/>
            </a:solidFill>
          </a:endParaRPr>
        </a:p>
      </dsp:txBody>
      <dsp:txXfrm>
        <a:off x="5552272" y="1064990"/>
        <a:ext cx="2433432" cy="747675"/>
      </dsp:txXfrm>
    </dsp:sp>
    <dsp:sp modelId="{9AD10354-AC39-49D7-9580-3243D60B710D}">
      <dsp:nvSpPr>
        <dsp:cNvPr id="0" name=""/>
        <dsp:cNvSpPr/>
      </dsp:nvSpPr>
      <dsp:spPr>
        <a:xfrm>
          <a:off x="5561446" y="2169611"/>
          <a:ext cx="2433432" cy="1811700"/>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tr-TR" sz="1100" b="1" kern="1200" dirty="0"/>
            <a:t>TÜR Belgesi Olan</a:t>
          </a:r>
        </a:p>
      </dsp:txBody>
      <dsp:txXfrm>
        <a:off x="5561446" y="2169611"/>
        <a:ext cx="2433432" cy="1811700"/>
      </dsp:txXfrm>
    </dsp:sp>
    <dsp:sp modelId="{B99BCFCE-AD87-41F3-B6B3-C7FCB879CC70}">
      <dsp:nvSpPr>
        <dsp:cNvPr id="0" name=""/>
        <dsp:cNvSpPr/>
      </dsp:nvSpPr>
      <dsp:spPr>
        <a:xfrm>
          <a:off x="8326384" y="1089035"/>
          <a:ext cx="2433432" cy="747675"/>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lvl="0" algn="ctr" defTabSz="488950">
            <a:lnSpc>
              <a:spcPct val="90000"/>
            </a:lnSpc>
            <a:spcBef>
              <a:spcPct val="0"/>
            </a:spcBef>
            <a:spcAft>
              <a:spcPct val="35000"/>
            </a:spcAft>
          </a:pPr>
          <a:r>
            <a:rPr lang="tr-TR" sz="1100" b="1" kern="1200" dirty="0"/>
            <a:t>Doktora çalışmasının tamamlanma tarihinden itibaren 5 (beş) yıl içerisinde</a:t>
          </a:r>
        </a:p>
      </dsp:txBody>
      <dsp:txXfrm>
        <a:off x="8326384" y="1089035"/>
        <a:ext cx="2433432" cy="747675"/>
      </dsp:txXfrm>
    </dsp:sp>
    <dsp:sp modelId="{5293C51D-684B-42CF-A1C7-C5700367A027}">
      <dsp:nvSpPr>
        <dsp:cNvPr id="0" name=""/>
        <dsp:cNvSpPr/>
      </dsp:nvSpPr>
      <dsp:spPr>
        <a:xfrm>
          <a:off x="8326384" y="1836711"/>
          <a:ext cx="2433432" cy="1811700"/>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tr-TR" sz="1100" b="1" kern="1200" dirty="0"/>
            <a:t>Doktora Çalışması Neticesinde Ortaya Çıkan </a:t>
          </a:r>
        </a:p>
      </dsp:txBody>
      <dsp:txXfrm>
        <a:off x="8326384" y="1836711"/>
        <a:ext cx="2433432" cy="18117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F4773A-5868-416C-B28B-17D2218DF94B}">
      <dsp:nvSpPr>
        <dsp:cNvPr id="0" name=""/>
        <dsp:cNvSpPr/>
      </dsp:nvSpPr>
      <dsp:spPr>
        <a:xfrm>
          <a:off x="148514" y="484584"/>
          <a:ext cx="3537155" cy="1105361"/>
        </a:xfrm>
        <a:prstGeom prst="rect">
          <a:avLst/>
        </a:prstGeom>
        <a:solidFill>
          <a:schemeClr val="lt1">
            <a:alpha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48698" tIns="53340" rIns="53340" bIns="5334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tr-TR" sz="1400" b="1" kern="1200" dirty="0" smtClean="0"/>
            <a:t>Girişimcilik ekosisteminde yer alan aktörler arası işbirliğini arttırmak</a:t>
          </a:r>
          <a:endParaRPr lang="tr-TR" sz="1400" b="1" kern="1200" dirty="0">
            <a:latin typeface="+mn-lt"/>
            <a:cs typeface="Arial" panose="020B0604020202020204" pitchFamily="34" charset="0"/>
          </a:endParaRPr>
        </a:p>
      </dsp:txBody>
      <dsp:txXfrm>
        <a:off x="148514" y="484584"/>
        <a:ext cx="3537155" cy="1105361"/>
      </dsp:txXfrm>
    </dsp:sp>
    <dsp:sp modelId="{12D2E376-005D-439D-AA9F-8BD1A28FC481}">
      <dsp:nvSpPr>
        <dsp:cNvPr id="0" name=""/>
        <dsp:cNvSpPr/>
      </dsp:nvSpPr>
      <dsp:spPr>
        <a:xfrm>
          <a:off x="1133" y="324921"/>
          <a:ext cx="773752" cy="1160629"/>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61000" r="-61000"/>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6572603A-B5D2-4D25-A1F2-1EC3D698C0D4}">
      <dsp:nvSpPr>
        <dsp:cNvPr id="0" name=""/>
        <dsp:cNvSpPr/>
      </dsp:nvSpPr>
      <dsp:spPr>
        <a:xfrm>
          <a:off x="4060836" y="484584"/>
          <a:ext cx="3537155" cy="1105361"/>
        </a:xfrm>
        <a:prstGeom prst="rect">
          <a:avLst/>
        </a:prstGeom>
        <a:solidFill>
          <a:schemeClr val="lt1">
            <a:alpha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48698" tIns="53340" rIns="53340" bIns="53340" numCol="1" spcCol="1270" anchor="ctr" anchorCtr="0">
          <a:noAutofit/>
        </a:bodyPr>
        <a:lstStyle/>
        <a:p>
          <a:pPr lvl="0" algn="l" defTabSz="622300">
            <a:lnSpc>
              <a:spcPct val="90000"/>
            </a:lnSpc>
            <a:spcBef>
              <a:spcPct val="0"/>
            </a:spcBef>
            <a:spcAft>
              <a:spcPct val="35000"/>
            </a:spcAft>
          </a:pPr>
          <a:r>
            <a:rPr lang="tr-TR" sz="1400" b="1" kern="1200" dirty="0" smtClean="0">
              <a:latin typeface="+mn-lt"/>
              <a:cs typeface="Arial" panose="020B0604020202020204" pitchFamily="34" charset="0"/>
            </a:rPr>
            <a:t>Girişimcilerin iş kurma ve yürütme konularında bilgi ve becerilerini geliştirmek</a:t>
          </a:r>
          <a:endParaRPr lang="tr-TR" sz="1400" b="1" kern="1200" dirty="0">
            <a:latin typeface="+mn-lt"/>
            <a:cs typeface="Arial" panose="020B0604020202020204" pitchFamily="34" charset="0"/>
          </a:endParaRPr>
        </a:p>
      </dsp:txBody>
      <dsp:txXfrm>
        <a:off x="4060836" y="484584"/>
        <a:ext cx="3537155" cy="1105361"/>
      </dsp:txXfrm>
    </dsp:sp>
    <dsp:sp modelId="{86DAADBA-ECA3-49C1-90CD-88D13139F6F9}">
      <dsp:nvSpPr>
        <dsp:cNvPr id="0" name=""/>
        <dsp:cNvSpPr/>
      </dsp:nvSpPr>
      <dsp:spPr>
        <a:xfrm>
          <a:off x="3913454" y="324921"/>
          <a:ext cx="773752" cy="1160629"/>
        </a:xfrm>
        <a:prstGeom prst="rect">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000" r="-2000"/>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64AAD9CB-B423-4A2A-B20E-A7A52CEA6179}">
      <dsp:nvSpPr>
        <dsp:cNvPr id="0" name=""/>
        <dsp:cNvSpPr/>
      </dsp:nvSpPr>
      <dsp:spPr>
        <a:xfrm>
          <a:off x="148514" y="1876111"/>
          <a:ext cx="3537155" cy="1105361"/>
        </a:xfrm>
        <a:prstGeom prst="rect">
          <a:avLst/>
        </a:prstGeom>
        <a:solidFill>
          <a:schemeClr val="lt1">
            <a:alpha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48698" tIns="53340" rIns="53340" bIns="53340" numCol="1" spcCol="1270" anchor="ctr" anchorCtr="0">
          <a:noAutofit/>
        </a:bodyPr>
        <a:lstStyle/>
        <a:p>
          <a:pPr lvl="0" algn="l" defTabSz="622300">
            <a:lnSpc>
              <a:spcPct val="90000"/>
            </a:lnSpc>
            <a:spcBef>
              <a:spcPct val="0"/>
            </a:spcBef>
            <a:spcAft>
              <a:spcPct val="35000"/>
            </a:spcAft>
          </a:pPr>
          <a:r>
            <a:rPr lang="tr-TR" sz="1400" b="1" kern="1200" dirty="0" smtClean="0">
              <a:latin typeface="+mn-lt"/>
              <a:cs typeface="+mn-cs"/>
            </a:rPr>
            <a:t>Başarılı</a:t>
          </a:r>
          <a:r>
            <a:rPr lang="tr-TR" sz="1400" b="1" kern="1200" baseline="0" dirty="0" smtClean="0">
              <a:latin typeface="+mn-lt"/>
              <a:cs typeface="+mn-cs"/>
            </a:rPr>
            <a:t> işletmelerin kurulmasına katkı sağlayarak </a:t>
          </a:r>
          <a:endParaRPr lang="tr-TR" sz="1400" b="1" kern="1200" dirty="0" smtClean="0">
            <a:latin typeface="+mn-lt"/>
            <a:cs typeface="+mn-cs"/>
          </a:endParaRPr>
        </a:p>
      </dsp:txBody>
      <dsp:txXfrm>
        <a:off x="148514" y="1876111"/>
        <a:ext cx="3537155" cy="1105361"/>
      </dsp:txXfrm>
    </dsp:sp>
    <dsp:sp modelId="{55F73708-4FE3-451C-8B6F-D346FA20EA2C}">
      <dsp:nvSpPr>
        <dsp:cNvPr id="0" name=""/>
        <dsp:cNvSpPr/>
      </dsp:nvSpPr>
      <dsp:spPr>
        <a:xfrm>
          <a:off x="1133" y="1716447"/>
          <a:ext cx="773752" cy="1160629"/>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32000" r="-32000"/>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F83F6A9A-B7D5-495D-9B37-70FD925B7687}">
      <dsp:nvSpPr>
        <dsp:cNvPr id="0" name=""/>
        <dsp:cNvSpPr/>
      </dsp:nvSpPr>
      <dsp:spPr>
        <a:xfrm>
          <a:off x="4060836" y="1876111"/>
          <a:ext cx="3537155" cy="1105361"/>
        </a:xfrm>
        <a:prstGeom prst="rect">
          <a:avLst/>
        </a:prstGeom>
        <a:solidFill>
          <a:schemeClr val="lt1">
            <a:alpha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48698" tIns="53340" rIns="53340" bIns="53340" numCol="1" spcCol="1270" anchor="ctr" anchorCtr="0">
          <a:noAutofit/>
        </a:bodyPr>
        <a:lstStyle/>
        <a:p>
          <a:pPr lvl="0" algn="l" defTabSz="622300">
            <a:lnSpc>
              <a:spcPct val="90000"/>
            </a:lnSpc>
            <a:spcBef>
              <a:spcPct val="0"/>
            </a:spcBef>
            <a:spcAft>
              <a:spcPct val="35000"/>
            </a:spcAft>
          </a:pPr>
          <a:r>
            <a:rPr lang="tr-TR" sz="1400" b="1" kern="1200" dirty="0" smtClean="0"/>
            <a:t>Yeni kurulan işletmelerin en kırılgan oldukları dönemde hayatta kalma oranının arttırmak</a:t>
          </a:r>
          <a:endParaRPr lang="tr-TR" sz="1400" b="1" kern="1200" dirty="0" smtClean="0">
            <a:latin typeface="+mn-lt"/>
            <a:cs typeface="+mn-cs"/>
          </a:endParaRPr>
        </a:p>
      </dsp:txBody>
      <dsp:txXfrm>
        <a:off x="4060836" y="1876111"/>
        <a:ext cx="3537155" cy="1105361"/>
      </dsp:txXfrm>
    </dsp:sp>
    <dsp:sp modelId="{8B2283E1-FD0E-4B12-931A-6B8BD602163E}">
      <dsp:nvSpPr>
        <dsp:cNvPr id="0" name=""/>
        <dsp:cNvSpPr/>
      </dsp:nvSpPr>
      <dsp:spPr>
        <a:xfrm>
          <a:off x="3913454" y="1716447"/>
          <a:ext cx="773752" cy="1160629"/>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FBDEF654-6110-4423-AD0B-C4B42D9220E8}">
      <dsp:nvSpPr>
        <dsp:cNvPr id="0" name=""/>
        <dsp:cNvSpPr/>
      </dsp:nvSpPr>
      <dsp:spPr>
        <a:xfrm>
          <a:off x="148514" y="3267637"/>
          <a:ext cx="3537155" cy="1105361"/>
        </a:xfrm>
        <a:prstGeom prst="rect">
          <a:avLst/>
        </a:prstGeom>
        <a:solidFill>
          <a:schemeClr val="lt1">
            <a:alpha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48698" tIns="53340" rIns="53340" bIns="53340" numCol="1" spcCol="1270" anchor="ctr" anchorCtr="0">
          <a:noAutofit/>
        </a:bodyPr>
        <a:lstStyle/>
        <a:p>
          <a:pPr lvl="0" algn="l" defTabSz="622300">
            <a:lnSpc>
              <a:spcPct val="90000"/>
            </a:lnSpc>
            <a:spcBef>
              <a:spcPct val="0"/>
            </a:spcBef>
            <a:spcAft>
              <a:spcPct val="35000"/>
            </a:spcAft>
          </a:pPr>
          <a:r>
            <a:rPr lang="tr-TR" sz="1400" b="1" kern="1200" dirty="0" smtClean="0"/>
            <a:t>Başarılı iş planlarını/iş modellerini ödüllendirmek</a:t>
          </a:r>
          <a:endParaRPr lang="tr-TR" sz="1400" b="1" kern="1200" dirty="0" smtClean="0">
            <a:latin typeface="+mn-lt"/>
            <a:cs typeface="+mn-cs"/>
          </a:endParaRPr>
        </a:p>
      </dsp:txBody>
      <dsp:txXfrm>
        <a:off x="148514" y="3267637"/>
        <a:ext cx="3537155" cy="1105361"/>
      </dsp:txXfrm>
    </dsp:sp>
    <dsp:sp modelId="{B5DA1A82-743C-46E1-9E90-F5018B77615F}">
      <dsp:nvSpPr>
        <dsp:cNvPr id="0" name=""/>
        <dsp:cNvSpPr/>
      </dsp:nvSpPr>
      <dsp:spPr>
        <a:xfrm>
          <a:off x="1133" y="3107974"/>
          <a:ext cx="773752" cy="1160629"/>
        </a:xfrm>
        <a:prstGeom prst="rect">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26000" r="-26000"/>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8971712D-2E71-4CC9-8A17-6FF460CCC30B}">
      <dsp:nvSpPr>
        <dsp:cNvPr id="0" name=""/>
        <dsp:cNvSpPr/>
      </dsp:nvSpPr>
      <dsp:spPr>
        <a:xfrm>
          <a:off x="4060836" y="3267637"/>
          <a:ext cx="3537155" cy="1105361"/>
        </a:xfrm>
        <a:prstGeom prst="rect">
          <a:avLst/>
        </a:prstGeom>
        <a:solidFill>
          <a:schemeClr val="lt1">
            <a:alpha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48698" tIns="53340" rIns="53340" bIns="53340" numCol="1" spcCol="1270" anchor="ctr" anchorCtr="0">
          <a:noAutofit/>
        </a:bodyPr>
        <a:lstStyle/>
        <a:p>
          <a:pPr lvl="0" algn="l" defTabSz="622300">
            <a:lnSpc>
              <a:spcPct val="90000"/>
            </a:lnSpc>
            <a:spcBef>
              <a:spcPct val="0"/>
            </a:spcBef>
            <a:spcAft>
              <a:spcPct val="35000"/>
            </a:spcAft>
          </a:pPr>
          <a:r>
            <a:rPr lang="tr-TR" sz="1400" b="1" kern="1200" dirty="0" err="1" smtClean="0"/>
            <a:t>İnkübasyon</a:t>
          </a:r>
          <a:r>
            <a:rPr lang="tr-TR" sz="1400" b="1" kern="1200" dirty="0" smtClean="0"/>
            <a:t> hizmetleri sağlayacak yapıların kurulması ve işletilmesine yönelik  destek sağlamak</a:t>
          </a:r>
          <a:endParaRPr lang="tr-TR" sz="1400" b="1" kern="1200" dirty="0" smtClean="0">
            <a:latin typeface="+mn-lt"/>
            <a:cs typeface="+mn-cs"/>
          </a:endParaRPr>
        </a:p>
      </dsp:txBody>
      <dsp:txXfrm>
        <a:off x="4060836" y="3267637"/>
        <a:ext cx="3537155" cy="1105361"/>
      </dsp:txXfrm>
    </dsp:sp>
    <dsp:sp modelId="{B25782D2-3DCA-42BD-AEF2-4F6D35B6DDED}">
      <dsp:nvSpPr>
        <dsp:cNvPr id="0" name=""/>
        <dsp:cNvSpPr/>
      </dsp:nvSpPr>
      <dsp:spPr>
        <a:xfrm>
          <a:off x="3913454" y="3107974"/>
          <a:ext cx="773752" cy="1160629"/>
        </a:xfrm>
        <a:prstGeom prst="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65000" r="-65000"/>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6C21F0-3F7F-40EB-8DE3-04068F0A6224}">
      <dsp:nvSpPr>
        <dsp:cNvPr id="0" name=""/>
        <dsp:cNvSpPr/>
      </dsp:nvSpPr>
      <dsp:spPr>
        <a:xfrm>
          <a:off x="2795227" y="0"/>
          <a:ext cx="5516476" cy="2113658"/>
        </a:xfrm>
        <a:prstGeom prst="rightArrow">
          <a:avLst>
            <a:gd name="adj1" fmla="val 75000"/>
            <a:gd name="adj2" fmla="val 50000"/>
          </a:avLst>
        </a:prstGeom>
        <a:solidFill>
          <a:schemeClr val="accent4">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tr-TR" sz="1600" kern="1200" dirty="0" smtClean="0"/>
            <a:t>Girişimcilik Eğitimini (Geleneksel ve/veya İleri Girişimci Eğitimi) tamamlamış olmalı</a:t>
          </a:r>
          <a:endParaRPr lang="tr-TR" sz="1600" kern="1200" dirty="0"/>
        </a:p>
        <a:p>
          <a:pPr marL="171450" lvl="1" indent="-171450" algn="l" defTabSz="711200">
            <a:lnSpc>
              <a:spcPct val="90000"/>
            </a:lnSpc>
            <a:spcBef>
              <a:spcPct val="0"/>
            </a:spcBef>
            <a:spcAft>
              <a:spcPct val="15000"/>
            </a:spcAft>
            <a:buChar char="••"/>
          </a:pPr>
          <a:r>
            <a:rPr lang="tr-TR" sz="1600" kern="1200" dirty="0" smtClean="0"/>
            <a:t>Kurucu ortak payı en az %50 olmalı</a:t>
          </a:r>
          <a:endParaRPr lang="tr-TR" sz="1600" kern="1200" dirty="0"/>
        </a:p>
        <a:p>
          <a:pPr marL="171450" lvl="1" indent="-171450" algn="l" defTabSz="711200">
            <a:lnSpc>
              <a:spcPct val="90000"/>
            </a:lnSpc>
            <a:spcBef>
              <a:spcPct val="0"/>
            </a:spcBef>
            <a:spcAft>
              <a:spcPct val="15000"/>
            </a:spcAft>
            <a:buChar char="••"/>
          </a:pPr>
          <a:r>
            <a:rPr lang="tr-TR" sz="1600" kern="1200" dirty="0" smtClean="0"/>
            <a:t>Gerçek kişi statüsünde bir firması olmamalı – </a:t>
          </a:r>
          <a:r>
            <a:rPr lang="tr-TR" sz="1600" b="1" kern="1200" dirty="0" smtClean="0"/>
            <a:t>3 yıl</a:t>
          </a:r>
          <a:endParaRPr lang="tr-TR" sz="16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tr-TR" sz="1600" kern="1200" dirty="0" smtClean="0"/>
            <a:t>Tüzel kişi statüsünde kurulmuş herhangi bir firmada %30 ve üzeri ortaklığı olmamalı – </a:t>
          </a:r>
          <a:r>
            <a:rPr lang="tr-TR" sz="1600" b="1" kern="1200" dirty="0" smtClean="0"/>
            <a:t>3 yıl </a:t>
          </a:r>
          <a:endParaRPr lang="tr-TR" sz="16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tr-TR" sz="1600" kern="1200" dirty="0" smtClean="0"/>
            <a:t>Daha önce programdan yararlanmamış olmalı</a:t>
          </a:r>
          <a:endParaRPr lang="tr-TR" sz="16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tr-TR" sz="1600" kern="1200" dirty="0" smtClean="0"/>
            <a:t>İşletmeyi münferiden temsile yetkili olmalı</a:t>
          </a:r>
          <a:endParaRPr lang="tr-TR" sz="1600" kern="1200" dirty="0"/>
        </a:p>
      </dsp:txBody>
      <dsp:txXfrm>
        <a:off x="2795227" y="264207"/>
        <a:ext cx="4723854" cy="1585244"/>
      </dsp:txXfrm>
    </dsp:sp>
    <dsp:sp modelId="{E3781489-7377-46BB-A759-B732A13BC53A}">
      <dsp:nvSpPr>
        <dsp:cNvPr id="0" name=""/>
        <dsp:cNvSpPr/>
      </dsp:nvSpPr>
      <dsp:spPr>
        <a:xfrm>
          <a:off x="4753" y="458013"/>
          <a:ext cx="2785719" cy="1199089"/>
        </a:xfrm>
        <a:prstGeom prst="roundRect">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tr-TR" sz="4400" kern="1200" dirty="0" smtClean="0"/>
            <a:t>Girişimci</a:t>
          </a:r>
          <a:endParaRPr lang="tr-TR" sz="4400" kern="1200" dirty="0"/>
        </a:p>
      </dsp:txBody>
      <dsp:txXfrm>
        <a:off x="63288" y="516548"/>
        <a:ext cx="2668649" cy="1082019"/>
      </dsp:txXfrm>
    </dsp:sp>
    <dsp:sp modelId="{94EB02A2-F30E-48CC-95CA-A3F9C38B870A}">
      <dsp:nvSpPr>
        <dsp:cNvPr id="0" name=""/>
        <dsp:cNvSpPr/>
      </dsp:nvSpPr>
      <dsp:spPr>
        <a:xfrm>
          <a:off x="2849636" y="2235025"/>
          <a:ext cx="5462067" cy="1927236"/>
        </a:xfrm>
        <a:prstGeom prst="rightArrow">
          <a:avLst>
            <a:gd name="adj1" fmla="val 75000"/>
            <a:gd name="adj2" fmla="val 50000"/>
          </a:avLst>
        </a:prstGeom>
        <a:solidFill>
          <a:schemeClr val="accent4">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795" tIns="10795" rIns="10795" bIns="10795" numCol="1" spcCol="1270" anchor="t" anchorCtr="0">
          <a:noAutofit/>
        </a:bodyPr>
        <a:lstStyle/>
        <a:p>
          <a:pPr marL="171450" lvl="1" indent="-171450" algn="l" defTabSz="755650">
            <a:lnSpc>
              <a:spcPct val="90000"/>
            </a:lnSpc>
            <a:spcBef>
              <a:spcPct val="0"/>
            </a:spcBef>
            <a:spcAft>
              <a:spcPct val="15000"/>
            </a:spcAft>
            <a:buChar char="••"/>
          </a:pPr>
          <a:r>
            <a:rPr lang="tr-TR" sz="1700" kern="1200" dirty="0" smtClean="0"/>
            <a:t>Türk Ticaret Kanununda tanımlı gerçek kişi veya sermaye şirketi olmalı</a:t>
          </a:r>
          <a:endParaRPr lang="tr-TR" sz="1700" kern="1200" dirty="0"/>
        </a:p>
        <a:p>
          <a:pPr marL="171450" lvl="1" indent="-171450" algn="l" defTabSz="755650">
            <a:lnSpc>
              <a:spcPct val="90000"/>
            </a:lnSpc>
            <a:spcBef>
              <a:spcPct val="0"/>
            </a:spcBef>
            <a:spcAft>
              <a:spcPct val="15000"/>
            </a:spcAft>
            <a:buChar char="••"/>
          </a:pPr>
          <a:r>
            <a:rPr lang="tr-TR" sz="1700" kern="1200" dirty="0" smtClean="0"/>
            <a:t>Son 1 yıl içinde kurulmuş olmalı</a:t>
          </a:r>
          <a:endParaRPr lang="tr-TR" sz="1700" kern="1200" dirty="0"/>
        </a:p>
        <a:p>
          <a:pPr marL="171450" lvl="1" indent="-171450" algn="l" defTabSz="755650">
            <a:lnSpc>
              <a:spcPct val="90000"/>
            </a:lnSpc>
            <a:spcBef>
              <a:spcPct val="0"/>
            </a:spcBef>
            <a:spcAft>
              <a:spcPct val="15000"/>
            </a:spcAft>
            <a:buChar char="••"/>
          </a:pPr>
          <a:r>
            <a:rPr lang="tr-TR" sz="1700" kern="1200" dirty="0" smtClean="0"/>
            <a:t>İleri Girişimci Programı Faaliyet Konuları Tablosunda belirtilen konularda faaliyet gösteriyor olmalı</a:t>
          </a:r>
          <a:r>
            <a:rPr lang="tr-TR" b="1" kern="1200" dirty="0" smtClean="0">
              <a:solidFill>
                <a:srgbClr val="0070C0"/>
              </a:solidFill>
              <a:latin typeface="+mn-lt"/>
              <a:ea typeface="+mn-ea"/>
              <a:cs typeface="+mn-cs"/>
            </a:rPr>
            <a:t>(İleri</a:t>
          </a:r>
          <a:r>
            <a:rPr lang="tr-TR" sz="1700" b="1" kern="1200" dirty="0" smtClean="0">
              <a:solidFill>
                <a:srgbClr val="0070C0"/>
              </a:solidFill>
            </a:rPr>
            <a:t> </a:t>
          </a:r>
          <a:r>
            <a:rPr lang="tr-TR" b="1" kern="1200" dirty="0" smtClean="0">
              <a:solidFill>
                <a:srgbClr val="0070C0"/>
              </a:solidFill>
              <a:latin typeface="+mn-lt"/>
              <a:ea typeface="+mn-ea"/>
              <a:cs typeface="+mn-cs"/>
            </a:rPr>
            <a:t>Girişimci</a:t>
          </a:r>
          <a:r>
            <a:rPr lang="tr-TR" sz="1700" b="1" kern="1200" dirty="0" smtClean="0">
              <a:solidFill>
                <a:srgbClr val="0070C0"/>
              </a:solidFill>
            </a:rPr>
            <a:t> </a:t>
          </a:r>
          <a:r>
            <a:rPr lang="tr-TR" b="1" kern="1200" dirty="0" smtClean="0">
              <a:solidFill>
                <a:srgbClr val="0070C0"/>
              </a:solidFill>
              <a:latin typeface="+mn-lt"/>
              <a:ea typeface="+mn-ea"/>
              <a:cs typeface="+mn-cs"/>
            </a:rPr>
            <a:t>Programı</a:t>
          </a:r>
          <a:r>
            <a:rPr lang="tr-TR" sz="1700" b="1" kern="1200" dirty="0" smtClean="0">
              <a:solidFill>
                <a:srgbClr val="0070C0"/>
              </a:solidFill>
            </a:rPr>
            <a:t> </a:t>
          </a:r>
          <a:r>
            <a:rPr lang="tr-TR" b="1" kern="1200" dirty="0" smtClean="0">
              <a:solidFill>
                <a:srgbClr val="0070C0"/>
              </a:solidFill>
              <a:latin typeface="+mn-lt"/>
              <a:ea typeface="+mn-ea"/>
              <a:cs typeface="+mn-cs"/>
            </a:rPr>
            <a:t>için)</a:t>
          </a:r>
          <a:endParaRPr lang="tr-TR" b="1" kern="1200" dirty="0">
            <a:solidFill>
              <a:srgbClr val="0070C0"/>
            </a:solidFill>
            <a:latin typeface="+mn-lt"/>
            <a:ea typeface="+mn-ea"/>
            <a:cs typeface="+mn-cs"/>
          </a:endParaRPr>
        </a:p>
        <a:p>
          <a:pPr marL="171450" lvl="1" indent="-171450" algn="l" defTabSz="755650">
            <a:lnSpc>
              <a:spcPct val="90000"/>
            </a:lnSpc>
            <a:spcBef>
              <a:spcPct val="0"/>
            </a:spcBef>
            <a:spcAft>
              <a:spcPct val="15000"/>
            </a:spcAft>
            <a:buChar char="••"/>
          </a:pPr>
          <a:r>
            <a:rPr lang="tr-TR" sz="1700" kern="1200" dirty="0" smtClean="0"/>
            <a:t>KOSGEB Veri Tabanında kayıtlı ve aktif olmalı</a:t>
          </a:r>
          <a:endParaRPr lang="tr-TR" sz="1700" kern="1200" dirty="0"/>
        </a:p>
        <a:p>
          <a:pPr marL="171450" lvl="1" indent="-171450" algn="l" defTabSz="755650">
            <a:lnSpc>
              <a:spcPct val="90000"/>
            </a:lnSpc>
            <a:spcBef>
              <a:spcPct val="0"/>
            </a:spcBef>
            <a:spcAft>
              <a:spcPct val="15000"/>
            </a:spcAft>
            <a:buChar char="••"/>
          </a:pPr>
          <a:r>
            <a:rPr lang="tr-TR" sz="1700" kern="1200" dirty="0" smtClean="0"/>
            <a:t>KOBİ Bilgi Beyannamesi güncel olmalı</a:t>
          </a:r>
          <a:endParaRPr lang="tr-TR" sz="1700" kern="1200" dirty="0"/>
        </a:p>
      </dsp:txBody>
      <dsp:txXfrm>
        <a:off x="2849636" y="2475930"/>
        <a:ext cx="4739354" cy="1445427"/>
      </dsp:txXfrm>
    </dsp:sp>
    <dsp:sp modelId="{E931C29D-9B48-4548-AFEF-3C953D70555F}">
      <dsp:nvSpPr>
        <dsp:cNvPr id="0" name=""/>
        <dsp:cNvSpPr/>
      </dsp:nvSpPr>
      <dsp:spPr>
        <a:xfrm>
          <a:off x="3752" y="2598370"/>
          <a:ext cx="2842130" cy="1199089"/>
        </a:xfrm>
        <a:prstGeom prst="roundRect">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tr-TR" sz="4400" kern="1200" dirty="0" smtClean="0"/>
            <a:t>İşletme</a:t>
          </a:r>
          <a:endParaRPr lang="tr-TR" sz="4400" kern="1200" dirty="0"/>
        </a:p>
      </dsp:txBody>
      <dsp:txXfrm>
        <a:off x="62287" y="2656905"/>
        <a:ext cx="2725060" cy="108201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0A7258-A4C3-4434-BE16-69104DEF3006}">
      <dsp:nvSpPr>
        <dsp:cNvPr id="0" name=""/>
        <dsp:cNvSpPr/>
      </dsp:nvSpPr>
      <dsp:spPr>
        <a:xfrm>
          <a:off x="24283" y="1257718"/>
          <a:ext cx="3955248" cy="2570297"/>
        </a:xfrm>
        <a:prstGeom prst="round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2000" r="-2000"/>
          </a:stretch>
        </a:blip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E6D969EF-1F5D-41AA-9379-D7577C0217B7}">
      <dsp:nvSpPr>
        <dsp:cNvPr id="0" name=""/>
        <dsp:cNvSpPr/>
      </dsp:nvSpPr>
      <dsp:spPr>
        <a:xfrm>
          <a:off x="54716" y="4043883"/>
          <a:ext cx="4001209" cy="10799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lvl="0" algn="ctr" defTabSz="800100" rtl="0">
            <a:lnSpc>
              <a:spcPct val="90000"/>
            </a:lnSpc>
            <a:spcBef>
              <a:spcPct val="0"/>
            </a:spcBef>
            <a:spcAft>
              <a:spcPct val="35000"/>
            </a:spcAft>
          </a:pPr>
          <a:r>
            <a:rPr kumimoji="0" lang="tr-TR" sz="1800" b="0" i="0" u="none" strike="noStrike" kern="1200" cap="none" spc="0" normalizeH="0" baseline="0" noProof="0" dirty="0" smtClean="0">
              <a:ln>
                <a:noFill/>
              </a:ln>
              <a:solidFill>
                <a:schemeClr val="tx1"/>
              </a:solidFill>
              <a:effectLst/>
              <a:uLnTx/>
              <a:uFillTx/>
              <a:latin typeface="Calibri"/>
              <a:ea typeface="+mn-ea"/>
              <a:cs typeface="+mn-cs"/>
            </a:rPr>
            <a:t>Belirli bir temada</a:t>
          </a:r>
          <a:r>
            <a:rPr kumimoji="0" lang="tr-TR" sz="1800" b="0" i="0" u="none" strike="noStrike" kern="1200" cap="none" spc="0" normalizeH="0" noProof="0" dirty="0" smtClean="0">
              <a:ln>
                <a:noFill/>
              </a:ln>
              <a:solidFill>
                <a:schemeClr val="tx1"/>
              </a:solidFill>
              <a:effectLst/>
              <a:uLnTx/>
              <a:uFillTx/>
              <a:latin typeface="Calibri"/>
              <a:ea typeface="+mn-ea"/>
              <a:cs typeface="+mn-cs"/>
            </a:rPr>
            <a:t> veya tamamlayıcı/ilişkili birden çok temada ve </a:t>
          </a:r>
          <a:r>
            <a:rPr kumimoji="0" lang="tr-TR" sz="1800" b="1" i="0" u="none" strike="noStrike" kern="1200" cap="none" spc="0" normalizeH="0" noProof="0" dirty="0" smtClean="0">
              <a:ln>
                <a:noFill/>
              </a:ln>
              <a:solidFill>
                <a:schemeClr val="tx1"/>
              </a:solidFill>
              <a:effectLst/>
              <a:uLnTx/>
              <a:uFillTx/>
              <a:latin typeface="Calibri"/>
              <a:ea typeface="+mn-ea"/>
              <a:cs typeface="+mn-cs"/>
            </a:rPr>
            <a:t>İŞGEM Teknoloji Alanları Tablosunda belirtilen konulardaki </a:t>
          </a:r>
          <a:r>
            <a:rPr kumimoji="0" lang="tr-TR" sz="1800" b="0" i="0" u="none" strike="noStrike" kern="1200" cap="none" spc="0" normalizeH="0" noProof="0" dirty="0" smtClean="0">
              <a:ln>
                <a:noFill/>
              </a:ln>
              <a:solidFill>
                <a:schemeClr val="tx1"/>
              </a:solidFill>
              <a:effectLst/>
              <a:uLnTx/>
              <a:uFillTx/>
              <a:latin typeface="Calibri"/>
              <a:ea typeface="+mn-ea"/>
              <a:cs typeface="+mn-cs"/>
            </a:rPr>
            <a:t>iş fikirlerine sahip girişimcilerin işletmelere dönüşmesi ve işletmelerin gelişmesini sağlamak amacıyla işletilen yapılardır </a:t>
          </a:r>
          <a:endParaRPr lang="en-GB" sz="1800" kern="1200" dirty="0">
            <a:solidFill>
              <a:schemeClr val="tx1"/>
            </a:solidFill>
          </a:endParaRPr>
        </a:p>
      </dsp:txBody>
      <dsp:txXfrm>
        <a:off x="54716" y="4043883"/>
        <a:ext cx="4001209" cy="1079913"/>
      </dsp:txXfrm>
    </dsp:sp>
    <dsp:sp modelId="{27E99E59-7DAC-4FA8-8964-E26727B26C10}">
      <dsp:nvSpPr>
        <dsp:cNvPr id="0" name=""/>
        <dsp:cNvSpPr/>
      </dsp:nvSpPr>
      <dsp:spPr>
        <a:xfrm>
          <a:off x="4298679" y="1257718"/>
          <a:ext cx="3955248" cy="2570297"/>
        </a:xfrm>
        <a:prstGeom prst="roundRect">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4000" b="-4000"/>
          </a:stretch>
        </a:blip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2B3550A4-ED98-4921-B2FD-FD3B212B4507}">
      <dsp:nvSpPr>
        <dsp:cNvPr id="0" name=""/>
        <dsp:cNvSpPr/>
      </dsp:nvSpPr>
      <dsp:spPr>
        <a:xfrm>
          <a:off x="4293716" y="4147112"/>
          <a:ext cx="3965174" cy="10799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lvl="0" algn="ctr" defTabSz="800100" rtl="0">
            <a:lnSpc>
              <a:spcPct val="90000"/>
            </a:lnSpc>
            <a:spcBef>
              <a:spcPct val="0"/>
            </a:spcBef>
            <a:spcAft>
              <a:spcPct val="35000"/>
            </a:spcAft>
          </a:pPr>
          <a:r>
            <a:rPr lang="tr-TR" sz="1800" kern="1200" dirty="0" smtClean="0">
              <a:solidFill>
                <a:schemeClr val="tx1"/>
              </a:solidFill>
              <a:latin typeface="Calibri"/>
            </a:rPr>
            <a:t>Bir veya birden çok ilişkili temada ve </a:t>
          </a:r>
          <a:r>
            <a:rPr lang="tr-TR" sz="1800" b="1" kern="1200" dirty="0" smtClean="0">
              <a:solidFill>
                <a:schemeClr val="tx1"/>
              </a:solidFill>
              <a:latin typeface="Calibri"/>
            </a:rPr>
            <a:t>araştırma-geliştirme ve/veya ürün/süreç/hizmet yeniliği içeren teknoloji/yenilik odaklı iş fikri/proje sahibi </a:t>
          </a:r>
          <a:r>
            <a:rPr lang="tr-TR" sz="1800" kern="1200" dirty="0" smtClean="0">
              <a:solidFill>
                <a:schemeClr val="tx1"/>
              </a:solidFill>
              <a:latin typeface="Calibri"/>
            </a:rPr>
            <a:t>girişimci veya işletmelere yönelik hizmetler sunan yapıdır</a:t>
          </a:r>
          <a:endParaRPr lang="en-GB" sz="1800" kern="1200" dirty="0">
            <a:solidFill>
              <a:schemeClr val="tx1"/>
            </a:solidFill>
          </a:endParaRPr>
        </a:p>
      </dsp:txBody>
      <dsp:txXfrm>
        <a:off x="4293716" y="4147112"/>
        <a:ext cx="3965174" cy="107991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F17F15-4701-4DEE-8F0D-83236DE6DD4A}">
      <dsp:nvSpPr>
        <dsp:cNvPr id="0" name=""/>
        <dsp:cNvSpPr/>
      </dsp:nvSpPr>
      <dsp:spPr>
        <a:xfrm>
          <a:off x="3779147" y="1913399"/>
          <a:ext cx="2188577" cy="1156679"/>
        </a:xfrm>
        <a:prstGeom prst="round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tr-TR" sz="2400" b="1" kern="1200" dirty="0">
              <a:latin typeface="Calibri" pitchFamily="34" charset="0"/>
            </a:rPr>
            <a:t>İşbirliği</a:t>
          </a:r>
        </a:p>
        <a:p>
          <a:pPr lvl="0" algn="ctr" defTabSz="1066800">
            <a:lnSpc>
              <a:spcPct val="90000"/>
            </a:lnSpc>
            <a:spcBef>
              <a:spcPct val="0"/>
            </a:spcBef>
            <a:spcAft>
              <a:spcPct val="35000"/>
            </a:spcAft>
          </a:pPr>
          <a:r>
            <a:rPr lang="tr-TR" sz="2400" b="1" kern="1200" dirty="0">
              <a:latin typeface="Calibri" pitchFamily="34" charset="0"/>
            </a:rPr>
            <a:t>Türleri</a:t>
          </a:r>
        </a:p>
      </dsp:txBody>
      <dsp:txXfrm>
        <a:off x="3835611" y="1969863"/>
        <a:ext cx="2075649" cy="1043751"/>
      </dsp:txXfrm>
    </dsp:sp>
    <dsp:sp modelId="{E8938DBF-8412-4383-B6FF-703F53E7294D}">
      <dsp:nvSpPr>
        <dsp:cNvPr id="0" name=""/>
        <dsp:cNvSpPr/>
      </dsp:nvSpPr>
      <dsp:spPr>
        <a:xfrm rot="16255601">
          <a:off x="4525912" y="1550701"/>
          <a:ext cx="725490" cy="0"/>
        </a:xfrm>
        <a:custGeom>
          <a:avLst/>
          <a:gdLst/>
          <a:ahLst/>
          <a:cxnLst/>
          <a:rect l="0" t="0" r="0" b="0"/>
          <a:pathLst>
            <a:path>
              <a:moveTo>
                <a:pt x="0" y="0"/>
              </a:moveTo>
              <a:lnTo>
                <a:pt x="725490" y="0"/>
              </a:lnTo>
            </a:path>
          </a:pathLst>
        </a:custGeom>
        <a:noFill/>
        <a:ln w="25400" cap="flat" cmpd="sng" algn="ctr">
          <a:solidFill>
            <a:schemeClr val="dk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786D71C7-3522-4BC5-96E4-6A912E1D09EE}">
      <dsp:nvSpPr>
        <dsp:cNvPr id="0" name=""/>
        <dsp:cNvSpPr/>
      </dsp:nvSpPr>
      <dsp:spPr>
        <a:xfrm>
          <a:off x="3554133" y="0"/>
          <a:ext cx="2699997" cy="1188003"/>
        </a:xfrm>
        <a:prstGeom prst="round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ts val="0"/>
            </a:spcAft>
          </a:pPr>
          <a:r>
            <a:rPr lang="tr-TR" sz="2000" b="1" kern="1200" dirty="0">
              <a:latin typeface="Calibri" pitchFamily="34" charset="0"/>
            </a:rPr>
            <a:t>KOBİ-KOBİ İşbirliği </a:t>
          </a:r>
        </a:p>
      </dsp:txBody>
      <dsp:txXfrm>
        <a:off x="3612127" y="57994"/>
        <a:ext cx="2584009" cy="1072015"/>
      </dsp:txXfrm>
    </dsp:sp>
    <dsp:sp modelId="{5109C639-7A45-40ED-B395-AC9E421274B6}">
      <dsp:nvSpPr>
        <dsp:cNvPr id="0" name=""/>
        <dsp:cNvSpPr/>
      </dsp:nvSpPr>
      <dsp:spPr>
        <a:xfrm rot="21085799">
          <a:off x="5962648" y="2259078"/>
          <a:ext cx="909295" cy="0"/>
        </a:xfrm>
        <a:custGeom>
          <a:avLst/>
          <a:gdLst/>
          <a:ahLst/>
          <a:cxnLst/>
          <a:rect l="0" t="0" r="0" b="0"/>
          <a:pathLst>
            <a:path>
              <a:moveTo>
                <a:pt x="0" y="0"/>
              </a:moveTo>
              <a:lnTo>
                <a:pt x="909295" y="0"/>
              </a:lnTo>
            </a:path>
          </a:pathLst>
        </a:custGeom>
        <a:noFill/>
        <a:ln w="25400" cap="flat" cmpd="sng" algn="ctr">
          <a:solidFill>
            <a:schemeClr val="dk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F61CC5B2-6FFB-46A3-AED3-177F0CCE88E6}">
      <dsp:nvSpPr>
        <dsp:cNvPr id="0" name=""/>
        <dsp:cNvSpPr/>
      </dsp:nvSpPr>
      <dsp:spPr>
        <a:xfrm>
          <a:off x="6866868" y="1393880"/>
          <a:ext cx="2699997" cy="1188003"/>
        </a:xfrm>
        <a:prstGeom prst="round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tr-TR" sz="2000" b="1" kern="1200" dirty="0">
              <a:latin typeface="Calibri" pitchFamily="34" charset="0"/>
            </a:rPr>
            <a:t>Birden fazla KOBİ-Büyük İşletme İşbirliği</a:t>
          </a:r>
        </a:p>
      </dsp:txBody>
      <dsp:txXfrm>
        <a:off x="6924862" y="1451874"/>
        <a:ext cx="2584009" cy="1072015"/>
      </dsp:txXfrm>
    </dsp:sp>
    <dsp:sp modelId="{EA3F94C1-F28A-47E7-A4F5-299E1D76306C}">
      <dsp:nvSpPr>
        <dsp:cNvPr id="0" name=""/>
        <dsp:cNvSpPr/>
      </dsp:nvSpPr>
      <dsp:spPr>
        <a:xfrm rot="2522100">
          <a:off x="5388491" y="3399236"/>
          <a:ext cx="983170" cy="0"/>
        </a:xfrm>
        <a:custGeom>
          <a:avLst/>
          <a:gdLst/>
          <a:ahLst/>
          <a:cxnLst/>
          <a:rect l="0" t="0" r="0" b="0"/>
          <a:pathLst>
            <a:path>
              <a:moveTo>
                <a:pt x="0" y="0"/>
              </a:moveTo>
              <a:lnTo>
                <a:pt x="983170" y="0"/>
              </a:lnTo>
            </a:path>
          </a:pathLst>
        </a:custGeom>
        <a:noFill/>
        <a:ln w="25400" cap="flat" cmpd="sng" algn="ctr">
          <a:solidFill>
            <a:schemeClr val="dk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B6AC7E2E-CAFE-46A7-B4E1-268234917AAC}">
      <dsp:nvSpPr>
        <dsp:cNvPr id="0" name=""/>
        <dsp:cNvSpPr/>
      </dsp:nvSpPr>
      <dsp:spPr>
        <a:xfrm>
          <a:off x="5554092" y="3728394"/>
          <a:ext cx="2699997" cy="1188003"/>
        </a:xfrm>
        <a:prstGeom prst="round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tr-TR" sz="2000" b="1" kern="1200" dirty="0">
              <a:latin typeface="Calibri" pitchFamily="34" charset="0"/>
            </a:rPr>
            <a:t>KOBİ-Büyük İşletme İşbirliği</a:t>
          </a:r>
        </a:p>
      </dsp:txBody>
      <dsp:txXfrm>
        <a:off x="5612086" y="3786388"/>
        <a:ext cx="2584009" cy="1072015"/>
      </dsp:txXfrm>
    </dsp:sp>
    <dsp:sp modelId="{96A367AD-FD00-447E-B07D-2338C8A6F2C0}">
      <dsp:nvSpPr>
        <dsp:cNvPr id="0" name=""/>
        <dsp:cNvSpPr/>
      </dsp:nvSpPr>
      <dsp:spPr>
        <a:xfrm rot="8110826">
          <a:off x="3493235" y="3399235"/>
          <a:ext cx="933941" cy="0"/>
        </a:xfrm>
        <a:custGeom>
          <a:avLst/>
          <a:gdLst/>
          <a:ahLst/>
          <a:cxnLst/>
          <a:rect l="0" t="0" r="0" b="0"/>
          <a:pathLst>
            <a:path>
              <a:moveTo>
                <a:pt x="0" y="0"/>
              </a:moveTo>
              <a:lnTo>
                <a:pt x="933941" y="0"/>
              </a:lnTo>
            </a:path>
          </a:pathLst>
        </a:custGeom>
        <a:noFill/>
        <a:ln w="25400" cap="flat" cmpd="sng" algn="ctr">
          <a:solidFill>
            <a:schemeClr val="dk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E5F1F9E5-2327-46BE-B574-599BFC67F757}">
      <dsp:nvSpPr>
        <dsp:cNvPr id="0" name=""/>
        <dsp:cNvSpPr/>
      </dsp:nvSpPr>
      <dsp:spPr>
        <a:xfrm>
          <a:off x="1681216" y="3728391"/>
          <a:ext cx="2699997" cy="1188003"/>
        </a:xfrm>
        <a:prstGeom prst="round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tr-TR" sz="2000" b="1" kern="1200" dirty="0">
              <a:latin typeface="Calibri" pitchFamily="34" charset="0"/>
            </a:rPr>
            <a:t>Birden fazla KOBİ-Büyük İşletmeler İşbirliği</a:t>
          </a:r>
        </a:p>
      </dsp:txBody>
      <dsp:txXfrm>
        <a:off x="1739210" y="3786385"/>
        <a:ext cx="2584009" cy="1072015"/>
      </dsp:txXfrm>
    </dsp:sp>
    <dsp:sp modelId="{C9B9CEDE-CC1D-4B7A-99E9-741499593EAE}">
      <dsp:nvSpPr>
        <dsp:cNvPr id="0" name=""/>
        <dsp:cNvSpPr/>
      </dsp:nvSpPr>
      <dsp:spPr>
        <a:xfrm rot="11294948">
          <a:off x="3050985" y="2280582"/>
          <a:ext cx="731948" cy="0"/>
        </a:xfrm>
        <a:custGeom>
          <a:avLst/>
          <a:gdLst/>
          <a:ahLst/>
          <a:cxnLst/>
          <a:rect l="0" t="0" r="0" b="0"/>
          <a:pathLst>
            <a:path>
              <a:moveTo>
                <a:pt x="0" y="0"/>
              </a:moveTo>
              <a:lnTo>
                <a:pt x="731948" y="0"/>
              </a:lnTo>
            </a:path>
          </a:pathLst>
        </a:custGeom>
        <a:noFill/>
        <a:ln w="25400" cap="flat" cmpd="sng" algn="ctr">
          <a:solidFill>
            <a:schemeClr val="dk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8A03260D-1F1E-4FCE-801C-B463E3F3921A}">
      <dsp:nvSpPr>
        <dsp:cNvPr id="0" name=""/>
        <dsp:cNvSpPr/>
      </dsp:nvSpPr>
      <dsp:spPr>
        <a:xfrm>
          <a:off x="354774" y="1438351"/>
          <a:ext cx="2699997" cy="1188003"/>
        </a:xfrm>
        <a:prstGeom prst="round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tr-TR" sz="2000" b="1" kern="1200" dirty="0">
              <a:latin typeface="Calibri" pitchFamily="34" charset="0"/>
            </a:rPr>
            <a:t>KOBİ-Büyük İşletmeler İşbirliği</a:t>
          </a:r>
        </a:p>
      </dsp:txBody>
      <dsp:txXfrm>
        <a:off x="412768" y="1496345"/>
        <a:ext cx="2584009" cy="1072015"/>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318E44D5-F731-4DAB-BD9E-AC0A05052A79}" type="datetimeFigureOut">
              <a:rPr lang="tr-TR" smtClean="0"/>
              <a:pPr/>
              <a:t>5.04.2021</a:t>
            </a:fld>
            <a:endParaRPr lang="tr-TR"/>
          </a:p>
        </p:txBody>
      </p:sp>
      <p:sp>
        <p:nvSpPr>
          <p:cNvPr id="4" name="Slayt Görüntüsü Yer Tutucusu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Altbilgi Yer Tutucusu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24828D34-3513-4866-8BA7-3D6878133DD2}" type="slidenum">
              <a:rPr lang="tr-TR" smtClean="0"/>
              <a:pPr/>
              <a:t>‹#›</a:t>
            </a:fld>
            <a:endParaRPr lang="tr-TR"/>
          </a:p>
        </p:txBody>
      </p:sp>
    </p:spTree>
    <p:extLst>
      <p:ext uri="{BB962C8B-B14F-4D97-AF65-F5344CB8AC3E}">
        <p14:creationId xmlns:p14="http://schemas.microsoft.com/office/powerpoint/2010/main" val="1723503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a:xfrm>
            <a:off x="-141288" y="803275"/>
            <a:ext cx="7140576" cy="4017963"/>
          </a:xfrm>
        </p:spPr>
      </p:sp>
      <p:sp>
        <p:nvSpPr>
          <p:cNvPr id="3" name="2 Not Yer Tutucusu"/>
          <p:cNvSpPr>
            <a:spLocks noGrp="1"/>
          </p:cNvSpPr>
          <p:nvPr>
            <p:ph type="body" idx="1"/>
          </p:nvPr>
        </p:nvSpPr>
        <p:spPr/>
        <p:txBody>
          <a:bodyPr>
            <a:normAutofit/>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10154391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9081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200" dirty="0"/>
              <a:t>yurt dışında kurulacak olan kuluçka merkezlerin</a:t>
            </a:r>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88406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62513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ayt Görüntüsü Yer Tutucusu 1"/>
          <p:cNvSpPr>
            <a:spLocks noGrp="1" noRot="1" noChangeAspect="1" noTextEdit="1"/>
          </p:cNvSpPr>
          <p:nvPr>
            <p:ph type="sldImg"/>
          </p:nvPr>
        </p:nvSpPr>
        <p:spPr>
          <a:xfrm>
            <a:off x="90488" y="744538"/>
            <a:ext cx="6616700" cy="3722687"/>
          </a:xfrm>
          <a:ln/>
        </p:spPr>
      </p:sp>
      <p:sp>
        <p:nvSpPr>
          <p:cNvPr id="23555" name="Not Yer Tutucusu 2"/>
          <p:cNvSpPr>
            <a:spLocks noGrp="1"/>
          </p:cNvSpPr>
          <p:nvPr>
            <p:ph type="body" idx="1"/>
          </p:nvPr>
        </p:nvSpPr>
        <p:spPr>
          <a:noFill/>
        </p:spPr>
        <p:txBody>
          <a:bodyPr/>
          <a:lstStyle/>
          <a:p>
            <a:endParaRPr lang="tr-TR" dirty="0">
              <a:latin typeface="Arial" charset="0"/>
              <a:cs typeface="Arial" charset="0"/>
            </a:endParaRPr>
          </a:p>
        </p:txBody>
      </p:sp>
      <p:sp>
        <p:nvSpPr>
          <p:cNvPr id="23556" name="Slayt Numarası Yer Tutucusu 3"/>
          <p:cNvSpPr>
            <a:spLocks noGrp="1"/>
          </p:cNvSpPr>
          <p:nvPr>
            <p:ph type="sldNum" sz="quarter" idx="5"/>
          </p:nvPr>
        </p:nvSpPr>
        <p:spPr>
          <a:noFill/>
        </p:spPr>
        <p:txBody>
          <a:bodyPr/>
          <a:lstStyle>
            <a:lvl1pPr defTabSz="910184" eaLnBrk="0" hangingPunct="0">
              <a:defRPr sz="2800" b="1">
                <a:solidFill>
                  <a:srgbClr val="000000"/>
                </a:solidFill>
                <a:latin typeface="Verdana" pitchFamily="34" charset="0"/>
                <a:cs typeface="Arial" charset="0"/>
              </a:defRPr>
            </a:lvl1pPr>
            <a:lvl2pPr marL="743396" indent="-285921" defTabSz="910184" eaLnBrk="0" hangingPunct="0">
              <a:defRPr sz="2800" b="1">
                <a:solidFill>
                  <a:srgbClr val="000000"/>
                </a:solidFill>
                <a:latin typeface="Verdana" pitchFamily="34" charset="0"/>
                <a:cs typeface="Arial" charset="0"/>
              </a:defRPr>
            </a:lvl2pPr>
            <a:lvl3pPr marL="1143686" indent="-228737" defTabSz="910184" eaLnBrk="0" hangingPunct="0">
              <a:defRPr sz="2800" b="1">
                <a:solidFill>
                  <a:srgbClr val="000000"/>
                </a:solidFill>
                <a:latin typeface="Verdana" pitchFamily="34" charset="0"/>
                <a:cs typeface="Arial" charset="0"/>
              </a:defRPr>
            </a:lvl3pPr>
            <a:lvl4pPr marL="1601160" indent="-228737" defTabSz="910184" eaLnBrk="0" hangingPunct="0">
              <a:defRPr sz="2800" b="1">
                <a:solidFill>
                  <a:srgbClr val="000000"/>
                </a:solidFill>
                <a:latin typeface="Verdana" pitchFamily="34" charset="0"/>
                <a:cs typeface="Arial" charset="0"/>
              </a:defRPr>
            </a:lvl4pPr>
            <a:lvl5pPr marL="2058634" indent="-228737" defTabSz="910184" eaLnBrk="0" hangingPunct="0">
              <a:defRPr sz="2800" b="1">
                <a:solidFill>
                  <a:srgbClr val="000000"/>
                </a:solidFill>
                <a:latin typeface="Verdana" pitchFamily="34" charset="0"/>
                <a:cs typeface="Arial" charset="0"/>
              </a:defRPr>
            </a:lvl5pPr>
            <a:lvl6pPr marL="2516109" indent="-228737" algn="ctr" defTabSz="910184" eaLnBrk="0" fontAlgn="base" hangingPunct="0">
              <a:spcBef>
                <a:spcPct val="50000"/>
              </a:spcBef>
              <a:spcAft>
                <a:spcPct val="0"/>
              </a:spcAft>
              <a:defRPr sz="2800" b="1">
                <a:solidFill>
                  <a:srgbClr val="000000"/>
                </a:solidFill>
                <a:latin typeface="Verdana" pitchFamily="34" charset="0"/>
                <a:cs typeface="Arial" charset="0"/>
              </a:defRPr>
            </a:lvl6pPr>
            <a:lvl7pPr marL="2973583" indent="-228737" algn="ctr" defTabSz="910184" eaLnBrk="0" fontAlgn="base" hangingPunct="0">
              <a:spcBef>
                <a:spcPct val="50000"/>
              </a:spcBef>
              <a:spcAft>
                <a:spcPct val="0"/>
              </a:spcAft>
              <a:defRPr sz="2800" b="1">
                <a:solidFill>
                  <a:srgbClr val="000000"/>
                </a:solidFill>
                <a:latin typeface="Verdana" pitchFamily="34" charset="0"/>
                <a:cs typeface="Arial" charset="0"/>
              </a:defRPr>
            </a:lvl7pPr>
            <a:lvl8pPr marL="3431057" indent="-228737" algn="ctr" defTabSz="910184" eaLnBrk="0" fontAlgn="base" hangingPunct="0">
              <a:spcBef>
                <a:spcPct val="50000"/>
              </a:spcBef>
              <a:spcAft>
                <a:spcPct val="0"/>
              </a:spcAft>
              <a:defRPr sz="2800" b="1">
                <a:solidFill>
                  <a:srgbClr val="000000"/>
                </a:solidFill>
                <a:latin typeface="Verdana" pitchFamily="34" charset="0"/>
                <a:cs typeface="Arial" charset="0"/>
              </a:defRPr>
            </a:lvl8pPr>
            <a:lvl9pPr marL="3888532" indent="-228737" algn="ctr" defTabSz="910184" eaLnBrk="0" fontAlgn="base" hangingPunct="0">
              <a:spcBef>
                <a:spcPct val="50000"/>
              </a:spcBef>
              <a:spcAft>
                <a:spcPct val="0"/>
              </a:spcAft>
              <a:defRPr sz="2800" b="1">
                <a:solidFill>
                  <a:srgbClr val="000000"/>
                </a:solidFill>
                <a:latin typeface="Verdana" pitchFamily="34" charset="0"/>
                <a:cs typeface="Arial" charset="0"/>
              </a:defRPr>
            </a:lvl9pPr>
          </a:lstStyle>
          <a:p>
            <a:pPr marL="0" marR="0" lvl="0" indent="0" algn="r" defTabSz="910184" rtl="0" eaLnBrk="1" fontAlgn="auto" latinLnBrk="0" hangingPunct="1">
              <a:lnSpc>
                <a:spcPct val="100000"/>
              </a:lnSpc>
              <a:spcBef>
                <a:spcPts val="0"/>
              </a:spcBef>
              <a:spcAft>
                <a:spcPts val="0"/>
              </a:spcAft>
              <a:buClrTx/>
              <a:buSzTx/>
              <a:buFontTx/>
              <a:buNone/>
              <a:tabLst/>
              <a:defRPr/>
            </a:pPr>
            <a:fld id="{9251DE89-AAD2-40F7-89E5-FE36C2F41667}" type="slidenum">
              <a:rPr kumimoji="0" lang="tr-TR" sz="12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10184" rtl="0" eaLnBrk="1" fontAlgn="auto" latinLnBrk="0" hangingPunct="1">
                <a:lnSpc>
                  <a:spcPct val="100000"/>
                </a:lnSpc>
                <a:spcBef>
                  <a:spcPts val="0"/>
                </a:spcBef>
                <a:spcAft>
                  <a:spcPts val="0"/>
                </a:spcAft>
                <a:buClrTx/>
                <a:buSzTx/>
                <a:buFontTx/>
                <a:buNone/>
                <a:tabLst/>
                <a:defRPr/>
              </a:pPr>
              <a:t>24</a:t>
            </a:fld>
            <a:endParaRPr kumimoji="0" lang="tr-TR"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10068724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US"/>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53D97-FF9F-4E7D-8F03-B235599D0901}"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031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6ECB6-A341-4489-B053-683BBC383D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77039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6ECB6-A341-4489-B053-683BBC383D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243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6ECB6-A341-4489-B053-683BBC383D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26026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6ECB6-A341-4489-B053-683BBC383D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0896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6ECB6-A341-4489-B053-683BBC383D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32235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Tree>
    <p:extLst>
      <p:ext uri="{BB962C8B-B14F-4D97-AF65-F5344CB8AC3E}">
        <p14:creationId xmlns:p14="http://schemas.microsoft.com/office/powerpoint/2010/main" val="40632489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6ECB6-A341-4489-B053-683BBC383D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621730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US"/>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53D97-FF9F-4E7D-8F03-B235599D0901}"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21677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03271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1 Slayt Görüntüsü Yer Tutucusu"/>
          <p:cNvSpPr>
            <a:spLocks noGrp="1" noRot="1" noChangeAspect="1" noTextEdit="1"/>
          </p:cNvSpPr>
          <p:nvPr>
            <p:ph type="sldImg"/>
          </p:nvPr>
        </p:nvSpPr>
        <p:spPr bwMode="auto">
          <a:xfrm>
            <a:off x="2698750" y="509588"/>
            <a:ext cx="4530725"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2 Not Yer Tutucusu"/>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130000"/>
              </a:lnSpc>
              <a:spcBef>
                <a:spcPct val="50000"/>
              </a:spcBef>
              <a:buClr>
                <a:schemeClr val="hlink"/>
              </a:buClr>
              <a:buFont typeface="Wingdings" pitchFamily="2" charset="2"/>
              <a:buNone/>
            </a:pPr>
            <a:endParaRPr lang="tr-TR" dirty="0">
              <a:solidFill>
                <a:schemeClr val="bg1"/>
              </a:solidFill>
            </a:endParaRPr>
          </a:p>
        </p:txBody>
      </p:sp>
      <p:sp>
        <p:nvSpPr>
          <p:cNvPr id="48132" name="3 Slayt Numarası Yer Tutucusu"/>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cs typeface="Arial" charset="0"/>
              </a:defRPr>
            </a:lvl1pPr>
            <a:lvl2pPr marL="741464" indent="-285179" eaLnBrk="0" hangingPunct="0">
              <a:defRPr>
                <a:solidFill>
                  <a:schemeClr val="tx1"/>
                </a:solidFill>
                <a:latin typeface="Arial" charset="0"/>
                <a:cs typeface="Arial" charset="0"/>
              </a:defRPr>
            </a:lvl2pPr>
            <a:lvl3pPr marL="1140714" indent="-228143" eaLnBrk="0" hangingPunct="0">
              <a:defRPr>
                <a:solidFill>
                  <a:schemeClr val="tx1"/>
                </a:solidFill>
                <a:latin typeface="Arial" charset="0"/>
                <a:cs typeface="Arial" charset="0"/>
              </a:defRPr>
            </a:lvl3pPr>
            <a:lvl4pPr marL="1597000" indent="-228143" eaLnBrk="0" hangingPunct="0">
              <a:defRPr>
                <a:solidFill>
                  <a:schemeClr val="tx1"/>
                </a:solidFill>
                <a:latin typeface="Arial" charset="0"/>
                <a:cs typeface="Arial" charset="0"/>
              </a:defRPr>
            </a:lvl4pPr>
            <a:lvl5pPr marL="2053285" indent="-228143" eaLnBrk="0" hangingPunct="0">
              <a:defRPr>
                <a:solidFill>
                  <a:schemeClr val="tx1"/>
                </a:solidFill>
                <a:latin typeface="Arial" charset="0"/>
                <a:cs typeface="Arial" charset="0"/>
              </a:defRPr>
            </a:lvl5pPr>
            <a:lvl6pPr marL="2509571" indent="-228143" eaLnBrk="0" fontAlgn="base" hangingPunct="0">
              <a:spcBef>
                <a:spcPct val="0"/>
              </a:spcBef>
              <a:spcAft>
                <a:spcPct val="0"/>
              </a:spcAft>
              <a:defRPr>
                <a:solidFill>
                  <a:schemeClr val="tx1"/>
                </a:solidFill>
                <a:latin typeface="Arial" charset="0"/>
                <a:cs typeface="Arial" charset="0"/>
              </a:defRPr>
            </a:lvl6pPr>
            <a:lvl7pPr marL="2965856" indent="-228143" eaLnBrk="0" fontAlgn="base" hangingPunct="0">
              <a:spcBef>
                <a:spcPct val="0"/>
              </a:spcBef>
              <a:spcAft>
                <a:spcPct val="0"/>
              </a:spcAft>
              <a:defRPr>
                <a:solidFill>
                  <a:schemeClr val="tx1"/>
                </a:solidFill>
                <a:latin typeface="Arial" charset="0"/>
                <a:cs typeface="Arial" charset="0"/>
              </a:defRPr>
            </a:lvl7pPr>
            <a:lvl8pPr marL="3422142" indent="-228143" eaLnBrk="0" fontAlgn="base" hangingPunct="0">
              <a:spcBef>
                <a:spcPct val="0"/>
              </a:spcBef>
              <a:spcAft>
                <a:spcPct val="0"/>
              </a:spcAft>
              <a:defRPr>
                <a:solidFill>
                  <a:schemeClr val="tx1"/>
                </a:solidFill>
                <a:latin typeface="Arial" charset="0"/>
                <a:cs typeface="Arial" charset="0"/>
              </a:defRPr>
            </a:lvl8pPr>
            <a:lvl9pPr marL="3878428" indent="-228143"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B39F6BA-864E-4593-91D6-F8B53D4A8E85}" type="slidenum">
              <a:rPr kumimoji="0" lang="tr-TR" sz="1200" b="0" i="0" u="none" strike="noStrike" kern="1200" cap="none" spc="0" normalizeH="0" baseline="0" noProof="0" smtClean="0">
                <a:ln>
                  <a:noFill/>
                </a:ln>
                <a:solidFill>
                  <a:prstClr val="black"/>
                </a:solidFill>
                <a:effectLst/>
                <a:uLnTx/>
                <a:uFillTx/>
                <a:latin typeface="Arial" charset="0"/>
                <a:ea typeface="ヒラギノ角ゴ Pro W3" pitchFamily="1"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tr-TR" sz="1200" b="0" i="0" u="none" strike="noStrike" kern="1200" cap="none" spc="0" normalizeH="0" baseline="0" noProof="0" dirty="0">
              <a:ln>
                <a:noFill/>
              </a:ln>
              <a:solidFill>
                <a:prstClr val="black"/>
              </a:solidFill>
              <a:effectLst/>
              <a:uLnTx/>
              <a:uFillTx/>
              <a:latin typeface="Arial" charset="0"/>
              <a:ea typeface="ヒラギノ角ゴ Pro W3" pitchFamily="1" charset="-128"/>
              <a:cs typeface="Arial" charset="0"/>
            </a:endParaRPr>
          </a:p>
        </p:txBody>
      </p:sp>
    </p:spTree>
    <p:extLst>
      <p:ext uri="{BB962C8B-B14F-4D97-AF65-F5344CB8AC3E}">
        <p14:creationId xmlns:p14="http://schemas.microsoft.com/office/powerpoint/2010/main" val="1012992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1 Slayt Görüntüsü Yer Tutucusu"/>
          <p:cNvSpPr>
            <a:spLocks noGrp="1" noRot="1" noChangeAspect="1" noTextEdit="1"/>
          </p:cNvSpPr>
          <p:nvPr>
            <p:ph type="sldImg"/>
          </p:nvPr>
        </p:nvSpPr>
        <p:spPr bwMode="auto">
          <a:xfrm>
            <a:off x="2698750" y="509588"/>
            <a:ext cx="4530725"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2 Not Yer Tutucusu"/>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130000"/>
              </a:lnSpc>
              <a:spcBef>
                <a:spcPct val="50000"/>
              </a:spcBef>
              <a:buClr>
                <a:schemeClr val="hlink"/>
              </a:buClr>
              <a:buFont typeface="Wingdings" pitchFamily="2" charset="2"/>
              <a:buNone/>
            </a:pPr>
            <a:endParaRPr lang="tr-TR" dirty="0">
              <a:solidFill>
                <a:schemeClr val="bg1"/>
              </a:solidFill>
            </a:endParaRPr>
          </a:p>
        </p:txBody>
      </p:sp>
      <p:sp>
        <p:nvSpPr>
          <p:cNvPr id="48132" name="3 Slayt Numarası Yer Tutucusu"/>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cs typeface="Arial" charset="0"/>
              </a:defRPr>
            </a:lvl1pPr>
            <a:lvl2pPr marL="741464" indent="-285179" eaLnBrk="0" hangingPunct="0">
              <a:defRPr>
                <a:solidFill>
                  <a:schemeClr val="tx1"/>
                </a:solidFill>
                <a:latin typeface="Arial" charset="0"/>
                <a:cs typeface="Arial" charset="0"/>
              </a:defRPr>
            </a:lvl2pPr>
            <a:lvl3pPr marL="1140714" indent="-228143" eaLnBrk="0" hangingPunct="0">
              <a:defRPr>
                <a:solidFill>
                  <a:schemeClr val="tx1"/>
                </a:solidFill>
                <a:latin typeface="Arial" charset="0"/>
                <a:cs typeface="Arial" charset="0"/>
              </a:defRPr>
            </a:lvl3pPr>
            <a:lvl4pPr marL="1597000" indent="-228143" eaLnBrk="0" hangingPunct="0">
              <a:defRPr>
                <a:solidFill>
                  <a:schemeClr val="tx1"/>
                </a:solidFill>
                <a:latin typeface="Arial" charset="0"/>
                <a:cs typeface="Arial" charset="0"/>
              </a:defRPr>
            </a:lvl4pPr>
            <a:lvl5pPr marL="2053285" indent="-228143" eaLnBrk="0" hangingPunct="0">
              <a:defRPr>
                <a:solidFill>
                  <a:schemeClr val="tx1"/>
                </a:solidFill>
                <a:latin typeface="Arial" charset="0"/>
                <a:cs typeface="Arial" charset="0"/>
              </a:defRPr>
            </a:lvl5pPr>
            <a:lvl6pPr marL="2509571" indent="-228143" eaLnBrk="0" fontAlgn="base" hangingPunct="0">
              <a:spcBef>
                <a:spcPct val="0"/>
              </a:spcBef>
              <a:spcAft>
                <a:spcPct val="0"/>
              </a:spcAft>
              <a:defRPr>
                <a:solidFill>
                  <a:schemeClr val="tx1"/>
                </a:solidFill>
                <a:latin typeface="Arial" charset="0"/>
                <a:cs typeface="Arial" charset="0"/>
              </a:defRPr>
            </a:lvl6pPr>
            <a:lvl7pPr marL="2965856" indent="-228143" eaLnBrk="0" fontAlgn="base" hangingPunct="0">
              <a:spcBef>
                <a:spcPct val="0"/>
              </a:spcBef>
              <a:spcAft>
                <a:spcPct val="0"/>
              </a:spcAft>
              <a:defRPr>
                <a:solidFill>
                  <a:schemeClr val="tx1"/>
                </a:solidFill>
                <a:latin typeface="Arial" charset="0"/>
                <a:cs typeface="Arial" charset="0"/>
              </a:defRPr>
            </a:lvl7pPr>
            <a:lvl8pPr marL="3422142" indent="-228143" eaLnBrk="0" fontAlgn="base" hangingPunct="0">
              <a:spcBef>
                <a:spcPct val="0"/>
              </a:spcBef>
              <a:spcAft>
                <a:spcPct val="0"/>
              </a:spcAft>
              <a:defRPr>
                <a:solidFill>
                  <a:schemeClr val="tx1"/>
                </a:solidFill>
                <a:latin typeface="Arial" charset="0"/>
                <a:cs typeface="Arial" charset="0"/>
              </a:defRPr>
            </a:lvl8pPr>
            <a:lvl9pPr marL="3878428" indent="-228143"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B39F6BA-864E-4593-91D6-F8B53D4A8E85}" type="slidenum">
              <a:rPr kumimoji="0" lang="tr-TR" sz="1200" b="0" i="0" u="none" strike="noStrike" kern="1200" cap="none" spc="0" normalizeH="0" baseline="0" noProof="0" smtClean="0">
                <a:ln>
                  <a:noFill/>
                </a:ln>
                <a:solidFill>
                  <a:prstClr val="black"/>
                </a:solidFill>
                <a:effectLst/>
                <a:uLnTx/>
                <a:uFillTx/>
                <a:latin typeface="Arial" charset="0"/>
                <a:ea typeface="ヒラギノ角ゴ Pro W3" pitchFamily="1"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tr-TR" sz="1200" b="0" i="0" u="none" strike="noStrike" kern="1200" cap="none" spc="0" normalizeH="0" baseline="0" noProof="0" dirty="0">
              <a:ln>
                <a:noFill/>
              </a:ln>
              <a:solidFill>
                <a:prstClr val="black"/>
              </a:solidFill>
              <a:effectLst/>
              <a:uLnTx/>
              <a:uFillTx/>
              <a:latin typeface="Arial" charset="0"/>
              <a:ea typeface="ヒラギノ角ゴ Pro W3" pitchFamily="1" charset="-128"/>
              <a:cs typeface="Arial" charset="0"/>
            </a:endParaRPr>
          </a:p>
        </p:txBody>
      </p:sp>
    </p:spTree>
    <p:extLst>
      <p:ext uri="{BB962C8B-B14F-4D97-AF65-F5344CB8AC3E}">
        <p14:creationId xmlns:p14="http://schemas.microsoft.com/office/powerpoint/2010/main" val="38772598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1 Slayt Görüntüsü Yer Tutucusu"/>
          <p:cNvSpPr>
            <a:spLocks noGrp="1" noRot="1" noChangeAspect="1" noTextEdit="1"/>
          </p:cNvSpPr>
          <p:nvPr>
            <p:ph type="sldImg"/>
          </p:nvPr>
        </p:nvSpPr>
        <p:spPr bwMode="auto">
          <a:xfrm>
            <a:off x="2698750" y="509588"/>
            <a:ext cx="4530725"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2 Not Yer Tutucusu"/>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130000"/>
              </a:lnSpc>
              <a:spcBef>
                <a:spcPct val="50000"/>
              </a:spcBef>
              <a:buClr>
                <a:schemeClr val="hlink"/>
              </a:buClr>
              <a:buFont typeface="Wingdings" pitchFamily="2" charset="2"/>
              <a:buNone/>
            </a:pPr>
            <a:endParaRPr lang="tr-TR" dirty="0">
              <a:solidFill>
                <a:schemeClr val="bg1"/>
              </a:solidFill>
            </a:endParaRPr>
          </a:p>
        </p:txBody>
      </p:sp>
      <p:sp>
        <p:nvSpPr>
          <p:cNvPr id="48132" name="3 Slayt Numarası Yer Tutucusu"/>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cs typeface="Arial" charset="0"/>
              </a:defRPr>
            </a:lvl1pPr>
            <a:lvl2pPr marL="741464" indent="-285179" eaLnBrk="0" hangingPunct="0">
              <a:defRPr>
                <a:solidFill>
                  <a:schemeClr val="tx1"/>
                </a:solidFill>
                <a:latin typeface="Arial" charset="0"/>
                <a:cs typeface="Arial" charset="0"/>
              </a:defRPr>
            </a:lvl2pPr>
            <a:lvl3pPr marL="1140714" indent="-228143" eaLnBrk="0" hangingPunct="0">
              <a:defRPr>
                <a:solidFill>
                  <a:schemeClr val="tx1"/>
                </a:solidFill>
                <a:latin typeface="Arial" charset="0"/>
                <a:cs typeface="Arial" charset="0"/>
              </a:defRPr>
            </a:lvl3pPr>
            <a:lvl4pPr marL="1597000" indent="-228143" eaLnBrk="0" hangingPunct="0">
              <a:defRPr>
                <a:solidFill>
                  <a:schemeClr val="tx1"/>
                </a:solidFill>
                <a:latin typeface="Arial" charset="0"/>
                <a:cs typeface="Arial" charset="0"/>
              </a:defRPr>
            </a:lvl4pPr>
            <a:lvl5pPr marL="2053285" indent="-228143" eaLnBrk="0" hangingPunct="0">
              <a:defRPr>
                <a:solidFill>
                  <a:schemeClr val="tx1"/>
                </a:solidFill>
                <a:latin typeface="Arial" charset="0"/>
                <a:cs typeface="Arial" charset="0"/>
              </a:defRPr>
            </a:lvl5pPr>
            <a:lvl6pPr marL="2509571" indent="-228143" eaLnBrk="0" fontAlgn="base" hangingPunct="0">
              <a:spcBef>
                <a:spcPct val="0"/>
              </a:spcBef>
              <a:spcAft>
                <a:spcPct val="0"/>
              </a:spcAft>
              <a:defRPr>
                <a:solidFill>
                  <a:schemeClr val="tx1"/>
                </a:solidFill>
                <a:latin typeface="Arial" charset="0"/>
                <a:cs typeface="Arial" charset="0"/>
              </a:defRPr>
            </a:lvl6pPr>
            <a:lvl7pPr marL="2965856" indent="-228143" eaLnBrk="0" fontAlgn="base" hangingPunct="0">
              <a:spcBef>
                <a:spcPct val="0"/>
              </a:spcBef>
              <a:spcAft>
                <a:spcPct val="0"/>
              </a:spcAft>
              <a:defRPr>
                <a:solidFill>
                  <a:schemeClr val="tx1"/>
                </a:solidFill>
                <a:latin typeface="Arial" charset="0"/>
                <a:cs typeface="Arial" charset="0"/>
              </a:defRPr>
            </a:lvl7pPr>
            <a:lvl8pPr marL="3422142" indent="-228143" eaLnBrk="0" fontAlgn="base" hangingPunct="0">
              <a:spcBef>
                <a:spcPct val="0"/>
              </a:spcBef>
              <a:spcAft>
                <a:spcPct val="0"/>
              </a:spcAft>
              <a:defRPr>
                <a:solidFill>
                  <a:schemeClr val="tx1"/>
                </a:solidFill>
                <a:latin typeface="Arial" charset="0"/>
                <a:cs typeface="Arial" charset="0"/>
              </a:defRPr>
            </a:lvl8pPr>
            <a:lvl9pPr marL="3878428" indent="-228143"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B39F6BA-864E-4593-91D6-F8B53D4A8E85}" type="slidenum">
              <a:rPr kumimoji="0" lang="tr-TR" sz="1200" b="0" i="0" u="none" strike="noStrike" kern="1200" cap="none" spc="0" normalizeH="0" baseline="0" noProof="0" smtClean="0">
                <a:ln>
                  <a:noFill/>
                </a:ln>
                <a:solidFill>
                  <a:prstClr val="black"/>
                </a:solidFill>
                <a:effectLst/>
                <a:uLnTx/>
                <a:uFillTx/>
                <a:latin typeface="Arial" charset="0"/>
                <a:ea typeface="ヒラギノ角ゴ Pro W3" pitchFamily="1"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tr-TR" sz="1200" b="0" i="0" u="none" strike="noStrike" kern="1200" cap="none" spc="0" normalizeH="0" baseline="0" noProof="0" dirty="0">
              <a:ln>
                <a:noFill/>
              </a:ln>
              <a:solidFill>
                <a:prstClr val="black"/>
              </a:solidFill>
              <a:effectLst/>
              <a:uLnTx/>
              <a:uFillTx/>
              <a:latin typeface="Arial" charset="0"/>
              <a:ea typeface="ヒラギノ角ゴ Pro W3" pitchFamily="1" charset="-128"/>
              <a:cs typeface="Arial" charset="0"/>
            </a:endParaRPr>
          </a:p>
        </p:txBody>
      </p:sp>
    </p:spTree>
    <p:extLst>
      <p:ext uri="{BB962C8B-B14F-4D97-AF65-F5344CB8AC3E}">
        <p14:creationId xmlns:p14="http://schemas.microsoft.com/office/powerpoint/2010/main" val="2678594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1 Slayt Görüntüsü Yer Tutucusu"/>
          <p:cNvSpPr>
            <a:spLocks noGrp="1" noRot="1" noChangeAspect="1" noTextEdit="1"/>
          </p:cNvSpPr>
          <p:nvPr>
            <p:ph type="sldImg"/>
          </p:nvPr>
        </p:nvSpPr>
        <p:spPr bwMode="auto">
          <a:xfrm>
            <a:off x="2698750" y="509588"/>
            <a:ext cx="4530725"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2 Not Yer Tutucusu"/>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130000"/>
              </a:lnSpc>
              <a:spcBef>
                <a:spcPct val="50000"/>
              </a:spcBef>
              <a:buClr>
                <a:schemeClr val="hlink"/>
              </a:buClr>
              <a:buFont typeface="Wingdings" pitchFamily="2" charset="2"/>
              <a:buNone/>
            </a:pPr>
            <a:endParaRPr lang="tr-TR" dirty="0">
              <a:solidFill>
                <a:schemeClr val="bg1"/>
              </a:solidFill>
            </a:endParaRPr>
          </a:p>
        </p:txBody>
      </p:sp>
      <p:sp>
        <p:nvSpPr>
          <p:cNvPr id="48132" name="3 Slayt Numarası Yer Tutucusu"/>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cs typeface="Arial" charset="0"/>
              </a:defRPr>
            </a:lvl1pPr>
            <a:lvl2pPr marL="741464" indent="-285179" eaLnBrk="0" hangingPunct="0">
              <a:defRPr>
                <a:solidFill>
                  <a:schemeClr val="tx1"/>
                </a:solidFill>
                <a:latin typeface="Arial" charset="0"/>
                <a:cs typeface="Arial" charset="0"/>
              </a:defRPr>
            </a:lvl2pPr>
            <a:lvl3pPr marL="1140714" indent="-228143" eaLnBrk="0" hangingPunct="0">
              <a:defRPr>
                <a:solidFill>
                  <a:schemeClr val="tx1"/>
                </a:solidFill>
                <a:latin typeface="Arial" charset="0"/>
                <a:cs typeface="Arial" charset="0"/>
              </a:defRPr>
            </a:lvl3pPr>
            <a:lvl4pPr marL="1597000" indent="-228143" eaLnBrk="0" hangingPunct="0">
              <a:defRPr>
                <a:solidFill>
                  <a:schemeClr val="tx1"/>
                </a:solidFill>
                <a:latin typeface="Arial" charset="0"/>
                <a:cs typeface="Arial" charset="0"/>
              </a:defRPr>
            </a:lvl4pPr>
            <a:lvl5pPr marL="2053285" indent="-228143" eaLnBrk="0" hangingPunct="0">
              <a:defRPr>
                <a:solidFill>
                  <a:schemeClr val="tx1"/>
                </a:solidFill>
                <a:latin typeface="Arial" charset="0"/>
                <a:cs typeface="Arial" charset="0"/>
              </a:defRPr>
            </a:lvl5pPr>
            <a:lvl6pPr marL="2509571" indent="-228143" eaLnBrk="0" fontAlgn="base" hangingPunct="0">
              <a:spcBef>
                <a:spcPct val="0"/>
              </a:spcBef>
              <a:spcAft>
                <a:spcPct val="0"/>
              </a:spcAft>
              <a:defRPr>
                <a:solidFill>
                  <a:schemeClr val="tx1"/>
                </a:solidFill>
                <a:latin typeface="Arial" charset="0"/>
                <a:cs typeface="Arial" charset="0"/>
              </a:defRPr>
            </a:lvl6pPr>
            <a:lvl7pPr marL="2965856" indent="-228143" eaLnBrk="0" fontAlgn="base" hangingPunct="0">
              <a:spcBef>
                <a:spcPct val="0"/>
              </a:spcBef>
              <a:spcAft>
                <a:spcPct val="0"/>
              </a:spcAft>
              <a:defRPr>
                <a:solidFill>
                  <a:schemeClr val="tx1"/>
                </a:solidFill>
                <a:latin typeface="Arial" charset="0"/>
                <a:cs typeface="Arial" charset="0"/>
              </a:defRPr>
            </a:lvl7pPr>
            <a:lvl8pPr marL="3422142" indent="-228143" eaLnBrk="0" fontAlgn="base" hangingPunct="0">
              <a:spcBef>
                <a:spcPct val="0"/>
              </a:spcBef>
              <a:spcAft>
                <a:spcPct val="0"/>
              </a:spcAft>
              <a:defRPr>
                <a:solidFill>
                  <a:schemeClr val="tx1"/>
                </a:solidFill>
                <a:latin typeface="Arial" charset="0"/>
                <a:cs typeface="Arial" charset="0"/>
              </a:defRPr>
            </a:lvl8pPr>
            <a:lvl9pPr marL="3878428" indent="-228143"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B39F6BA-864E-4593-91D6-F8B53D4A8E85}" type="slidenum">
              <a:rPr kumimoji="0" lang="tr-TR" sz="1200" b="0" i="0" u="none" strike="noStrike" kern="1200" cap="none" spc="0" normalizeH="0" baseline="0" noProof="0" smtClean="0">
                <a:ln>
                  <a:noFill/>
                </a:ln>
                <a:solidFill>
                  <a:prstClr val="black"/>
                </a:solidFill>
                <a:effectLst/>
                <a:uLnTx/>
                <a:uFillTx/>
                <a:latin typeface="Arial" charset="0"/>
                <a:ea typeface="ヒラギノ角ゴ Pro W3" pitchFamily="1"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tr-TR" sz="1200" b="0" i="0" u="none" strike="noStrike" kern="1200" cap="none" spc="0" normalizeH="0" baseline="0" noProof="0" dirty="0">
              <a:ln>
                <a:noFill/>
              </a:ln>
              <a:solidFill>
                <a:prstClr val="black"/>
              </a:solidFill>
              <a:effectLst/>
              <a:uLnTx/>
              <a:uFillTx/>
              <a:latin typeface="Arial" charset="0"/>
              <a:ea typeface="ヒラギノ角ゴ Pro W3" pitchFamily="1" charset="-128"/>
              <a:cs typeface="Arial" charset="0"/>
            </a:endParaRPr>
          </a:p>
        </p:txBody>
      </p:sp>
    </p:spTree>
    <p:extLst>
      <p:ext uri="{BB962C8B-B14F-4D97-AF65-F5344CB8AC3E}">
        <p14:creationId xmlns:p14="http://schemas.microsoft.com/office/powerpoint/2010/main" val="6732437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2483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ayt Görüntüsü Yer Tutucusu 1"/>
          <p:cNvSpPr>
            <a:spLocks noGrp="1" noRot="1" noChangeAspect="1" noTextEdit="1"/>
          </p:cNvSpPr>
          <p:nvPr>
            <p:ph type="sldImg"/>
          </p:nvPr>
        </p:nvSpPr>
        <p:spPr>
          <a:xfrm>
            <a:off x="2700338" y="509588"/>
            <a:ext cx="4530725" cy="2549525"/>
          </a:xfrm>
          <a:ln/>
        </p:spPr>
      </p:sp>
      <p:sp>
        <p:nvSpPr>
          <p:cNvPr id="73731" name="Not Yer Tutucusu 2"/>
          <p:cNvSpPr>
            <a:spLocks noGrp="1"/>
          </p:cNvSpPr>
          <p:nvPr>
            <p:ph type="body" idx="1"/>
          </p:nvPr>
        </p:nvSpPr>
        <p:spPr>
          <a:noFill/>
          <a:ln/>
        </p:spPr>
        <p:txBody>
          <a:bodyPr/>
          <a:lstStyle/>
          <a:p>
            <a:endParaRPr lang="tr-TR" dirty="0" smtClean="0"/>
          </a:p>
        </p:txBody>
      </p:sp>
      <p:sp>
        <p:nvSpPr>
          <p:cNvPr id="73732" name="Slayt Numarası Yer Tutucusu 3"/>
          <p:cNvSpPr>
            <a:spLocks noGrp="1"/>
          </p:cNvSpPr>
          <p:nvPr>
            <p:ph type="sldNum" sz="quarter" idx="5"/>
          </p:nvPr>
        </p:nvSpPr>
        <p:spPr>
          <a:noFill/>
        </p:spPr>
        <p:txBody>
          <a:bodyPr/>
          <a:lstStyle/>
          <a:p>
            <a:fld id="{005F074A-D1FA-4B1C-A0CA-6ABBAA41B52A}" type="slidenum">
              <a:rPr lang="tr-TR" smtClean="0"/>
              <a:pPr/>
              <a:t>45</a:t>
            </a:fld>
            <a:endParaRPr lang="tr-TR" dirty="0" smtClean="0"/>
          </a:p>
        </p:txBody>
      </p:sp>
    </p:spTree>
    <p:extLst>
      <p:ext uri="{BB962C8B-B14F-4D97-AF65-F5344CB8AC3E}">
        <p14:creationId xmlns:p14="http://schemas.microsoft.com/office/powerpoint/2010/main" val="7531798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46</a:t>
            </a:fld>
            <a:endParaRPr lang="tr-TR"/>
          </a:p>
        </p:txBody>
      </p:sp>
    </p:spTree>
    <p:extLst>
      <p:ext uri="{BB962C8B-B14F-4D97-AF65-F5344CB8AC3E}">
        <p14:creationId xmlns:p14="http://schemas.microsoft.com/office/powerpoint/2010/main" val="3733026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196850" y="750888"/>
            <a:ext cx="6680200" cy="3759200"/>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solidFill>
                  <a:prstClr val="black"/>
                </a:solidFill>
              </a:rPr>
              <a:pPr/>
              <a:t>3</a:t>
            </a:fld>
            <a:endParaRPr lang="tr-TR">
              <a:solidFill>
                <a:prstClr val="black"/>
              </a:solidFill>
            </a:endParaRPr>
          </a:p>
        </p:txBody>
      </p:sp>
    </p:spTree>
    <p:extLst>
      <p:ext uri="{BB962C8B-B14F-4D97-AF65-F5344CB8AC3E}">
        <p14:creationId xmlns:p14="http://schemas.microsoft.com/office/powerpoint/2010/main" val="21762491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47</a:t>
            </a:fld>
            <a:endParaRPr lang="tr-TR"/>
          </a:p>
        </p:txBody>
      </p:sp>
    </p:spTree>
    <p:extLst>
      <p:ext uri="{BB962C8B-B14F-4D97-AF65-F5344CB8AC3E}">
        <p14:creationId xmlns:p14="http://schemas.microsoft.com/office/powerpoint/2010/main" val="27149631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48</a:t>
            </a:fld>
            <a:endParaRPr lang="tr-TR"/>
          </a:p>
        </p:txBody>
      </p:sp>
    </p:spTree>
    <p:extLst>
      <p:ext uri="{BB962C8B-B14F-4D97-AF65-F5344CB8AC3E}">
        <p14:creationId xmlns:p14="http://schemas.microsoft.com/office/powerpoint/2010/main" val="32314851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49</a:t>
            </a:fld>
            <a:endParaRPr lang="tr-TR"/>
          </a:p>
        </p:txBody>
      </p:sp>
    </p:spTree>
    <p:extLst>
      <p:ext uri="{BB962C8B-B14F-4D97-AF65-F5344CB8AC3E}">
        <p14:creationId xmlns:p14="http://schemas.microsoft.com/office/powerpoint/2010/main" val="9550621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ayt Görüntüsü Yer Tutucusu 1"/>
          <p:cNvSpPr>
            <a:spLocks noGrp="1" noRot="1" noChangeAspect="1" noTextEdit="1"/>
          </p:cNvSpPr>
          <p:nvPr>
            <p:ph type="sldImg"/>
          </p:nvPr>
        </p:nvSpPr>
        <p:spPr>
          <a:xfrm>
            <a:off x="2700338" y="509588"/>
            <a:ext cx="4530725" cy="2549525"/>
          </a:xfrm>
          <a:ln/>
        </p:spPr>
      </p:sp>
      <p:sp>
        <p:nvSpPr>
          <p:cNvPr id="73731" name="Not Yer Tutucusu 2"/>
          <p:cNvSpPr>
            <a:spLocks noGrp="1"/>
          </p:cNvSpPr>
          <p:nvPr>
            <p:ph type="body" idx="1"/>
          </p:nvPr>
        </p:nvSpPr>
        <p:spPr>
          <a:noFill/>
          <a:ln/>
        </p:spPr>
        <p:txBody>
          <a:bodyPr/>
          <a:lstStyle/>
          <a:p>
            <a:endParaRPr lang="tr-TR" dirty="0" smtClean="0"/>
          </a:p>
        </p:txBody>
      </p:sp>
      <p:sp>
        <p:nvSpPr>
          <p:cNvPr id="73732" name="Slayt Numarası Yer Tutucusu 3"/>
          <p:cNvSpPr>
            <a:spLocks noGrp="1"/>
          </p:cNvSpPr>
          <p:nvPr>
            <p:ph type="sldNum" sz="quarter" idx="5"/>
          </p:nvPr>
        </p:nvSpPr>
        <p:spPr>
          <a:noFill/>
        </p:spPr>
        <p:txBody>
          <a:bodyPr/>
          <a:lstStyle/>
          <a:p>
            <a:fld id="{005F074A-D1FA-4B1C-A0CA-6ABBAA41B52A}" type="slidenum">
              <a:rPr lang="tr-TR" smtClean="0"/>
              <a:pPr/>
              <a:t>55</a:t>
            </a:fld>
            <a:endParaRPr lang="tr-TR" dirty="0" smtClean="0"/>
          </a:p>
        </p:txBody>
      </p:sp>
    </p:spTree>
    <p:extLst>
      <p:ext uri="{BB962C8B-B14F-4D97-AF65-F5344CB8AC3E}">
        <p14:creationId xmlns:p14="http://schemas.microsoft.com/office/powerpoint/2010/main" val="37523405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56</a:t>
            </a:fld>
            <a:endParaRPr lang="tr-TR"/>
          </a:p>
        </p:txBody>
      </p:sp>
    </p:spTree>
    <p:extLst>
      <p:ext uri="{BB962C8B-B14F-4D97-AF65-F5344CB8AC3E}">
        <p14:creationId xmlns:p14="http://schemas.microsoft.com/office/powerpoint/2010/main" val="34196626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57</a:t>
            </a:fld>
            <a:endParaRPr lang="tr-TR"/>
          </a:p>
        </p:txBody>
      </p:sp>
    </p:spTree>
    <p:extLst>
      <p:ext uri="{BB962C8B-B14F-4D97-AF65-F5344CB8AC3E}">
        <p14:creationId xmlns:p14="http://schemas.microsoft.com/office/powerpoint/2010/main" val="40442368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58</a:t>
            </a:fld>
            <a:endParaRPr lang="tr-TR"/>
          </a:p>
        </p:txBody>
      </p:sp>
    </p:spTree>
    <p:extLst>
      <p:ext uri="{BB962C8B-B14F-4D97-AF65-F5344CB8AC3E}">
        <p14:creationId xmlns:p14="http://schemas.microsoft.com/office/powerpoint/2010/main" val="28743834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59</a:t>
            </a:fld>
            <a:endParaRPr lang="tr-TR"/>
          </a:p>
        </p:txBody>
      </p:sp>
    </p:spTree>
    <p:extLst>
      <p:ext uri="{BB962C8B-B14F-4D97-AF65-F5344CB8AC3E}">
        <p14:creationId xmlns:p14="http://schemas.microsoft.com/office/powerpoint/2010/main" val="29372304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b="1" dirty="0">
                <a:solidFill>
                  <a:prstClr val="black"/>
                </a:solidFill>
              </a:rPr>
              <a:t>Eğitim-danışmanlık </a:t>
            </a:r>
            <a:r>
              <a:rPr lang="tr-TR" b="1" dirty="0">
                <a:solidFill>
                  <a:prstClr val="black"/>
                </a:solidFill>
                <a:sym typeface="Wingdings" panose="05000000000000000000" pitchFamily="2" charset="2"/>
              </a:rPr>
              <a:t></a:t>
            </a:r>
            <a:r>
              <a:rPr lang="tr-TR" b="1" dirty="0">
                <a:solidFill>
                  <a:prstClr val="black"/>
                </a:solidFill>
              </a:rPr>
              <a:t> 300.000-TL</a:t>
            </a:r>
          </a:p>
          <a:p>
            <a:r>
              <a:rPr lang="tr-TR" b="1" dirty="0">
                <a:solidFill>
                  <a:prstClr val="black"/>
                </a:solidFill>
              </a:rPr>
              <a:t>Organizasyon </a:t>
            </a:r>
            <a:r>
              <a:rPr lang="tr-TR" b="1" dirty="0">
                <a:solidFill>
                  <a:prstClr val="black"/>
                </a:solidFill>
                <a:sym typeface="Wingdings" panose="05000000000000000000" pitchFamily="2" charset="2"/>
              </a:rPr>
              <a:t> </a:t>
            </a:r>
            <a:r>
              <a:rPr lang="tr-TR" b="1" dirty="0">
                <a:solidFill>
                  <a:prstClr val="black"/>
                </a:solidFill>
              </a:rPr>
              <a:t>500.000-TL</a:t>
            </a:r>
          </a:p>
          <a:p>
            <a:r>
              <a:rPr lang="tr-TR" b="1" dirty="0">
                <a:solidFill>
                  <a:prstClr val="black"/>
                </a:solidFill>
              </a:rPr>
              <a:t>Tanıtım </a:t>
            </a:r>
            <a:r>
              <a:rPr lang="tr-TR" b="1" dirty="0">
                <a:solidFill>
                  <a:prstClr val="black"/>
                </a:solidFill>
                <a:sym typeface="Wingdings" panose="05000000000000000000" pitchFamily="2" charset="2"/>
              </a:rPr>
              <a:t></a:t>
            </a:r>
            <a:r>
              <a:rPr lang="tr-TR" b="1" dirty="0">
                <a:solidFill>
                  <a:prstClr val="black"/>
                </a:solidFill>
              </a:rPr>
              <a:t> 200.000-TL</a:t>
            </a:r>
          </a:p>
          <a:p>
            <a:endParaRPr lang="en-US"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53D97-FF9F-4E7D-8F03-B235599D0901}"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7581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81253D97-FF9F-4E7D-8F03-B235599D0901}" type="slidenum">
              <a:rPr lang="tr-TR" smtClean="0">
                <a:solidFill>
                  <a:prstClr val="black"/>
                </a:solidFill>
              </a:rPr>
              <a:pPr/>
              <a:t>61</a:t>
            </a:fld>
            <a:endParaRPr lang="tr-TR">
              <a:solidFill>
                <a:prstClr val="black"/>
              </a:solidFill>
            </a:endParaRPr>
          </a:p>
        </p:txBody>
      </p:sp>
    </p:spTree>
    <p:extLst>
      <p:ext uri="{BB962C8B-B14F-4D97-AF65-F5344CB8AC3E}">
        <p14:creationId xmlns:p14="http://schemas.microsoft.com/office/powerpoint/2010/main" val="3554625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141288" y="803275"/>
            <a:ext cx="7140576" cy="4017963"/>
          </a:xfrm>
        </p:spPr>
      </p:sp>
      <p:sp>
        <p:nvSpPr>
          <p:cNvPr id="3" name="Not Yer Tutucusu 2"/>
          <p:cNvSpPr>
            <a:spLocks noGrp="1"/>
          </p:cNvSpPr>
          <p:nvPr>
            <p:ph type="body" idx="1"/>
          </p:nvPr>
        </p:nvSpPr>
        <p:spPr/>
        <p:txBody>
          <a:bodyPr>
            <a:normAutofit/>
          </a:bodyPr>
          <a:lstStyle/>
          <a:p>
            <a:pPr defTabSz="914326">
              <a:defRPr/>
            </a:pPr>
            <a:endParaRPr lang="tr-TR" b="1" dirty="0"/>
          </a:p>
        </p:txBody>
      </p:sp>
      <p:sp>
        <p:nvSpPr>
          <p:cNvPr id="4" name="Slayt Numarası Yer Tutucusu 3"/>
          <p:cNvSpPr>
            <a:spLocks noGrp="1"/>
          </p:cNvSpPr>
          <p:nvPr>
            <p:ph type="sldNum" sz="quarter" idx="10"/>
          </p:nvPr>
        </p:nvSpPr>
        <p:spPr/>
        <p:txBody>
          <a:bodyPr/>
          <a:lstStyle/>
          <a:p>
            <a:fld id="{0D34A84A-BE48-4212-99C4-D6CDDF0D2B65}" type="slidenum">
              <a:rPr lang="tr-TR" smtClean="0">
                <a:solidFill>
                  <a:prstClr val="black"/>
                </a:solidFill>
              </a:rPr>
              <a:pPr/>
              <a:t>4</a:t>
            </a:fld>
            <a:endParaRPr lang="tr-TR" dirty="0">
              <a:solidFill>
                <a:prstClr val="black"/>
              </a:solidFill>
            </a:endParaRPr>
          </a:p>
        </p:txBody>
      </p:sp>
    </p:spTree>
    <p:extLst>
      <p:ext uri="{BB962C8B-B14F-4D97-AF65-F5344CB8AC3E}">
        <p14:creationId xmlns:p14="http://schemas.microsoft.com/office/powerpoint/2010/main" val="11808743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ayt Görüntüsü Yer Tutucusu 1"/>
          <p:cNvSpPr>
            <a:spLocks noGrp="1" noRot="1" noChangeAspect="1" noTextEdit="1"/>
          </p:cNvSpPr>
          <p:nvPr>
            <p:ph type="sldImg"/>
          </p:nvPr>
        </p:nvSpPr>
        <p:spPr>
          <a:xfrm>
            <a:off x="2700338" y="509588"/>
            <a:ext cx="4530725" cy="2549525"/>
          </a:xfrm>
          <a:ln/>
        </p:spPr>
      </p:sp>
      <p:sp>
        <p:nvSpPr>
          <p:cNvPr id="73731" name="Not Yer Tutucusu 2"/>
          <p:cNvSpPr>
            <a:spLocks noGrp="1"/>
          </p:cNvSpPr>
          <p:nvPr>
            <p:ph type="body" idx="1"/>
          </p:nvPr>
        </p:nvSpPr>
        <p:spPr>
          <a:noFill/>
          <a:ln/>
        </p:spPr>
        <p:txBody>
          <a:bodyPr/>
          <a:lstStyle/>
          <a:p>
            <a:endParaRPr lang="tr-TR" dirty="0" smtClean="0"/>
          </a:p>
        </p:txBody>
      </p:sp>
      <p:sp>
        <p:nvSpPr>
          <p:cNvPr id="73732" name="Slayt Numarası Yer Tutucusu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F074A-D1FA-4B1C-A0CA-6ABBAA41B52A}"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tr-TR" sz="1200" b="0" i="0" u="none" strike="noStrike" kern="1200" cap="none" spc="0" normalizeH="0" baseline="0" noProof="0" dirty="0" smtClean="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53265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420688" y="744538"/>
            <a:ext cx="5956300" cy="3722687"/>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tr-TR" sz="1200"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12909508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ayt Görüntüsü Yer Tutucusu 1"/>
          <p:cNvSpPr>
            <a:spLocks noGrp="1" noRot="1" noChangeAspect="1" noTextEdit="1"/>
          </p:cNvSpPr>
          <p:nvPr>
            <p:ph type="sldImg"/>
          </p:nvPr>
        </p:nvSpPr>
        <p:spPr>
          <a:xfrm>
            <a:off x="90488" y="744538"/>
            <a:ext cx="6616700" cy="3722687"/>
          </a:xfrm>
          <a:ln/>
        </p:spPr>
      </p:sp>
      <p:sp>
        <p:nvSpPr>
          <p:cNvPr id="23555" name="Not Yer Tutucusu 2"/>
          <p:cNvSpPr>
            <a:spLocks noGrp="1"/>
          </p:cNvSpPr>
          <p:nvPr>
            <p:ph type="body" idx="1"/>
          </p:nvPr>
        </p:nvSpPr>
        <p:spPr>
          <a:noFill/>
        </p:spPr>
        <p:txBody>
          <a:bodyPr/>
          <a:lstStyle/>
          <a:p>
            <a:endParaRPr lang="tr-TR" dirty="0" smtClean="0">
              <a:latin typeface="Arial" charset="0"/>
              <a:cs typeface="Arial" charset="0"/>
            </a:endParaRPr>
          </a:p>
        </p:txBody>
      </p:sp>
      <p:sp>
        <p:nvSpPr>
          <p:cNvPr id="23556" name="Slayt Numarası Yer Tutucusu 3"/>
          <p:cNvSpPr>
            <a:spLocks noGrp="1"/>
          </p:cNvSpPr>
          <p:nvPr>
            <p:ph type="sldNum" sz="quarter" idx="5"/>
          </p:nvPr>
        </p:nvSpPr>
        <p:spPr>
          <a:noFill/>
        </p:spPr>
        <p:txBody>
          <a:bodyPr/>
          <a:lstStyle>
            <a:lvl1pPr defTabSz="910184" eaLnBrk="0" hangingPunct="0">
              <a:defRPr sz="2800" b="1">
                <a:solidFill>
                  <a:srgbClr val="000000"/>
                </a:solidFill>
                <a:latin typeface="Verdana" pitchFamily="34" charset="0"/>
                <a:cs typeface="Arial" charset="0"/>
              </a:defRPr>
            </a:lvl1pPr>
            <a:lvl2pPr marL="743396" indent="-285921" defTabSz="910184" eaLnBrk="0" hangingPunct="0">
              <a:defRPr sz="2800" b="1">
                <a:solidFill>
                  <a:srgbClr val="000000"/>
                </a:solidFill>
                <a:latin typeface="Verdana" pitchFamily="34" charset="0"/>
                <a:cs typeface="Arial" charset="0"/>
              </a:defRPr>
            </a:lvl2pPr>
            <a:lvl3pPr marL="1143686" indent="-228737" defTabSz="910184" eaLnBrk="0" hangingPunct="0">
              <a:defRPr sz="2800" b="1">
                <a:solidFill>
                  <a:srgbClr val="000000"/>
                </a:solidFill>
                <a:latin typeface="Verdana" pitchFamily="34" charset="0"/>
                <a:cs typeface="Arial" charset="0"/>
              </a:defRPr>
            </a:lvl3pPr>
            <a:lvl4pPr marL="1601160" indent="-228737" defTabSz="910184" eaLnBrk="0" hangingPunct="0">
              <a:defRPr sz="2800" b="1">
                <a:solidFill>
                  <a:srgbClr val="000000"/>
                </a:solidFill>
                <a:latin typeface="Verdana" pitchFamily="34" charset="0"/>
                <a:cs typeface="Arial" charset="0"/>
              </a:defRPr>
            </a:lvl4pPr>
            <a:lvl5pPr marL="2058634" indent="-228737" defTabSz="910184" eaLnBrk="0" hangingPunct="0">
              <a:defRPr sz="2800" b="1">
                <a:solidFill>
                  <a:srgbClr val="000000"/>
                </a:solidFill>
                <a:latin typeface="Verdana" pitchFamily="34" charset="0"/>
                <a:cs typeface="Arial" charset="0"/>
              </a:defRPr>
            </a:lvl5pPr>
            <a:lvl6pPr marL="2516109" indent="-228737" algn="ctr" defTabSz="910184" eaLnBrk="0" fontAlgn="base" hangingPunct="0">
              <a:spcBef>
                <a:spcPct val="50000"/>
              </a:spcBef>
              <a:spcAft>
                <a:spcPct val="0"/>
              </a:spcAft>
              <a:defRPr sz="2800" b="1">
                <a:solidFill>
                  <a:srgbClr val="000000"/>
                </a:solidFill>
                <a:latin typeface="Verdana" pitchFamily="34" charset="0"/>
                <a:cs typeface="Arial" charset="0"/>
              </a:defRPr>
            </a:lvl6pPr>
            <a:lvl7pPr marL="2973583" indent="-228737" algn="ctr" defTabSz="910184" eaLnBrk="0" fontAlgn="base" hangingPunct="0">
              <a:spcBef>
                <a:spcPct val="50000"/>
              </a:spcBef>
              <a:spcAft>
                <a:spcPct val="0"/>
              </a:spcAft>
              <a:defRPr sz="2800" b="1">
                <a:solidFill>
                  <a:srgbClr val="000000"/>
                </a:solidFill>
                <a:latin typeface="Verdana" pitchFamily="34" charset="0"/>
                <a:cs typeface="Arial" charset="0"/>
              </a:defRPr>
            </a:lvl7pPr>
            <a:lvl8pPr marL="3431057" indent="-228737" algn="ctr" defTabSz="910184" eaLnBrk="0" fontAlgn="base" hangingPunct="0">
              <a:spcBef>
                <a:spcPct val="50000"/>
              </a:spcBef>
              <a:spcAft>
                <a:spcPct val="0"/>
              </a:spcAft>
              <a:defRPr sz="2800" b="1">
                <a:solidFill>
                  <a:srgbClr val="000000"/>
                </a:solidFill>
                <a:latin typeface="Verdana" pitchFamily="34" charset="0"/>
                <a:cs typeface="Arial" charset="0"/>
              </a:defRPr>
            </a:lvl8pPr>
            <a:lvl9pPr marL="3888532" indent="-228737" algn="ctr" defTabSz="910184" eaLnBrk="0" fontAlgn="base" hangingPunct="0">
              <a:spcBef>
                <a:spcPct val="50000"/>
              </a:spcBef>
              <a:spcAft>
                <a:spcPct val="0"/>
              </a:spcAft>
              <a:defRPr sz="2800" b="1">
                <a:solidFill>
                  <a:srgbClr val="000000"/>
                </a:solidFill>
                <a:latin typeface="Verdana" pitchFamily="34" charset="0"/>
                <a:cs typeface="Arial" charset="0"/>
              </a:defRPr>
            </a:lvl9pPr>
          </a:lstStyle>
          <a:p>
            <a:pPr marL="0" marR="0" lvl="0" indent="0" algn="r" defTabSz="910184" rtl="0" eaLnBrk="1" fontAlgn="base" latinLnBrk="0" hangingPunct="1">
              <a:lnSpc>
                <a:spcPct val="100000"/>
              </a:lnSpc>
              <a:spcBef>
                <a:spcPct val="0"/>
              </a:spcBef>
              <a:spcAft>
                <a:spcPct val="0"/>
              </a:spcAft>
              <a:buClrTx/>
              <a:buSzTx/>
              <a:buFontTx/>
              <a:buNone/>
              <a:tabLst/>
              <a:defRPr/>
            </a:pPr>
            <a:fld id="{9251DE89-AAD2-40F7-89E5-FE36C2F41667}" type="slidenum">
              <a:rPr kumimoji="0" lang="tr-TR" sz="1200" b="0" i="0" u="none" strike="noStrike" kern="1200" cap="none" spc="0" normalizeH="0" baseline="0" noProof="0">
                <a:ln>
                  <a:noFill/>
                </a:ln>
                <a:solidFill>
                  <a:prstClr val="black"/>
                </a:solidFill>
                <a:effectLst/>
                <a:uLnTx/>
                <a:uFillTx/>
                <a:latin typeface="Arial" charset="0"/>
                <a:ea typeface="ヒラギノ角ゴ Pro W3" pitchFamily="1" charset="-128"/>
                <a:cs typeface="Arial" charset="0"/>
              </a:rPr>
              <a:pPr marL="0" marR="0" lvl="0" indent="0" algn="r" defTabSz="910184" rtl="0" eaLnBrk="1" fontAlgn="base" latinLnBrk="0" hangingPunct="1">
                <a:lnSpc>
                  <a:spcPct val="100000"/>
                </a:lnSpc>
                <a:spcBef>
                  <a:spcPct val="0"/>
                </a:spcBef>
                <a:spcAft>
                  <a:spcPct val="0"/>
                </a:spcAft>
                <a:buClrTx/>
                <a:buSzTx/>
                <a:buFontTx/>
                <a:buNone/>
                <a:tabLst/>
                <a:defRPr/>
              </a:pPr>
              <a:t>66</a:t>
            </a:fld>
            <a:endParaRPr kumimoji="0" lang="tr-TR" sz="1200" b="0" i="0" u="none" strike="noStrike" kern="1200" cap="none" spc="0" normalizeH="0" baseline="0" noProof="0">
              <a:ln>
                <a:noFill/>
              </a:ln>
              <a:solidFill>
                <a:prstClr val="black"/>
              </a:solidFill>
              <a:effectLst/>
              <a:uLnTx/>
              <a:uFillTx/>
              <a:latin typeface="Arial" charset="0"/>
              <a:ea typeface="ヒラギノ角ゴ Pro W3" pitchFamily="1" charset="-128"/>
              <a:cs typeface="Arial" charset="0"/>
            </a:endParaRPr>
          </a:p>
        </p:txBody>
      </p:sp>
    </p:spTree>
    <p:extLst>
      <p:ext uri="{BB962C8B-B14F-4D97-AF65-F5344CB8AC3E}">
        <p14:creationId xmlns:p14="http://schemas.microsoft.com/office/powerpoint/2010/main" val="293613814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dirty="0"/>
          </a:p>
        </p:txBody>
      </p:sp>
    </p:spTree>
    <p:extLst>
      <p:ext uri="{BB962C8B-B14F-4D97-AF65-F5344CB8AC3E}">
        <p14:creationId xmlns:p14="http://schemas.microsoft.com/office/powerpoint/2010/main" val="34643488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30A553B-3F80-4470-B8AC-56E4FBADE334}"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310242711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ayt Görüntüsü Yer Tutucusu 1"/>
          <p:cNvSpPr>
            <a:spLocks noGrp="1" noRot="1" noChangeAspect="1" noTextEdit="1"/>
          </p:cNvSpPr>
          <p:nvPr>
            <p:ph type="sldImg"/>
          </p:nvPr>
        </p:nvSpPr>
        <p:spPr>
          <a:xfrm>
            <a:off x="2700338" y="509588"/>
            <a:ext cx="4530725" cy="2549525"/>
          </a:xfrm>
          <a:ln/>
        </p:spPr>
      </p:sp>
      <p:sp>
        <p:nvSpPr>
          <p:cNvPr id="73731" name="Not Yer Tutucusu 2"/>
          <p:cNvSpPr>
            <a:spLocks noGrp="1"/>
          </p:cNvSpPr>
          <p:nvPr>
            <p:ph type="body" idx="1"/>
          </p:nvPr>
        </p:nvSpPr>
        <p:spPr>
          <a:noFill/>
          <a:ln/>
        </p:spPr>
        <p:txBody>
          <a:bodyPr/>
          <a:lstStyle/>
          <a:p>
            <a:endParaRPr lang="tr-TR" dirty="0" smtClean="0"/>
          </a:p>
        </p:txBody>
      </p:sp>
      <p:sp>
        <p:nvSpPr>
          <p:cNvPr id="73732" name="Slayt Numarası Yer Tutucusu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F074A-D1FA-4B1C-A0CA-6ABBAA41B52A}"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tr-TR" sz="1200" b="0" i="0" u="none" strike="noStrike" kern="1200" cap="none" spc="0" normalizeH="0" baseline="0" noProof="0" dirty="0" smtClean="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16689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dirty="0" smtClean="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0</a:t>
            </a:fld>
            <a:endParaRPr kumimoji="0" lang="tr-TR" sz="1200"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105279605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1</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28559541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4</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402727787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5</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3450939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US"/>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53D97-FF9F-4E7D-8F03-B235599D0901}"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9593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ayt Görüntüsü Yer Tutucusu 1"/>
          <p:cNvSpPr>
            <a:spLocks noGrp="1" noRot="1" noChangeAspect="1" noTextEdit="1"/>
          </p:cNvSpPr>
          <p:nvPr>
            <p:ph type="sldImg"/>
          </p:nvPr>
        </p:nvSpPr>
        <p:spPr>
          <a:xfrm>
            <a:off x="2700338" y="509588"/>
            <a:ext cx="4530725" cy="2549525"/>
          </a:xfrm>
          <a:ln/>
        </p:spPr>
      </p:sp>
      <p:sp>
        <p:nvSpPr>
          <p:cNvPr id="73731" name="Not Yer Tutucusu 2"/>
          <p:cNvSpPr>
            <a:spLocks noGrp="1"/>
          </p:cNvSpPr>
          <p:nvPr>
            <p:ph type="body" idx="1"/>
          </p:nvPr>
        </p:nvSpPr>
        <p:spPr>
          <a:noFill/>
          <a:ln/>
        </p:spPr>
        <p:txBody>
          <a:bodyPr/>
          <a:lstStyle/>
          <a:p>
            <a:endParaRPr lang="tr-TR" dirty="0" smtClean="0"/>
          </a:p>
        </p:txBody>
      </p:sp>
      <p:sp>
        <p:nvSpPr>
          <p:cNvPr id="73732" name="Slayt Numarası Yer Tutucusu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F074A-D1FA-4B1C-A0CA-6ABBAA41B52A}"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tr-TR" sz="1200" b="0" i="0" u="none" strike="noStrike" kern="1200" cap="none" spc="0" normalizeH="0" baseline="0" noProof="0" dirty="0" smtClean="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018410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0</a:t>
            </a:fld>
            <a:endParaRPr kumimoji="0" lang="tr-TR" sz="1200"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22174032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9111327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361122179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272818769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118068400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5</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173605583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6</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34554272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ayt Görüntüsü Yer Tutucusu 1"/>
          <p:cNvSpPr>
            <a:spLocks noGrp="1" noRot="1" noChangeAspect="1" noTextEdit="1"/>
          </p:cNvSpPr>
          <p:nvPr>
            <p:ph type="sldImg"/>
          </p:nvPr>
        </p:nvSpPr>
        <p:spPr>
          <a:xfrm>
            <a:off x="2700338" y="509588"/>
            <a:ext cx="4530725" cy="2549525"/>
          </a:xfrm>
          <a:ln/>
        </p:spPr>
      </p:sp>
      <p:sp>
        <p:nvSpPr>
          <p:cNvPr id="73731" name="Not Yer Tutucusu 2"/>
          <p:cNvSpPr>
            <a:spLocks noGrp="1"/>
          </p:cNvSpPr>
          <p:nvPr>
            <p:ph type="body" idx="1"/>
          </p:nvPr>
        </p:nvSpPr>
        <p:spPr>
          <a:noFill/>
          <a:ln/>
        </p:spPr>
        <p:txBody>
          <a:bodyPr/>
          <a:lstStyle/>
          <a:p>
            <a:endParaRPr lang="tr-TR" dirty="0" smtClean="0"/>
          </a:p>
        </p:txBody>
      </p:sp>
      <p:sp>
        <p:nvSpPr>
          <p:cNvPr id="73732" name="Slayt Numarası Yer Tutucusu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F074A-D1FA-4B1C-A0CA-6ABBAA41B52A}"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tr-TR" sz="1200" b="0" i="0" u="none" strike="noStrike" kern="1200" cap="none" spc="0" normalizeH="0" baseline="0" noProof="0" dirty="0" smtClean="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776592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0</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6550517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157354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defTabSz="909724">
              <a:defRPr/>
            </a:pPr>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1</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48073155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defTabSz="909724">
              <a:defRPr/>
            </a:pPr>
            <a:r>
              <a:rPr lang="tr-TR" dirty="0">
                <a:solidFill>
                  <a:srgbClr val="020202"/>
                </a:solidFill>
                <a:latin typeface="Calibri" panose="020F0502020204030204" pitchFamily="34" charset="0"/>
                <a:cs typeface="Calibri" panose="020F0502020204030204" pitchFamily="34" charset="0"/>
              </a:rPr>
              <a:t>IDEF Uluslararası Savunma Sanayi Fuarı hariç konusu savunma, </a:t>
            </a:r>
            <a:r>
              <a:rPr lang="tr-TR">
                <a:solidFill>
                  <a:srgbClr val="020202"/>
                </a:solidFill>
                <a:latin typeface="Calibri" panose="020F0502020204030204" pitchFamily="34" charset="0"/>
                <a:cs typeface="Calibri" panose="020F0502020204030204" pitchFamily="34" charset="0"/>
              </a:rPr>
              <a:t>havacılık </a:t>
            </a:r>
            <a:r>
              <a:rPr lang="tr-TR" smtClean="0">
                <a:solidFill>
                  <a:srgbClr val="020202"/>
                </a:solidFill>
                <a:latin typeface="Calibri" panose="020F0502020204030204" pitchFamily="34" charset="0"/>
                <a:cs typeface="Calibri" panose="020F0502020204030204" pitchFamily="34" charset="0"/>
              </a:rPr>
              <a:t>veya </a:t>
            </a:r>
            <a:r>
              <a:rPr lang="tr-TR" dirty="0">
                <a:solidFill>
                  <a:srgbClr val="020202"/>
                </a:solidFill>
                <a:latin typeface="Calibri" panose="020F0502020204030204" pitchFamily="34" charset="0"/>
                <a:cs typeface="Calibri" panose="020F0502020204030204" pitchFamily="34" charset="0"/>
              </a:rPr>
              <a:t>uzay olan fuarlara da destek verilmektedir.</a:t>
            </a:r>
          </a:p>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3</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212902211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6) Nitelikli eleman giderine ilişkin destek tutarının hesaplanmasında aşağıdaki yöntem dikkate alınır.</a:t>
            </a:r>
          </a:p>
          <a:p>
            <a:pPr marL="228587" indent="-228587">
              <a:buAutoNum type="alphaLcParenR"/>
            </a:pPr>
            <a:r>
              <a:rPr lang="tr-TR" dirty="0" smtClean="0"/>
              <a:t>Her yıla ait Asgari Ücret Tespit Komisyonunca belirlenen işçinin bir günlük normal çalışma karşılığı asgari ücreti üzerinden hesaplanan Asgari Geçim İndirimi (bekâr ve çocuksuz) dahil aylık net asgari ücret tutarının 30 (otuz)’a bölünmesi ile elde edilen tutarın öğrenim durumu katsayısı ile çarpımı sonucunda günlük destek üst limiti belirlenir. </a:t>
            </a:r>
          </a:p>
          <a:p>
            <a:pPr marL="228587" indent="-228587">
              <a:buAutoNum type="alphaLcParenR"/>
            </a:pPr>
            <a:r>
              <a:rPr lang="tr-TR" dirty="0" smtClean="0"/>
              <a:t>Destek üst limitinin belirlenmesinde öğrenim durumu katsayısı; 2 (iki) yıllık meslek yüksekokulu ve ön lisans mezunları için 1,25 (bir yirmi beş),  lisans mezunları için 1,5 (bir buçuk), yüksek lisans mezunları için 1,75 (bir yetmiş beş), doktora mezunları için 2 (iki) olarak uygulanır.</a:t>
            </a:r>
          </a:p>
          <a:p>
            <a:pPr marL="228587" indent="-228587">
              <a:buAutoNum type="alphaLcParenR"/>
            </a:pPr>
            <a:r>
              <a:rPr lang="tr-TR" dirty="0" smtClean="0"/>
              <a:t>Sosyal Güvenlik Kurumu (SGK) idari kayıtlarındaki sigorta primine esas kazancın çalışma gün sayısına bölünmesi ile elde edilen günlük tutar belirlenir.</a:t>
            </a:r>
          </a:p>
          <a:p>
            <a:pPr marL="228587" indent="-228587">
              <a:buAutoNum type="alphaLcParenR"/>
            </a:pPr>
            <a:r>
              <a:rPr lang="tr-TR" dirty="0" smtClean="0"/>
              <a:t>(b) ve (c) bentlerinde belirlenen günlük tutarlardan düşük olanının, çalışma gün sayısı ile çarpımı sonucunda çıkan tutarın destek oranıyla çarpılmasıyla aylık destek tutarı belirlenir. </a:t>
            </a:r>
          </a:p>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7</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55461652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200" kern="1200" dirty="0" smtClean="0">
                <a:solidFill>
                  <a:schemeClr val="tx1"/>
                </a:solidFill>
                <a:effectLst/>
                <a:latin typeface="+mn-lt"/>
                <a:ea typeface="+mn-ea"/>
                <a:cs typeface="+mn-cs"/>
              </a:rPr>
              <a:t>İşletmeye program süresince en fazla 5 (beş) tasarım için destek ödemesi yapılır. Ürün tasarımının; Patent, Faydalı Model Belgesi, Endüstriyel Tasarım Tescil Belgesi veya Entegre Devre Topografyaları Tescil Belgesi alımı ile sonuçlanmış olması halinde bu fıkra hükmü uygulanmaz</a:t>
            </a:r>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8</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346269664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defTabSz="909724">
              <a:defRPr/>
            </a:pPr>
            <a:r>
              <a:rPr lang="tr-TR" dirty="0" smtClean="0">
                <a:solidFill>
                  <a:srgbClr val="020202"/>
                </a:solidFill>
                <a:latin typeface="Times New Roman" panose="02020603050405020304" pitchFamily="18" charset="0"/>
                <a:cs typeface="Times New Roman" panose="02020603050405020304" pitchFamily="18" charset="0"/>
              </a:rPr>
              <a:t>Destek kapsamında yer alan giderler için KDV hariç toplam fatura bedelinin 500 TL’nin altında olduğu test, analiz ve kontrol-muayene hizmetleri ile atık su analizi, baca gazı ölçümü, ortam gürültü ölçümü, toz seviyesi ölçümü, iş sağlığı ve güvenliği kapsamında yapılan test, analiz ve kontrol-muayene hizmetleri destek kapsamı dışındadır.</a:t>
            </a:r>
          </a:p>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3</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244814625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defTabSz="909724">
              <a:defRPr/>
            </a:pPr>
            <a:r>
              <a:rPr lang="tr-TR" dirty="0" smtClean="0"/>
              <a:t>Bakanlık Sanayi ve Verimlilik Genel Müdürlüğünü (SVGM) </a:t>
            </a:r>
            <a:r>
              <a:rPr lang="tr-TR" baseline="0" dirty="0" smtClean="0"/>
              <a:t> tarafından</a:t>
            </a:r>
            <a:r>
              <a:rPr lang="tr-TR" dirty="0" smtClean="0"/>
              <a:t> enerji etütleri, kapasite artırma ve eğitim çalışmaları hizmetlerinin ve motor değişimlerinin tamamlandığı gösteren TEVMOT Aylık Faaliyet Raporu’nu geldikten sonra faaliyet raporunda yer alan işletmeler ödeme talebinde bulunabilir.</a:t>
            </a:r>
          </a:p>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5</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39673599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09775" rtl="0" eaLnBrk="1" fontAlgn="auto" latinLnBrk="0" hangingPunct="1">
              <a:lnSpc>
                <a:spcPct val="100000"/>
              </a:lnSpc>
              <a:spcBef>
                <a:spcPts val="0"/>
              </a:spcBef>
              <a:spcAft>
                <a:spcPts val="0"/>
              </a:spcAft>
              <a:buClrTx/>
              <a:buSzTx/>
              <a:buFontTx/>
              <a:buNone/>
              <a:tabLst/>
              <a:defRPr/>
            </a:pPr>
            <a:r>
              <a:rPr lang="tr-TR" dirty="0" smtClean="0">
                <a:solidFill>
                  <a:srgbClr val="020202"/>
                </a:solidFill>
                <a:latin typeface="Times New Roman" panose="02020603050405020304" pitchFamily="18" charset="0"/>
                <a:cs typeface="Times New Roman" panose="02020603050405020304" pitchFamily="18" charset="0"/>
              </a:rPr>
              <a:t>İşletmelerin komite tarafından destek kapsamına alınıp alınmamasına bakılmaz.</a:t>
            </a:r>
          </a:p>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6</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198091850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ayt Görüntüsü Yer Tutucusu 1"/>
          <p:cNvSpPr>
            <a:spLocks noGrp="1" noRot="1" noChangeAspect="1" noTextEdit="1"/>
          </p:cNvSpPr>
          <p:nvPr>
            <p:ph type="sldImg"/>
          </p:nvPr>
        </p:nvSpPr>
        <p:spPr>
          <a:xfrm>
            <a:off x="2700338" y="509588"/>
            <a:ext cx="4530725" cy="2549525"/>
          </a:xfrm>
          <a:ln/>
        </p:spPr>
      </p:sp>
      <p:sp>
        <p:nvSpPr>
          <p:cNvPr id="73731" name="Not Yer Tutucusu 2"/>
          <p:cNvSpPr>
            <a:spLocks noGrp="1"/>
          </p:cNvSpPr>
          <p:nvPr>
            <p:ph type="body" idx="1"/>
          </p:nvPr>
        </p:nvSpPr>
        <p:spPr>
          <a:noFill/>
          <a:ln/>
        </p:spPr>
        <p:txBody>
          <a:bodyPr/>
          <a:lstStyle/>
          <a:p>
            <a:endParaRPr lang="tr-TR" dirty="0" smtClean="0"/>
          </a:p>
        </p:txBody>
      </p:sp>
      <p:sp>
        <p:nvSpPr>
          <p:cNvPr id="73732" name="Slayt Numarası Yer Tutucusu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F074A-D1FA-4B1C-A0CA-6ABBAA41B52A}"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tr-TR" sz="1200" b="0" i="0" u="none" strike="noStrike" kern="1200" cap="none" spc="0" normalizeH="0" baseline="0" noProof="0" dirty="0" smtClean="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847583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 Acil Destek Kredisi, KOBİ Finansman Destek Programı mevzuatında yer almakla birlikte, uygulanacak her bir Acil Destek Kredisi Programı için İcra Komitesi Başkanı tarafından belirlenen koşullarda ayrı bir Protokol imzalanır.</a:t>
            </a:r>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733BE9-517D-4459-B0B3-80BB1F56E2D5}"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224297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dirty="0" smtClean="0"/>
              <a:t>Acil Destek Kredisi için bu tanımlarda yer alma şartı aranmaz.</a:t>
            </a:r>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733BE9-517D-4459-B0B3-80BB1F56E2D5}"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65828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734181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200" b="1" kern="1200" dirty="0" smtClean="0">
                <a:solidFill>
                  <a:schemeClr val="tx1"/>
                </a:solidFill>
                <a:effectLst/>
                <a:latin typeface="+mn-lt"/>
                <a:ea typeface="+mn-ea"/>
                <a:cs typeface="+mn-cs"/>
              </a:rPr>
              <a:t>Rize İli Çayeli İlçesi ve Giresun İli Acil Destek Kredisi,</a:t>
            </a:r>
            <a:r>
              <a:rPr lang="tr-TR" sz="1200" b="1" kern="1200" baseline="0" dirty="0" smtClean="0">
                <a:solidFill>
                  <a:schemeClr val="tx1"/>
                </a:solidFill>
                <a:effectLst/>
                <a:latin typeface="+mn-lt"/>
                <a:ea typeface="+mn-ea"/>
                <a:cs typeface="+mn-cs"/>
              </a:rPr>
              <a:t> İl Bazlı:</a:t>
            </a:r>
            <a:endParaRPr lang="tr-TR" sz="1200" kern="1200" dirty="0" smtClean="0">
              <a:solidFill>
                <a:schemeClr val="tx1"/>
              </a:solidFill>
              <a:effectLst/>
              <a:latin typeface="+mn-lt"/>
              <a:ea typeface="+mn-ea"/>
              <a:cs typeface="+mn-cs"/>
            </a:endParaRPr>
          </a:p>
          <a:p>
            <a:r>
              <a:rPr lang="tr-TR" sz="1200" kern="1200" dirty="0" smtClean="0">
                <a:solidFill>
                  <a:schemeClr val="tx1"/>
                </a:solidFill>
                <a:effectLst/>
                <a:latin typeface="+mn-lt"/>
                <a:ea typeface="+mn-ea"/>
                <a:cs typeface="+mn-cs"/>
              </a:rPr>
              <a:t>İli	İşletme Sayısı	Kredi Hacmi (TL)	Kredi Faiz Desteği (TL)</a:t>
            </a:r>
          </a:p>
          <a:p>
            <a:r>
              <a:rPr lang="tr-TR" sz="1200" kern="1200" dirty="0" smtClean="0">
                <a:solidFill>
                  <a:schemeClr val="tx1"/>
                </a:solidFill>
                <a:effectLst/>
                <a:latin typeface="+mn-lt"/>
                <a:ea typeface="+mn-ea"/>
                <a:cs typeface="+mn-cs"/>
              </a:rPr>
              <a:t>GİRESUN	122	10.629.500   		2.338.490</a:t>
            </a:r>
          </a:p>
          <a:p>
            <a:r>
              <a:rPr lang="tr-TR" sz="1200" kern="1200" dirty="0" smtClean="0">
                <a:solidFill>
                  <a:schemeClr val="tx1"/>
                </a:solidFill>
                <a:effectLst/>
                <a:latin typeface="+mn-lt"/>
                <a:ea typeface="+mn-ea"/>
                <a:cs typeface="+mn-cs"/>
              </a:rPr>
              <a:t>RİZE	20	1.890.000   		415.800   </a:t>
            </a:r>
          </a:p>
          <a:p>
            <a:r>
              <a:rPr lang="tr-TR" sz="1200" b="1" kern="1200" dirty="0" smtClean="0">
                <a:solidFill>
                  <a:schemeClr val="tx1"/>
                </a:solidFill>
                <a:effectLst/>
                <a:latin typeface="+mn-lt"/>
                <a:ea typeface="+mn-ea"/>
                <a:cs typeface="+mn-cs"/>
              </a:rPr>
              <a:t>TOPLAM	142	12.519.500		2.754.290</a:t>
            </a:r>
            <a:endParaRPr lang="tr-TR" sz="1200" kern="1200" dirty="0" smtClean="0">
              <a:solidFill>
                <a:schemeClr val="tx1"/>
              </a:solidFill>
              <a:effectLst/>
              <a:latin typeface="+mn-lt"/>
              <a:ea typeface="+mn-ea"/>
              <a:cs typeface="+mn-cs"/>
            </a:endParaRPr>
          </a:p>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733BE9-517D-4459-B0B3-80BB1F56E2D5}"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9310416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smtClean="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733BE9-517D-4459-B0B3-80BB1F56E2D5}"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040276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a:xfrm>
            <a:off x="-141288" y="803275"/>
            <a:ext cx="7140576" cy="4017963"/>
          </a:xfrm>
        </p:spPr>
      </p:sp>
      <p:sp>
        <p:nvSpPr>
          <p:cNvPr id="3" name="2 Not Yer Tutucusu"/>
          <p:cNvSpPr>
            <a:spLocks noGrp="1"/>
          </p:cNvSpPr>
          <p:nvPr>
            <p:ph type="body" idx="1"/>
          </p:nvPr>
        </p:nvSpPr>
        <p:spPr/>
        <p:txBody>
          <a:bodyPr>
            <a:normAutofit/>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20</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2342894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6ECB6-A341-4489-B053-683BBC383D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2360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US"/>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53D97-FF9F-4E7D-8F03-B235599D0901}"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10543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1.xml"/><Relationship Id="rId4" Type="http://schemas.openxmlformats.org/officeDocument/2006/relationships/image" Target="../media/image5.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1.xml"/><Relationship Id="rId4" Type="http://schemas.openxmlformats.org/officeDocument/2006/relationships/image" Target="../media/image5.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1.xml"/><Relationship Id="rId4" Type="http://schemas.openxmlformats.org/officeDocument/2006/relationships/image" Target="../media/image5.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1.xml"/><Relationship Id="rId4" Type="http://schemas.openxmlformats.org/officeDocument/2006/relationships/image" Target="../media/image5.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5.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2.xml"/><Relationship Id="rId4" Type="http://schemas.openxmlformats.org/officeDocument/2006/relationships/image" Target="../media/image5.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5.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5.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8.xml"/><Relationship Id="rId4" Type="http://schemas.openxmlformats.org/officeDocument/2006/relationships/image" Target="../media/image5.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502"/>
            <a:ext cx="10363200" cy="1470024"/>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0" y="3886231"/>
            <a:ext cx="8534400" cy="1752600"/>
          </a:xfrm>
        </p:spPr>
        <p:txBody>
          <a:bodyPr/>
          <a:lstStyle>
            <a:lvl1pPr marL="0" indent="0" algn="ctr">
              <a:buNone/>
              <a:defRPr>
                <a:solidFill>
                  <a:schemeClr val="tx1">
                    <a:tint val="75000"/>
                  </a:schemeClr>
                </a:solidFill>
              </a:defRPr>
            </a:lvl1pPr>
            <a:lvl2pPr marL="458747" indent="0" algn="ctr">
              <a:buNone/>
              <a:defRPr>
                <a:solidFill>
                  <a:schemeClr val="tx1">
                    <a:tint val="75000"/>
                  </a:schemeClr>
                </a:solidFill>
              </a:defRPr>
            </a:lvl2pPr>
            <a:lvl3pPr marL="917496" indent="0" algn="ctr">
              <a:buNone/>
              <a:defRPr>
                <a:solidFill>
                  <a:schemeClr val="tx1">
                    <a:tint val="75000"/>
                  </a:schemeClr>
                </a:solidFill>
              </a:defRPr>
            </a:lvl3pPr>
            <a:lvl4pPr marL="1376244" indent="0" algn="ctr">
              <a:buNone/>
              <a:defRPr>
                <a:solidFill>
                  <a:schemeClr val="tx1">
                    <a:tint val="75000"/>
                  </a:schemeClr>
                </a:solidFill>
              </a:defRPr>
            </a:lvl4pPr>
            <a:lvl5pPr marL="1834991" indent="0" algn="ctr">
              <a:buNone/>
              <a:defRPr>
                <a:solidFill>
                  <a:schemeClr val="tx1">
                    <a:tint val="75000"/>
                  </a:schemeClr>
                </a:solidFill>
              </a:defRPr>
            </a:lvl5pPr>
            <a:lvl6pPr marL="2293740" indent="0" algn="ctr">
              <a:buNone/>
              <a:defRPr>
                <a:solidFill>
                  <a:schemeClr val="tx1">
                    <a:tint val="75000"/>
                  </a:schemeClr>
                </a:solidFill>
              </a:defRPr>
            </a:lvl6pPr>
            <a:lvl7pPr marL="2752490" indent="0" algn="ctr">
              <a:buNone/>
              <a:defRPr>
                <a:solidFill>
                  <a:schemeClr val="tx1">
                    <a:tint val="75000"/>
                  </a:schemeClr>
                </a:solidFill>
              </a:defRPr>
            </a:lvl7pPr>
            <a:lvl8pPr marL="3211236" indent="0" algn="ctr">
              <a:buNone/>
              <a:defRPr>
                <a:solidFill>
                  <a:schemeClr val="tx1">
                    <a:tint val="75000"/>
                  </a:schemeClr>
                </a:solidFill>
              </a:defRPr>
            </a:lvl8pPr>
            <a:lvl9pPr marL="3669984"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defTabSz="917783" fontAlgn="base">
              <a:spcBef>
                <a:spcPct val="0"/>
              </a:spcBef>
              <a:spcAft>
                <a:spcPct val="0"/>
              </a:spcAft>
              <a:defRPr/>
            </a:pPr>
            <a:fld id="{75C66CF3-F179-470A-849E-9BE93935F6C0}"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36519565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7783" fontAlgn="base">
              <a:spcBef>
                <a:spcPct val="0"/>
              </a:spcBef>
              <a:spcAft>
                <a:spcPct val="0"/>
              </a:spcAft>
              <a:defRPr/>
            </a:pPr>
            <a:fld id="{63869C1F-F44E-469F-8904-AAE3E20FCB2B}"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9409794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535"/>
            <a:ext cx="10363200" cy="1470024"/>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3" y="3886238"/>
            <a:ext cx="8534400" cy="1752600"/>
          </a:xfrm>
        </p:spPr>
        <p:txBody>
          <a:bodyPr/>
          <a:lstStyle>
            <a:lvl1pPr marL="0" indent="0" algn="ctr">
              <a:buNone/>
              <a:defRPr>
                <a:solidFill>
                  <a:schemeClr val="tx1">
                    <a:tint val="75000"/>
                  </a:schemeClr>
                </a:solidFill>
              </a:defRPr>
            </a:lvl1pPr>
            <a:lvl2pPr marL="548402" indent="0" algn="ctr">
              <a:buNone/>
              <a:defRPr>
                <a:solidFill>
                  <a:schemeClr val="tx1">
                    <a:tint val="75000"/>
                  </a:schemeClr>
                </a:solidFill>
              </a:defRPr>
            </a:lvl2pPr>
            <a:lvl3pPr marL="1096807" indent="0" algn="ctr">
              <a:buNone/>
              <a:defRPr>
                <a:solidFill>
                  <a:schemeClr val="tx1">
                    <a:tint val="75000"/>
                  </a:schemeClr>
                </a:solidFill>
              </a:defRPr>
            </a:lvl3pPr>
            <a:lvl4pPr marL="1645211" indent="0" algn="ctr">
              <a:buNone/>
              <a:defRPr>
                <a:solidFill>
                  <a:schemeClr val="tx1">
                    <a:tint val="75000"/>
                  </a:schemeClr>
                </a:solidFill>
              </a:defRPr>
            </a:lvl4pPr>
            <a:lvl5pPr marL="2193613" indent="0" algn="ctr">
              <a:buNone/>
              <a:defRPr>
                <a:solidFill>
                  <a:schemeClr val="tx1">
                    <a:tint val="75000"/>
                  </a:schemeClr>
                </a:solidFill>
              </a:defRPr>
            </a:lvl5pPr>
            <a:lvl6pPr marL="2742016" indent="0" algn="ctr">
              <a:buNone/>
              <a:defRPr>
                <a:solidFill>
                  <a:schemeClr val="tx1">
                    <a:tint val="75000"/>
                  </a:schemeClr>
                </a:solidFill>
              </a:defRPr>
            </a:lvl6pPr>
            <a:lvl7pPr marL="3290422" indent="0" algn="ctr">
              <a:buNone/>
              <a:defRPr>
                <a:solidFill>
                  <a:schemeClr val="tx1">
                    <a:tint val="75000"/>
                  </a:schemeClr>
                </a:solidFill>
              </a:defRPr>
            </a:lvl7pPr>
            <a:lvl8pPr marL="3838824" indent="0" algn="ctr">
              <a:buNone/>
              <a:defRPr>
                <a:solidFill>
                  <a:schemeClr val="tx1">
                    <a:tint val="75000"/>
                  </a:schemeClr>
                </a:solidFill>
              </a:defRPr>
            </a:lvl8pPr>
            <a:lvl9pPr marL="4387226"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defTabSz="1097280" fontAlgn="base">
              <a:spcBef>
                <a:spcPct val="0"/>
              </a:spcBef>
              <a:spcAft>
                <a:spcPct val="0"/>
              </a:spcAft>
              <a:defRPr/>
            </a:pPr>
            <a:fld id="{B4F77EC4-FF73-46CF-B24F-D56B2AD87895}"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0997320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1097280" fontAlgn="base">
              <a:spcBef>
                <a:spcPct val="0"/>
              </a:spcBef>
              <a:spcAft>
                <a:spcPct val="0"/>
              </a:spcAft>
              <a:defRPr/>
            </a:pPr>
            <a:fld id="{76BC7D03-02B6-4205-9807-874889520E8C}"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82527866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79"/>
            <a:ext cx="10363200" cy="1362074"/>
          </a:xfrm>
        </p:spPr>
        <p:txBody>
          <a:bodyPr anchor="t"/>
          <a:lstStyle>
            <a:lvl1pPr algn="l">
              <a:defRPr sz="48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807"/>
            <a:ext cx="10363200" cy="1500187"/>
          </a:xfrm>
        </p:spPr>
        <p:txBody>
          <a:bodyPr anchor="b"/>
          <a:lstStyle>
            <a:lvl1pPr marL="0" indent="0">
              <a:buNone/>
              <a:defRPr sz="2400">
                <a:solidFill>
                  <a:schemeClr val="tx1">
                    <a:tint val="75000"/>
                  </a:schemeClr>
                </a:solidFill>
              </a:defRPr>
            </a:lvl1pPr>
            <a:lvl2pPr marL="548402" indent="0">
              <a:buNone/>
              <a:defRPr sz="2160">
                <a:solidFill>
                  <a:schemeClr val="tx1">
                    <a:tint val="75000"/>
                  </a:schemeClr>
                </a:solidFill>
              </a:defRPr>
            </a:lvl2pPr>
            <a:lvl3pPr marL="1096807" indent="0">
              <a:buNone/>
              <a:defRPr sz="1920">
                <a:solidFill>
                  <a:schemeClr val="tx1">
                    <a:tint val="75000"/>
                  </a:schemeClr>
                </a:solidFill>
              </a:defRPr>
            </a:lvl3pPr>
            <a:lvl4pPr marL="1645211" indent="0">
              <a:buNone/>
              <a:defRPr sz="1680">
                <a:solidFill>
                  <a:schemeClr val="tx1">
                    <a:tint val="75000"/>
                  </a:schemeClr>
                </a:solidFill>
              </a:defRPr>
            </a:lvl4pPr>
            <a:lvl5pPr marL="2193613" indent="0">
              <a:buNone/>
              <a:defRPr sz="1680">
                <a:solidFill>
                  <a:schemeClr val="tx1">
                    <a:tint val="75000"/>
                  </a:schemeClr>
                </a:solidFill>
              </a:defRPr>
            </a:lvl5pPr>
            <a:lvl6pPr marL="2742016" indent="0">
              <a:buNone/>
              <a:defRPr sz="1680">
                <a:solidFill>
                  <a:schemeClr val="tx1">
                    <a:tint val="75000"/>
                  </a:schemeClr>
                </a:solidFill>
              </a:defRPr>
            </a:lvl6pPr>
            <a:lvl7pPr marL="3290422" indent="0">
              <a:buNone/>
              <a:defRPr sz="1680">
                <a:solidFill>
                  <a:schemeClr val="tx1">
                    <a:tint val="75000"/>
                  </a:schemeClr>
                </a:solidFill>
              </a:defRPr>
            </a:lvl7pPr>
            <a:lvl8pPr marL="3838824" indent="0">
              <a:buNone/>
              <a:defRPr sz="1680">
                <a:solidFill>
                  <a:schemeClr val="tx1">
                    <a:tint val="75000"/>
                  </a:schemeClr>
                </a:solidFill>
              </a:defRPr>
            </a:lvl8pPr>
            <a:lvl9pPr marL="4387226" indent="0">
              <a:buNone/>
              <a:defRPr sz="168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defTabSz="1097280" fontAlgn="base">
              <a:spcBef>
                <a:spcPct val="0"/>
              </a:spcBef>
              <a:spcAft>
                <a:spcPct val="0"/>
              </a:spcAft>
              <a:defRPr/>
            </a:pPr>
            <a:fld id="{8514C627-5D4C-4FE3-999A-5A56CAABDB75}"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53314049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600294"/>
            <a:ext cx="5384800" cy="4525963"/>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600294"/>
            <a:ext cx="5384800" cy="4525963"/>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defTabSz="1097280" fontAlgn="base">
              <a:spcBef>
                <a:spcPct val="0"/>
              </a:spcBef>
              <a:spcAft>
                <a:spcPct val="0"/>
              </a:spcAft>
              <a:defRPr/>
            </a:pPr>
            <a:fld id="{41DD0C76-A3BD-4E0D-9D78-8CB38F38FEDC}"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6" name="5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7" name="6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35488496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600" y="1535257"/>
            <a:ext cx="5386917" cy="639763"/>
          </a:xfrm>
        </p:spPr>
        <p:txBody>
          <a:bodyPr anchor="b"/>
          <a:lstStyle>
            <a:lvl1pPr marL="0" indent="0">
              <a:buNone/>
              <a:defRPr sz="2880" b="1"/>
            </a:lvl1pPr>
            <a:lvl2pPr marL="548402" indent="0">
              <a:buNone/>
              <a:defRPr sz="2400" b="1"/>
            </a:lvl2pPr>
            <a:lvl3pPr marL="1096807" indent="0">
              <a:buNone/>
              <a:defRPr sz="2160" b="1"/>
            </a:lvl3pPr>
            <a:lvl4pPr marL="1645211" indent="0">
              <a:buNone/>
              <a:defRPr sz="1920" b="1"/>
            </a:lvl4pPr>
            <a:lvl5pPr marL="2193613" indent="0">
              <a:buNone/>
              <a:defRPr sz="1920" b="1"/>
            </a:lvl5pPr>
            <a:lvl6pPr marL="2742016" indent="0">
              <a:buNone/>
              <a:defRPr sz="1920" b="1"/>
            </a:lvl6pPr>
            <a:lvl7pPr marL="3290422" indent="0">
              <a:buNone/>
              <a:defRPr sz="1920" b="1"/>
            </a:lvl7pPr>
            <a:lvl8pPr marL="3838824" indent="0">
              <a:buNone/>
              <a:defRPr sz="1920" b="1"/>
            </a:lvl8pPr>
            <a:lvl9pPr marL="4387226" indent="0">
              <a:buNone/>
              <a:defRPr sz="1920" b="1"/>
            </a:lvl9pPr>
          </a:lstStyle>
          <a:p>
            <a:pPr lvl="0"/>
            <a:r>
              <a:rPr lang="tr-TR" smtClean="0"/>
              <a:t>Asıl metin stillerini düzenlemek için tıklatın</a:t>
            </a:r>
          </a:p>
        </p:txBody>
      </p:sp>
      <p:sp>
        <p:nvSpPr>
          <p:cNvPr id="4" name="3 İçerik Yer Tutucusu"/>
          <p:cNvSpPr>
            <a:spLocks noGrp="1"/>
          </p:cNvSpPr>
          <p:nvPr>
            <p:ph sz="half" idx="2"/>
          </p:nvPr>
        </p:nvSpPr>
        <p:spPr>
          <a:xfrm>
            <a:off x="609600" y="2174878"/>
            <a:ext cx="5386917" cy="3951288"/>
          </a:xfrm>
        </p:spPr>
        <p:txBody>
          <a:bodyPr/>
          <a:lstStyle>
            <a:lvl1pPr>
              <a:defRPr sz="2880"/>
            </a:lvl1pPr>
            <a:lvl2pPr>
              <a:defRPr sz="2400"/>
            </a:lvl2pPr>
            <a:lvl3pPr>
              <a:defRPr sz="2160"/>
            </a:lvl3pPr>
            <a:lvl4pPr>
              <a:defRPr sz="1920"/>
            </a:lvl4pPr>
            <a:lvl5pPr>
              <a:defRPr sz="1920"/>
            </a:lvl5pPr>
            <a:lvl6pPr>
              <a:defRPr sz="1920"/>
            </a:lvl6pPr>
            <a:lvl7pPr>
              <a:defRPr sz="1920"/>
            </a:lvl7pPr>
            <a:lvl8pPr>
              <a:defRPr sz="1920"/>
            </a:lvl8pPr>
            <a:lvl9pPr>
              <a:defRPr sz="192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84" y="1535257"/>
            <a:ext cx="5389033" cy="639763"/>
          </a:xfrm>
        </p:spPr>
        <p:txBody>
          <a:bodyPr anchor="b"/>
          <a:lstStyle>
            <a:lvl1pPr marL="0" indent="0">
              <a:buNone/>
              <a:defRPr sz="2880" b="1"/>
            </a:lvl1pPr>
            <a:lvl2pPr marL="548402" indent="0">
              <a:buNone/>
              <a:defRPr sz="2400" b="1"/>
            </a:lvl2pPr>
            <a:lvl3pPr marL="1096807" indent="0">
              <a:buNone/>
              <a:defRPr sz="2160" b="1"/>
            </a:lvl3pPr>
            <a:lvl4pPr marL="1645211" indent="0">
              <a:buNone/>
              <a:defRPr sz="1920" b="1"/>
            </a:lvl4pPr>
            <a:lvl5pPr marL="2193613" indent="0">
              <a:buNone/>
              <a:defRPr sz="1920" b="1"/>
            </a:lvl5pPr>
            <a:lvl6pPr marL="2742016" indent="0">
              <a:buNone/>
              <a:defRPr sz="1920" b="1"/>
            </a:lvl6pPr>
            <a:lvl7pPr marL="3290422" indent="0">
              <a:buNone/>
              <a:defRPr sz="1920" b="1"/>
            </a:lvl7pPr>
            <a:lvl8pPr marL="3838824" indent="0">
              <a:buNone/>
              <a:defRPr sz="1920" b="1"/>
            </a:lvl8pPr>
            <a:lvl9pPr marL="4387226" indent="0">
              <a:buNone/>
              <a:defRPr sz="192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84" y="2174878"/>
            <a:ext cx="5389033" cy="3951288"/>
          </a:xfrm>
        </p:spPr>
        <p:txBody>
          <a:bodyPr/>
          <a:lstStyle>
            <a:lvl1pPr>
              <a:defRPr sz="2880"/>
            </a:lvl1pPr>
            <a:lvl2pPr>
              <a:defRPr sz="2400"/>
            </a:lvl2pPr>
            <a:lvl3pPr>
              <a:defRPr sz="2160"/>
            </a:lvl3pPr>
            <a:lvl4pPr>
              <a:defRPr sz="1920"/>
            </a:lvl4pPr>
            <a:lvl5pPr>
              <a:defRPr sz="1920"/>
            </a:lvl5pPr>
            <a:lvl6pPr>
              <a:defRPr sz="1920"/>
            </a:lvl6pPr>
            <a:lvl7pPr>
              <a:defRPr sz="1920"/>
            </a:lvl7pPr>
            <a:lvl8pPr>
              <a:defRPr sz="1920"/>
            </a:lvl8pPr>
            <a:lvl9pPr>
              <a:defRPr sz="192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defTabSz="1097280" fontAlgn="base">
              <a:spcBef>
                <a:spcPct val="0"/>
              </a:spcBef>
              <a:spcAft>
                <a:spcPct val="0"/>
              </a:spcAft>
              <a:defRPr/>
            </a:pPr>
            <a:fld id="{1E7DA753-7903-4964-939B-3A5439581A62}"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8" name="7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9" name="8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75954675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defTabSz="1097280" fontAlgn="base">
              <a:spcBef>
                <a:spcPct val="0"/>
              </a:spcBef>
              <a:spcAft>
                <a:spcPct val="0"/>
              </a:spcAft>
              <a:defRPr/>
            </a:pPr>
            <a:fld id="{8CBBC204-964A-4811-94B5-3295D9845D23}"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4" name="3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5" name="4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6253637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defTabSz="1097280" fontAlgn="base">
              <a:spcBef>
                <a:spcPct val="0"/>
              </a:spcBef>
              <a:spcAft>
                <a:spcPct val="0"/>
              </a:spcAft>
              <a:defRPr/>
            </a:pPr>
            <a:fld id="{198896F9-B123-487D-8556-6E4A2E73EB55}"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3" name="2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4" name="3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1544921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15" y="273067"/>
            <a:ext cx="4011084" cy="1162049"/>
          </a:xfrm>
        </p:spPr>
        <p:txBody>
          <a:bodyPr anchor="b"/>
          <a:lstStyle>
            <a:lvl1pPr algn="l">
              <a:defRPr sz="2400" b="1"/>
            </a:lvl1pPr>
          </a:lstStyle>
          <a:p>
            <a:r>
              <a:rPr lang="tr-TR" smtClean="0"/>
              <a:t>Asıl başlık stili için tıklatın</a:t>
            </a:r>
            <a:endParaRPr lang="tr-TR"/>
          </a:p>
        </p:txBody>
      </p:sp>
      <p:sp>
        <p:nvSpPr>
          <p:cNvPr id="3" name="2 İçerik Yer Tutucusu"/>
          <p:cNvSpPr>
            <a:spLocks noGrp="1"/>
          </p:cNvSpPr>
          <p:nvPr>
            <p:ph idx="1"/>
          </p:nvPr>
        </p:nvSpPr>
        <p:spPr>
          <a:xfrm>
            <a:off x="4766736" y="273152"/>
            <a:ext cx="6815667" cy="5853113"/>
          </a:xfrm>
        </p:spPr>
        <p:txBody>
          <a:bodyPr/>
          <a:lstStyle>
            <a:lvl1pPr>
              <a:defRPr sz="372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15" y="1435113"/>
            <a:ext cx="4011084" cy="4691062"/>
          </a:xfrm>
        </p:spPr>
        <p:txBody>
          <a:bodyPr/>
          <a:lstStyle>
            <a:lvl1pPr marL="0" indent="0">
              <a:buNone/>
              <a:defRPr sz="1680"/>
            </a:lvl1pPr>
            <a:lvl2pPr marL="548402" indent="0">
              <a:buNone/>
              <a:defRPr sz="1440"/>
            </a:lvl2pPr>
            <a:lvl3pPr marL="1096807" indent="0">
              <a:buNone/>
              <a:defRPr sz="1200"/>
            </a:lvl3pPr>
            <a:lvl4pPr marL="1645211" indent="0">
              <a:buNone/>
              <a:defRPr sz="1080"/>
            </a:lvl4pPr>
            <a:lvl5pPr marL="2193613" indent="0">
              <a:buNone/>
              <a:defRPr sz="1080"/>
            </a:lvl5pPr>
            <a:lvl6pPr marL="2742016" indent="0">
              <a:buNone/>
              <a:defRPr sz="1080"/>
            </a:lvl6pPr>
            <a:lvl7pPr marL="3290422" indent="0">
              <a:buNone/>
              <a:defRPr sz="1080"/>
            </a:lvl7pPr>
            <a:lvl8pPr marL="3838824" indent="0">
              <a:buNone/>
              <a:defRPr sz="1080"/>
            </a:lvl8pPr>
            <a:lvl9pPr marL="4387226" indent="0">
              <a:buNone/>
              <a:defRPr sz="108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1097280" fontAlgn="base">
              <a:spcBef>
                <a:spcPct val="0"/>
              </a:spcBef>
              <a:spcAft>
                <a:spcPct val="0"/>
              </a:spcAft>
              <a:defRPr/>
            </a:pPr>
            <a:fld id="{6BEFD2AF-29DC-4388-8D39-7F8DC1055BB5}"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6" name="5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7" name="6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42758937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7" y="4800700"/>
            <a:ext cx="7315200" cy="566738"/>
          </a:xfrm>
        </p:spPr>
        <p:txBody>
          <a:bodyPr anchor="b"/>
          <a:lstStyle>
            <a:lvl1pPr algn="l">
              <a:defRPr sz="2400" b="1"/>
            </a:lvl1pPr>
          </a:lstStyle>
          <a:p>
            <a:r>
              <a:rPr lang="tr-TR" smtClean="0"/>
              <a:t>Asıl başlık stili için tıklatın</a:t>
            </a:r>
            <a:endParaRPr lang="tr-TR"/>
          </a:p>
        </p:txBody>
      </p:sp>
      <p:sp>
        <p:nvSpPr>
          <p:cNvPr id="3" name="2 Resim Yer Tutucusu"/>
          <p:cNvSpPr>
            <a:spLocks noGrp="1"/>
          </p:cNvSpPr>
          <p:nvPr>
            <p:ph type="pic" idx="1"/>
          </p:nvPr>
        </p:nvSpPr>
        <p:spPr>
          <a:xfrm>
            <a:off x="2389717" y="612775"/>
            <a:ext cx="7315200" cy="4114800"/>
          </a:xfrm>
        </p:spPr>
        <p:txBody>
          <a:bodyPr/>
          <a:lstStyle>
            <a:lvl1pPr marL="0" indent="0">
              <a:buNone/>
              <a:defRPr sz="3720"/>
            </a:lvl1pPr>
            <a:lvl2pPr marL="548402" indent="0">
              <a:buNone/>
              <a:defRPr sz="3360"/>
            </a:lvl2pPr>
            <a:lvl3pPr marL="1096807" indent="0">
              <a:buNone/>
              <a:defRPr sz="2880"/>
            </a:lvl3pPr>
            <a:lvl4pPr marL="1645211" indent="0">
              <a:buNone/>
              <a:defRPr sz="2400"/>
            </a:lvl4pPr>
            <a:lvl5pPr marL="2193613" indent="0">
              <a:buNone/>
              <a:defRPr sz="2400"/>
            </a:lvl5pPr>
            <a:lvl6pPr marL="2742016" indent="0">
              <a:buNone/>
              <a:defRPr sz="2400"/>
            </a:lvl6pPr>
            <a:lvl7pPr marL="3290422" indent="0">
              <a:buNone/>
              <a:defRPr sz="2400"/>
            </a:lvl7pPr>
            <a:lvl8pPr marL="3838824" indent="0">
              <a:buNone/>
              <a:defRPr sz="2400"/>
            </a:lvl8pPr>
            <a:lvl9pPr marL="4387226" indent="0">
              <a:buNone/>
              <a:defRPr sz="2400"/>
            </a:lvl9pPr>
          </a:lstStyle>
          <a:p>
            <a:endParaRPr lang="tr-TR"/>
          </a:p>
        </p:txBody>
      </p:sp>
      <p:sp>
        <p:nvSpPr>
          <p:cNvPr id="4" name="3 Metin Yer Tutucusu"/>
          <p:cNvSpPr>
            <a:spLocks noGrp="1"/>
          </p:cNvSpPr>
          <p:nvPr>
            <p:ph type="body" sz="half" idx="2"/>
          </p:nvPr>
        </p:nvSpPr>
        <p:spPr>
          <a:xfrm>
            <a:off x="2389717" y="5367437"/>
            <a:ext cx="7315200" cy="804862"/>
          </a:xfrm>
        </p:spPr>
        <p:txBody>
          <a:bodyPr/>
          <a:lstStyle>
            <a:lvl1pPr marL="0" indent="0">
              <a:buNone/>
              <a:defRPr sz="1680"/>
            </a:lvl1pPr>
            <a:lvl2pPr marL="548402" indent="0">
              <a:buNone/>
              <a:defRPr sz="1440"/>
            </a:lvl2pPr>
            <a:lvl3pPr marL="1096807" indent="0">
              <a:buNone/>
              <a:defRPr sz="1200"/>
            </a:lvl3pPr>
            <a:lvl4pPr marL="1645211" indent="0">
              <a:buNone/>
              <a:defRPr sz="1080"/>
            </a:lvl4pPr>
            <a:lvl5pPr marL="2193613" indent="0">
              <a:buNone/>
              <a:defRPr sz="1080"/>
            </a:lvl5pPr>
            <a:lvl6pPr marL="2742016" indent="0">
              <a:buNone/>
              <a:defRPr sz="1080"/>
            </a:lvl6pPr>
            <a:lvl7pPr marL="3290422" indent="0">
              <a:buNone/>
              <a:defRPr sz="1080"/>
            </a:lvl7pPr>
            <a:lvl8pPr marL="3838824" indent="0">
              <a:buNone/>
              <a:defRPr sz="1080"/>
            </a:lvl8pPr>
            <a:lvl9pPr marL="4387226" indent="0">
              <a:buNone/>
              <a:defRPr sz="108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1097280" fontAlgn="base">
              <a:spcBef>
                <a:spcPct val="0"/>
              </a:spcBef>
              <a:spcAft>
                <a:spcPct val="0"/>
              </a:spcAft>
              <a:defRPr/>
            </a:pPr>
            <a:fld id="{E22E0653-FB6D-4AEB-BF2A-9254007CBA03}"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6" name="5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7" name="6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0077981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1097280" fontAlgn="base">
              <a:spcBef>
                <a:spcPct val="0"/>
              </a:spcBef>
              <a:spcAft>
                <a:spcPct val="0"/>
              </a:spcAft>
              <a:defRPr/>
            </a:pPr>
            <a:fld id="{C1A8450E-74EE-44F0-BE08-2F8AFEF9F7AC}"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2133872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0" y="274787"/>
            <a:ext cx="2743200" cy="5851525"/>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0" y="274787"/>
            <a:ext cx="80264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7783" fontAlgn="base">
              <a:spcBef>
                <a:spcPct val="0"/>
              </a:spcBef>
              <a:spcAft>
                <a:spcPct val="0"/>
              </a:spcAft>
              <a:defRPr/>
            </a:pPr>
            <a:fld id="{AD8BB6A2-EFC7-4490-AF98-FC2DE4576DE7}"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37339386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1" y="274792"/>
            <a:ext cx="2743200" cy="5851525"/>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3" y="274792"/>
            <a:ext cx="80264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1097280" fontAlgn="base">
              <a:spcBef>
                <a:spcPct val="0"/>
              </a:spcBef>
              <a:spcAft>
                <a:spcPct val="0"/>
              </a:spcAft>
              <a:defRPr/>
            </a:pPr>
            <a:fld id="{8B8EAB90-5D80-4A24-8EF6-AAC2A78433F7}"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9187973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26130"/>
            <a:ext cx="12192000" cy="3529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4142" y="260986"/>
            <a:ext cx="1943100" cy="1148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4" y="1630721"/>
            <a:ext cx="12192001" cy="19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4411" y="1885695"/>
            <a:ext cx="11618645" cy="786482"/>
          </a:xfrm>
        </p:spPr>
        <p:txBody>
          <a:bodyPr anchor="b">
            <a:normAutofit/>
          </a:bodyPr>
          <a:lstStyle>
            <a:lvl1pPr algn="r">
              <a:defRPr sz="3000">
                <a:latin typeface="Frutiger 95 Ultra Black" pitchFamily="50" charset="0"/>
              </a:defRPr>
            </a:lvl1pPr>
          </a:lstStyle>
          <a:p>
            <a:r>
              <a:rPr lang="tr-TR"/>
              <a:t>Asıl başlık stili için tıklatın</a:t>
            </a:r>
            <a:endParaRPr lang="tr-TR" dirty="0"/>
          </a:p>
        </p:txBody>
      </p:sp>
      <p:sp>
        <p:nvSpPr>
          <p:cNvPr id="3" name="Alt Başlık 2"/>
          <p:cNvSpPr>
            <a:spLocks noGrp="1"/>
          </p:cNvSpPr>
          <p:nvPr>
            <p:ph type="subTitle" idx="1"/>
          </p:nvPr>
        </p:nvSpPr>
        <p:spPr>
          <a:xfrm>
            <a:off x="355789" y="2637028"/>
            <a:ext cx="11617291" cy="432048"/>
          </a:xfrm>
        </p:spPr>
        <p:txBody>
          <a:bodyPr>
            <a:noAutofit/>
          </a:bodyPr>
          <a:lstStyle>
            <a:lvl1pPr marL="0" indent="0" algn="r">
              <a:buNone/>
              <a:defRPr sz="1560">
                <a:solidFill>
                  <a:schemeClr val="tx1">
                    <a:lumMod val="75000"/>
                    <a:lumOff val="25000"/>
                  </a:schemeClr>
                </a:solidFill>
                <a:latin typeface="Frutiger 45 Light" pitchFamily="50" charset="0"/>
              </a:defRPr>
            </a:lvl1pPr>
            <a:lvl2pPr marL="427225" indent="0" algn="ctr">
              <a:buNone/>
              <a:defRPr>
                <a:solidFill>
                  <a:schemeClr val="tx1">
                    <a:tint val="75000"/>
                  </a:schemeClr>
                </a:solidFill>
              </a:defRPr>
            </a:lvl2pPr>
            <a:lvl3pPr marL="854454" indent="0" algn="ctr">
              <a:buNone/>
              <a:defRPr>
                <a:solidFill>
                  <a:schemeClr val="tx1">
                    <a:tint val="75000"/>
                  </a:schemeClr>
                </a:solidFill>
              </a:defRPr>
            </a:lvl3pPr>
            <a:lvl4pPr marL="1281679" indent="0" algn="ctr">
              <a:buNone/>
              <a:defRPr>
                <a:solidFill>
                  <a:schemeClr val="tx1">
                    <a:tint val="75000"/>
                  </a:schemeClr>
                </a:solidFill>
              </a:defRPr>
            </a:lvl4pPr>
            <a:lvl5pPr marL="1708902" indent="0" algn="ctr">
              <a:buNone/>
              <a:defRPr>
                <a:solidFill>
                  <a:schemeClr val="tx1">
                    <a:tint val="75000"/>
                  </a:schemeClr>
                </a:solidFill>
              </a:defRPr>
            </a:lvl5pPr>
            <a:lvl6pPr marL="2136130" indent="0" algn="ctr">
              <a:buNone/>
              <a:defRPr>
                <a:solidFill>
                  <a:schemeClr val="tx1">
                    <a:tint val="75000"/>
                  </a:schemeClr>
                </a:solidFill>
              </a:defRPr>
            </a:lvl6pPr>
            <a:lvl7pPr marL="2563356" indent="0" algn="ctr">
              <a:buNone/>
              <a:defRPr>
                <a:solidFill>
                  <a:schemeClr val="tx1">
                    <a:tint val="75000"/>
                  </a:schemeClr>
                </a:solidFill>
              </a:defRPr>
            </a:lvl7pPr>
            <a:lvl8pPr marL="2990585" indent="0" algn="ctr">
              <a:buNone/>
              <a:defRPr>
                <a:solidFill>
                  <a:schemeClr val="tx1">
                    <a:tint val="75000"/>
                  </a:schemeClr>
                </a:solidFill>
              </a:defRPr>
            </a:lvl8pPr>
            <a:lvl9pPr marL="3417809" indent="0" algn="ctr">
              <a:buNone/>
              <a:defRPr>
                <a:solidFill>
                  <a:schemeClr val="tx1">
                    <a:tint val="75000"/>
                  </a:schemeClr>
                </a:solidFill>
              </a:defRPr>
            </a:lvl9pPr>
          </a:lstStyle>
          <a:p>
            <a:r>
              <a:rPr lang="tr-TR"/>
              <a:t>Asıl alt başlık stilini düzenlemek için tıklatın</a:t>
            </a:r>
            <a:endParaRPr lang="tr-TR" dirty="0"/>
          </a:p>
        </p:txBody>
      </p:sp>
      <p:sp>
        <p:nvSpPr>
          <p:cNvPr id="9" name="Metin Yer Tutucusu 8"/>
          <p:cNvSpPr>
            <a:spLocks noGrp="1"/>
          </p:cNvSpPr>
          <p:nvPr>
            <p:ph type="body" sz="quarter" idx="13"/>
          </p:nvPr>
        </p:nvSpPr>
        <p:spPr>
          <a:xfrm>
            <a:off x="6094024" y="3417705"/>
            <a:ext cx="5868152" cy="346322"/>
          </a:xfrm>
        </p:spPr>
        <p:txBody>
          <a:bodyPr>
            <a:noAutofit/>
          </a:bodyPr>
          <a:lstStyle>
            <a:lvl1pPr marL="0" indent="0" algn="r">
              <a:buNone/>
              <a:defRPr sz="1320">
                <a:solidFill>
                  <a:schemeClr val="bg1"/>
                </a:solidFill>
                <a:latin typeface="Frutiger 45 Light" pitchFamily="50" charset="0"/>
              </a:defRPr>
            </a:lvl1pPr>
          </a:lstStyle>
          <a:p>
            <a:pPr lvl="0"/>
            <a:r>
              <a:rPr lang="tr-TR"/>
              <a:t>Asıl metin stillerini düzenlemek için tıklatın</a:t>
            </a:r>
          </a:p>
        </p:txBody>
      </p:sp>
      <p:sp>
        <p:nvSpPr>
          <p:cNvPr id="11" name="Metin Yer Tutucusu 10"/>
          <p:cNvSpPr>
            <a:spLocks noGrp="1"/>
          </p:cNvSpPr>
          <p:nvPr>
            <p:ph type="body" sz="quarter" idx="14"/>
          </p:nvPr>
        </p:nvSpPr>
        <p:spPr>
          <a:xfrm>
            <a:off x="6096133" y="436688"/>
            <a:ext cx="5856728" cy="1036320"/>
          </a:xfrm>
        </p:spPr>
        <p:txBody>
          <a:bodyPr>
            <a:normAutofit/>
          </a:bodyPr>
          <a:lstStyle>
            <a:lvl1pPr marL="0" indent="0" algn="r">
              <a:lnSpc>
                <a:spcPct val="100000"/>
              </a:lnSpc>
              <a:spcBef>
                <a:spcPts val="0"/>
              </a:spcBef>
              <a:spcAft>
                <a:spcPts val="940"/>
              </a:spcAft>
              <a:buNone/>
              <a:defRPr sz="960">
                <a:latin typeface="Frutiger 45 Light" pitchFamily="50" charset="0"/>
              </a:defRPr>
            </a:lvl1pPr>
          </a:lstStyle>
          <a:p>
            <a:pPr lvl="0"/>
            <a:r>
              <a:rPr lang="tr-TR"/>
              <a:t>Asıl metin stillerini düzenlemek için tıklatın</a:t>
            </a:r>
          </a:p>
          <a:p>
            <a:pPr lvl="1"/>
            <a:r>
              <a:rPr lang="tr-TR"/>
              <a:t>İkinci düzey</a:t>
            </a:r>
          </a:p>
          <a:p>
            <a:pPr lvl="2"/>
            <a:r>
              <a:rPr lang="tr-TR"/>
              <a:t>Üçüncü düzey</a:t>
            </a:r>
          </a:p>
        </p:txBody>
      </p:sp>
    </p:spTree>
    <p:extLst>
      <p:ext uri="{BB962C8B-B14F-4D97-AF65-F5344CB8AC3E}">
        <p14:creationId xmlns:p14="http://schemas.microsoft.com/office/powerpoint/2010/main" val="2578702215"/>
      </p:ext>
    </p:extLst>
  </p:cSld>
  <p:clrMapOvr>
    <a:masterClrMapping/>
  </p:clrMapOvr>
  <p:transition spd="slow">
    <p:push dir="u"/>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80786"/>
            <a:ext cx="12202584"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0023" y="301145"/>
            <a:ext cx="122555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60684" y="675414"/>
            <a:ext cx="9615949" cy="1143000"/>
          </a:xfrm>
        </p:spPr>
        <p:txBody>
          <a:bodyPr anchor="b">
            <a:normAutofit/>
          </a:bodyPr>
          <a:lstStyle>
            <a:lvl1pPr algn="l">
              <a:defRPr sz="2280"/>
            </a:lvl1pPr>
          </a:lstStyle>
          <a:p>
            <a:r>
              <a:rPr lang="tr-TR"/>
              <a:t>Asıl başlık stili için tıklatın</a:t>
            </a:r>
            <a:endParaRPr lang="tr-TR" dirty="0"/>
          </a:p>
        </p:txBody>
      </p:sp>
      <p:sp>
        <p:nvSpPr>
          <p:cNvPr id="3" name="İçerik Yer Tutucusu 2"/>
          <p:cNvSpPr>
            <a:spLocks noGrp="1"/>
          </p:cNvSpPr>
          <p:nvPr>
            <p:ph idx="1"/>
          </p:nvPr>
        </p:nvSpPr>
        <p:spPr>
          <a:xfrm>
            <a:off x="1871531" y="1903255"/>
            <a:ext cx="9505056" cy="3989071"/>
          </a:xfrm>
        </p:spPr>
        <p:txBody>
          <a:bodyPr>
            <a:normAutofit/>
          </a:bodyPr>
          <a:lstStyle>
            <a:lvl1pPr>
              <a:defRPr sz="1680"/>
            </a:lvl1pPr>
            <a:lvl2pPr>
              <a:defRPr sz="1680"/>
            </a:lvl2pPr>
            <a:lvl3pPr>
              <a:defRPr sz="1680"/>
            </a:lvl3pPr>
            <a:lvl4pPr>
              <a:defRPr sz="1680"/>
            </a:lvl4pPr>
            <a:lvl5pPr>
              <a:defRPr sz="1680"/>
            </a:lvl5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endParaRPr lang="tr-TR" dirty="0"/>
          </a:p>
        </p:txBody>
      </p:sp>
      <p:sp>
        <p:nvSpPr>
          <p:cNvPr id="7" name="Veri Yer Tutucusu 3"/>
          <p:cNvSpPr>
            <a:spLocks noGrp="1"/>
          </p:cNvSpPr>
          <p:nvPr>
            <p:ph type="dt" sz="half" idx="10"/>
          </p:nvPr>
        </p:nvSpPr>
        <p:spPr>
          <a:xfrm>
            <a:off x="850900" y="6480815"/>
            <a:ext cx="2844800" cy="363856"/>
          </a:xfrm>
        </p:spPr>
        <p:txBody>
          <a:bodyPr/>
          <a:lstStyle>
            <a:lvl1pPr>
              <a:defRPr/>
            </a:lvl1pPr>
          </a:lstStyle>
          <a:p>
            <a:pPr defTabSz="1097280">
              <a:defRPr/>
            </a:pPr>
            <a:fld id="{33C7F8E1-A45F-49CB-A6C3-1661EDF21148}"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8" name="Altbilgi Yer Tutucusu 4"/>
          <p:cNvSpPr>
            <a:spLocks noGrp="1"/>
          </p:cNvSpPr>
          <p:nvPr>
            <p:ph type="ftr" sz="quarter" idx="11"/>
          </p:nvPr>
        </p:nvSpPr>
        <p:spPr>
          <a:xfrm>
            <a:off x="4165600" y="6480815"/>
            <a:ext cx="3860800" cy="363856"/>
          </a:xfrm>
        </p:spPr>
        <p:txBody>
          <a:bodyPr/>
          <a:lstStyle>
            <a:lvl1pPr>
              <a:defRPr/>
            </a:lvl1pPr>
          </a:lstStyle>
          <a:p>
            <a:pPr defTabSz="1097280">
              <a:defRPr/>
            </a:pPr>
            <a:endParaRPr lang="en-CA">
              <a:solidFill>
                <a:prstClr val="black"/>
              </a:solidFill>
              <a:ea typeface="ヒラギノ角ゴ Pro W3" pitchFamily="1" charset="-128"/>
            </a:endParaRPr>
          </a:p>
        </p:txBody>
      </p:sp>
      <p:sp>
        <p:nvSpPr>
          <p:cNvPr id="9" name="Slayt Numarası Yer Tutucusu 5"/>
          <p:cNvSpPr>
            <a:spLocks noGrp="1"/>
          </p:cNvSpPr>
          <p:nvPr>
            <p:ph type="sldNum" sz="quarter" idx="12"/>
          </p:nvPr>
        </p:nvSpPr>
        <p:spPr>
          <a:xfrm>
            <a:off x="8496300" y="6480815"/>
            <a:ext cx="2844800" cy="363856"/>
          </a:xfrm>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400909202"/>
      </p:ext>
    </p:extLst>
  </p:cSld>
  <p:clrMapOvr>
    <a:masterClrMapping/>
  </p:clrMapOvr>
  <p:transition spd="slow">
    <p:push dir="u"/>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47" y="0"/>
            <a:ext cx="121877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80786"/>
            <a:ext cx="12202584"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0023" y="301145"/>
            <a:ext cx="122555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60886" y="0"/>
            <a:ext cx="5031316" cy="6858000"/>
          </a:xfrm>
          <a:noFill/>
          <a:ln>
            <a:noFill/>
          </a:ln>
        </p:spPr>
        <p:txBody>
          <a:bodyPr rtlCol="0">
            <a:normAutofit/>
          </a:bodyPr>
          <a:lstStyle/>
          <a:p>
            <a:pPr lvl="0"/>
            <a:r>
              <a:rPr lang="tr-TR" noProof="0"/>
              <a:t>Resim eklemek için simgeyi tıklatın</a:t>
            </a:r>
          </a:p>
        </p:txBody>
      </p:sp>
      <p:sp>
        <p:nvSpPr>
          <p:cNvPr id="2" name="Başlık 1"/>
          <p:cNvSpPr>
            <a:spLocks noGrp="1"/>
          </p:cNvSpPr>
          <p:nvPr>
            <p:ph type="title"/>
          </p:nvPr>
        </p:nvSpPr>
        <p:spPr>
          <a:xfrm>
            <a:off x="154012" y="2219269"/>
            <a:ext cx="6825767" cy="1123325"/>
          </a:xfrm>
        </p:spPr>
        <p:txBody>
          <a:bodyPr anchor="b">
            <a:normAutofit/>
          </a:bodyPr>
          <a:lstStyle>
            <a:lvl1pPr algn="r">
              <a:defRPr sz="2280" b="1" cap="none" baseline="0">
                <a:latin typeface="Frutiger 95 Ultra Black" pitchFamily="50" charset="0"/>
              </a:defRPr>
            </a:lvl1pPr>
          </a:lstStyle>
          <a:p>
            <a:r>
              <a:rPr lang="tr-TR"/>
              <a:t>Asıl başlık stili için tıklatın</a:t>
            </a:r>
            <a:endParaRPr lang="tr-TR" dirty="0"/>
          </a:p>
        </p:txBody>
      </p:sp>
      <p:sp>
        <p:nvSpPr>
          <p:cNvPr id="3" name="Metin Yer Tutucusu 2"/>
          <p:cNvSpPr>
            <a:spLocks noGrp="1"/>
          </p:cNvSpPr>
          <p:nvPr>
            <p:ph type="body" idx="1"/>
          </p:nvPr>
        </p:nvSpPr>
        <p:spPr>
          <a:xfrm>
            <a:off x="143340" y="3285601"/>
            <a:ext cx="6836208" cy="1142033"/>
          </a:xfrm>
        </p:spPr>
        <p:txBody>
          <a:bodyPr>
            <a:normAutofit/>
          </a:bodyPr>
          <a:lstStyle>
            <a:lvl1pPr marL="0" indent="0" algn="r">
              <a:spcBef>
                <a:spcPts val="0"/>
              </a:spcBef>
              <a:spcAft>
                <a:spcPts val="0"/>
              </a:spcAft>
              <a:buNone/>
              <a:defRPr sz="1680">
                <a:solidFill>
                  <a:schemeClr val="tx1">
                    <a:lumMod val="75000"/>
                    <a:lumOff val="25000"/>
                  </a:schemeClr>
                </a:solidFill>
                <a:latin typeface="Frutiger 45 Light" pitchFamily="50" charset="0"/>
              </a:defRPr>
            </a:lvl1pPr>
            <a:lvl2pPr marL="427225" indent="0">
              <a:buNone/>
              <a:defRPr sz="1680">
                <a:solidFill>
                  <a:schemeClr val="tx1">
                    <a:tint val="75000"/>
                  </a:schemeClr>
                </a:solidFill>
              </a:defRPr>
            </a:lvl2pPr>
            <a:lvl3pPr marL="854454" indent="0">
              <a:buNone/>
              <a:defRPr sz="1560">
                <a:solidFill>
                  <a:schemeClr val="tx1">
                    <a:tint val="75000"/>
                  </a:schemeClr>
                </a:solidFill>
              </a:defRPr>
            </a:lvl3pPr>
            <a:lvl4pPr marL="1281679" indent="0">
              <a:buNone/>
              <a:defRPr sz="1320">
                <a:solidFill>
                  <a:schemeClr val="tx1">
                    <a:tint val="75000"/>
                  </a:schemeClr>
                </a:solidFill>
              </a:defRPr>
            </a:lvl4pPr>
            <a:lvl5pPr marL="1708902" indent="0">
              <a:buNone/>
              <a:defRPr sz="1320">
                <a:solidFill>
                  <a:schemeClr val="tx1">
                    <a:tint val="75000"/>
                  </a:schemeClr>
                </a:solidFill>
              </a:defRPr>
            </a:lvl5pPr>
            <a:lvl6pPr marL="2136130" indent="0">
              <a:buNone/>
              <a:defRPr sz="1320">
                <a:solidFill>
                  <a:schemeClr val="tx1">
                    <a:tint val="75000"/>
                  </a:schemeClr>
                </a:solidFill>
              </a:defRPr>
            </a:lvl6pPr>
            <a:lvl7pPr marL="2563356" indent="0">
              <a:buNone/>
              <a:defRPr sz="1320">
                <a:solidFill>
                  <a:schemeClr val="tx1">
                    <a:tint val="75000"/>
                  </a:schemeClr>
                </a:solidFill>
              </a:defRPr>
            </a:lvl7pPr>
            <a:lvl8pPr marL="2990585" indent="0">
              <a:buNone/>
              <a:defRPr sz="1320">
                <a:solidFill>
                  <a:schemeClr val="tx1">
                    <a:tint val="75000"/>
                  </a:schemeClr>
                </a:solidFill>
              </a:defRPr>
            </a:lvl8pPr>
            <a:lvl9pPr marL="3417809" indent="0">
              <a:buNone/>
              <a:defRPr sz="1320">
                <a:solidFill>
                  <a:schemeClr val="tx1">
                    <a:tint val="75000"/>
                  </a:schemeClr>
                </a:solidFill>
              </a:defRPr>
            </a:lvl9pPr>
          </a:lstStyle>
          <a:p>
            <a:pPr lvl="0"/>
            <a:r>
              <a:rPr lang="tr-TR"/>
              <a:t>Asıl metin stillerini düzenlemek için tıklatın</a:t>
            </a:r>
          </a:p>
        </p:txBody>
      </p:sp>
      <p:sp>
        <p:nvSpPr>
          <p:cNvPr id="8" name="Veri Yer Tutucusu 3"/>
          <p:cNvSpPr>
            <a:spLocks noGrp="1"/>
          </p:cNvSpPr>
          <p:nvPr>
            <p:ph type="dt" sz="half" idx="14"/>
          </p:nvPr>
        </p:nvSpPr>
        <p:spPr>
          <a:xfrm>
            <a:off x="850900" y="6480815"/>
            <a:ext cx="2844800" cy="363856"/>
          </a:xfrm>
        </p:spPr>
        <p:txBody>
          <a:bodyPr/>
          <a:lstStyle>
            <a:lvl1pPr>
              <a:defRPr/>
            </a:lvl1pPr>
          </a:lstStyle>
          <a:p>
            <a:pPr defTabSz="1097280">
              <a:defRPr/>
            </a:pPr>
            <a:fld id="{928FD1F8-FE42-46CB-8629-DB088AC39D80}"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9" name="Altbilgi Yer Tutucusu 4"/>
          <p:cNvSpPr>
            <a:spLocks noGrp="1"/>
          </p:cNvSpPr>
          <p:nvPr>
            <p:ph type="ftr" sz="quarter" idx="15"/>
          </p:nvPr>
        </p:nvSpPr>
        <p:spPr>
          <a:xfrm>
            <a:off x="4165600" y="6480815"/>
            <a:ext cx="3860800" cy="363856"/>
          </a:xfrm>
        </p:spPr>
        <p:txBody>
          <a:bodyPr/>
          <a:lstStyle>
            <a:lvl1pPr>
              <a:defRPr/>
            </a:lvl1pPr>
          </a:lstStyle>
          <a:p>
            <a:pPr defTabSz="1097280">
              <a:defRPr/>
            </a:pPr>
            <a:endParaRPr lang="en-CA">
              <a:solidFill>
                <a:prstClr val="black"/>
              </a:solidFill>
              <a:ea typeface="ヒラギノ角ゴ Pro W3" pitchFamily="1" charset="-128"/>
            </a:endParaRPr>
          </a:p>
        </p:txBody>
      </p:sp>
      <p:sp>
        <p:nvSpPr>
          <p:cNvPr id="10" name="Slayt Numarası Yer Tutucusu 5"/>
          <p:cNvSpPr>
            <a:spLocks noGrp="1"/>
          </p:cNvSpPr>
          <p:nvPr>
            <p:ph type="sldNum" sz="quarter" idx="16"/>
          </p:nvPr>
        </p:nvSpPr>
        <p:spPr>
          <a:xfrm>
            <a:off x="8496300" y="6480815"/>
            <a:ext cx="2844800" cy="363856"/>
          </a:xfrm>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4287826112"/>
      </p:ext>
    </p:extLst>
  </p:cSld>
  <p:clrMapOvr>
    <a:masterClrMapping/>
  </p:clrMapOvr>
  <p:transition spd="slow">
    <p:push dir="u"/>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202584" cy="68580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71579" y="1873627"/>
            <a:ext cx="4704523" cy="4252536"/>
          </a:xfrm>
        </p:spPr>
        <p:txBody>
          <a:bodyPr>
            <a:normAutofit/>
          </a:bodyPr>
          <a:lstStyle>
            <a:lvl1pPr>
              <a:defRPr sz="1680"/>
            </a:lvl1pPr>
            <a:lvl2pPr>
              <a:defRPr sz="1680"/>
            </a:lvl2pPr>
            <a:lvl3pPr>
              <a:defRPr sz="1680"/>
            </a:lvl3pPr>
            <a:lvl4pPr>
              <a:defRPr sz="1680"/>
            </a:lvl4pPr>
            <a:lvl5pPr>
              <a:defRPr sz="1680"/>
            </a:lvl5pPr>
            <a:lvl6pPr>
              <a:defRPr sz="1680"/>
            </a:lvl6pPr>
            <a:lvl7pPr>
              <a:defRPr sz="1680"/>
            </a:lvl7pPr>
            <a:lvl8pPr>
              <a:defRPr sz="1680"/>
            </a:lvl8pPr>
            <a:lvl9pPr>
              <a:defRPr sz="168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endParaRPr lang="tr-TR" dirty="0"/>
          </a:p>
        </p:txBody>
      </p:sp>
      <p:sp>
        <p:nvSpPr>
          <p:cNvPr id="4" name="İçerik Yer Tutucusu 3"/>
          <p:cNvSpPr>
            <a:spLocks noGrp="1"/>
          </p:cNvSpPr>
          <p:nvPr>
            <p:ph sz="half" idx="2"/>
          </p:nvPr>
        </p:nvSpPr>
        <p:spPr>
          <a:xfrm>
            <a:off x="6768075" y="1873627"/>
            <a:ext cx="4608512" cy="4252536"/>
          </a:xfrm>
        </p:spPr>
        <p:txBody>
          <a:bodyPr>
            <a:normAutofit/>
          </a:bodyPr>
          <a:lstStyle>
            <a:lvl1pPr>
              <a:defRPr sz="1680"/>
            </a:lvl1pPr>
            <a:lvl2pPr>
              <a:defRPr sz="1680"/>
            </a:lvl2pPr>
            <a:lvl3pPr>
              <a:defRPr sz="1680"/>
            </a:lvl3pPr>
            <a:lvl4pPr>
              <a:defRPr sz="1680"/>
            </a:lvl4pPr>
            <a:lvl5pPr>
              <a:defRPr sz="1680"/>
            </a:lvl5pPr>
            <a:lvl6pPr>
              <a:defRPr sz="1680"/>
            </a:lvl6pPr>
            <a:lvl7pPr>
              <a:defRPr sz="1680"/>
            </a:lvl7pPr>
            <a:lvl8pPr>
              <a:defRPr sz="1680"/>
            </a:lvl8pPr>
            <a:lvl9pPr>
              <a:defRPr sz="168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endParaRPr lang="tr-TR" dirty="0"/>
          </a:p>
        </p:txBody>
      </p:sp>
      <p:sp>
        <p:nvSpPr>
          <p:cNvPr id="14" name="Başlık 1"/>
          <p:cNvSpPr>
            <a:spLocks noGrp="1"/>
          </p:cNvSpPr>
          <p:nvPr>
            <p:ph type="title"/>
          </p:nvPr>
        </p:nvSpPr>
        <p:spPr>
          <a:xfrm>
            <a:off x="1760684" y="675414"/>
            <a:ext cx="9615949" cy="1143000"/>
          </a:xfrm>
        </p:spPr>
        <p:txBody>
          <a:bodyPr anchor="b">
            <a:normAutofit/>
          </a:bodyPr>
          <a:lstStyle>
            <a:lvl1pPr algn="l">
              <a:defRPr sz="2280"/>
            </a:lvl1pPr>
          </a:lstStyle>
          <a:p>
            <a:r>
              <a:rPr lang="tr-TR"/>
              <a:t>Asıl başlık stili için tıklatın</a:t>
            </a:r>
            <a:endParaRPr lang="tr-TR" dirty="0"/>
          </a:p>
        </p:txBody>
      </p:sp>
      <p:sp>
        <p:nvSpPr>
          <p:cNvPr id="9" name="Veri Yer Tutucusu 3"/>
          <p:cNvSpPr>
            <a:spLocks noGrp="1"/>
          </p:cNvSpPr>
          <p:nvPr>
            <p:ph type="dt" sz="half" idx="10"/>
          </p:nvPr>
        </p:nvSpPr>
        <p:spPr>
          <a:xfrm>
            <a:off x="850900" y="6480815"/>
            <a:ext cx="2844800" cy="363856"/>
          </a:xfrm>
        </p:spPr>
        <p:txBody>
          <a:bodyPr/>
          <a:lstStyle>
            <a:lvl1pPr>
              <a:defRPr/>
            </a:lvl1pPr>
          </a:lstStyle>
          <a:p>
            <a:pPr defTabSz="1097280">
              <a:defRPr/>
            </a:pPr>
            <a:fld id="{8177893F-052A-4075-9CB9-51116CE92CC3}"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10" name="Altbilgi Yer Tutucusu 4"/>
          <p:cNvSpPr>
            <a:spLocks noGrp="1"/>
          </p:cNvSpPr>
          <p:nvPr>
            <p:ph type="ftr" sz="quarter" idx="11"/>
          </p:nvPr>
        </p:nvSpPr>
        <p:spPr>
          <a:xfrm>
            <a:off x="4165600" y="6480815"/>
            <a:ext cx="3860800" cy="363856"/>
          </a:xfrm>
        </p:spPr>
        <p:txBody>
          <a:bodyPr/>
          <a:lstStyle>
            <a:lvl1pPr>
              <a:defRPr/>
            </a:lvl1pPr>
          </a:lstStyle>
          <a:p>
            <a:pPr defTabSz="1097280">
              <a:defRPr/>
            </a:pPr>
            <a:endParaRPr lang="en-CA">
              <a:solidFill>
                <a:prstClr val="black"/>
              </a:solidFill>
              <a:ea typeface="ヒラギノ角ゴ Pro W3" pitchFamily="1" charset="-128"/>
            </a:endParaRPr>
          </a:p>
        </p:txBody>
      </p:sp>
      <p:sp>
        <p:nvSpPr>
          <p:cNvPr id="11" name="Slayt Numarası Yer Tutucusu 5"/>
          <p:cNvSpPr>
            <a:spLocks noGrp="1"/>
          </p:cNvSpPr>
          <p:nvPr>
            <p:ph type="sldNum" sz="quarter" idx="12"/>
          </p:nvPr>
        </p:nvSpPr>
        <p:spPr>
          <a:xfrm>
            <a:off x="8496300" y="6480815"/>
            <a:ext cx="2844800" cy="363856"/>
          </a:xfrm>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3835308037"/>
      </p:ext>
    </p:extLst>
  </p:cSld>
  <p:clrMapOvr>
    <a:masterClrMapping/>
  </p:clrMapOvr>
  <p:transition spd="slow">
    <p:push dir="u"/>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80786"/>
            <a:ext cx="12202584"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0023" y="301145"/>
            <a:ext cx="122555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60684" y="675414"/>
            <a:ext cx="9615949" cy="1143000"/>
          </a:xfrm>
        </p:spPr>
        <p:txBody>
          <a:bodyPr anchor="b">
            <a:normAutofit/>
          </a:bodyPr>
          <a:lstStyle>
            <a:lvl1pPr algn="l">
              <a:defRPr sz="2280"/>
            </a:lvl1pPr>
          </a:lstStyle>
          <a:p>
            <a:r>
              <a:rPr lang="tr-TR"/>
              <a:t>Asıl başlık stili için tıklatın</a:t>
            </a:r>
            <a:endParaRPr lang="tr-TR" dirty="0"/>
          </a:p>
        </p:txBody>
      </p:sp>
      <p:sp>
        <p:nvSpPr>
          <p:cNvPr id="6" name="Veri Yer Tutucusu 3"/>
          <p:cNvSpPr>
            <a:spLocks noGrp="1"/>
          </p:cNvSpPr>
          <p:nvPr>
            <p:ph type="dt" sz="half" idx="10"/>
          </p:nvPr>
        </p:nvSpPr>
        <p:spPr>
          <a:xfrm>
            <a:off x="850900" y="6480815"/>
            <a:ext cx="2844800" cy="363856"/>
          </a:xfrm>
        </p:spPr>
        <p:txBody>
          <a:bodyPr/>
          <a:lstStyle>
            <a:lvl1pPr>
              <a:defRPr/>
            </a:lvl1pPr>
          </a:lstStyle>
          <a:p>
            <a:pPr defTabSz="1097280">
              <a:defRPr/>
            </a:pPr>
            <a:fld id="{781DD2B6-9470-4290-8906-6B470239C0C4}"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7" name="Altbilgi Yer Tutucusu 4"/>
          <p:cNvSpPr>
            <a:spLocks noGrp="1"/>
          </p:cNvSpPr>
          <p:nvPr>
            <p:ph type="ftr" sz="quarter" idx="11"/>
          </p:nvPr>
        </p:nvSpPr>
        <p:spPr>
          <a:xfrm>
            <a:off x="4165600" y="6480815"/>
            <a:ext cx="3860800" cy="363856"/>
          </a:xfrm>
        </p:spPr>
        <p:txBody>
          <a:bodyPr/>
          <a:lstStyle>
            <a:lvl1pPr>
              <a:defRPr/>
            </a:lvl1pPr>
          </a:lstStyle>
          <a:p>
            <a:pPr defTabSz="1097280">
              <a:defRPr/>
            </a:pPr>
            <a:endParaRPr lang="en-CA">
              <a:solidFill>
                <a:prstClr val="black"/>
              </a:solidFill>
              <a:ea typeface="ヒラギノ角ゴ Pro W3" pitchFamily="1" charset="-128"/>
            </a:endParaRPr>
          </a:p>
        </p:txBody>
      </p:sp>
      <p:sp>
        <p:nvSpPr>
          <p:cNvPr id="8" name="Slayt Numarası Yer Tutucusu 5"/>
          <p:cNvSpPr>
            <a:spLocks noGrp="1"/>
          </p:cNvSpPr>
          <p:nvPr>
            <p:ph type="sldNum" sz="quarter" idx="12"/>
          </p:nvPr>
        </p:nvSpPr>
        <p:spPr>
          <a:xfrm>
            <a:off x="8496300" y="6480815"/>
            <a:ext cx="2844800" cy="363856"/>
          </a:xfrm>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924624102"/>
      </p:ext>
    </p:extLst>
  </p:cSld>
  <p:clrMapOvr>
    <a:masterClrMapping/>
  </p:clrMapOvr>
  <p:transition spd="slow">
    <p:push dir="u"/>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80786"/>
            <a:ext cx="12202584"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50900" y="6480815"/>
            <a:ext cx="2844800" cy="363856"/>
          </a:xfrm>
        </p:spPr>
        <p:txBody>
          <a:bodyPr/>
          <a:lstStyle>
            <a:lvl1pPr>
              <a:defRPr/>
            </a:lvl1pPr>
          </a:lstStyle>
          <a:p>
            <a:pPr defTabSz="1097280">
              <a:defRPr/>
            </a:pPr>
            <a:fld id="{DFFA1F0B-FDC9-4E0E-9CB5-A528FBB43912}"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5" name="Altbilgi Yer Tutucusu 4"/>
          <p:cNvSpPr>
            <a:spLocks noGrp="1"/>
          </p:cNvSpPr>
          <p:nvPr>
            <p:ph type="ftr" sz="quarter" idx="11"/>
          </p:nvPr>
        </p:nvSpPr>
        <p:spPr>
          <a:xfrm>
            <a:off x="4165600" y="6480815"/>
            <a:ext cx="3860800" cy="363856"/>
          </a:xfrm>
        </p:spPr>
        <p:txBody>
          <a:bodyPr/>
          <a:lstStyle>
            <a:lvl1pPr>
              <a:defRPr/>
            </a:lvl1pPr>
          </a:lstStyle>
          <a:p>
            <a:pPr defTabSz="1097280">
              <a:defRPr/>
            </a:pPr>
            <a:endParaRPr lang="en-CA">
              <a:solidFill>
                <a:prstClr val="black"/>
              </a:solidFill>
              <a:ea typeface="ヒラギノ角ゴ Pro W3" pitchFamily="1" charset="-128"/>
            </a:endParaRPr>
          </a:p>
        </p:txBody>
      </p:sp>
      <p:sp>
        <p:nvSpPr>
          <p:cNvPr id="6" name="Slayt Numarası Yer Tutucusu 5"/>
          <p:cNvSpPr>
            <a:spLocks noGrp="1"/>
          </p:cNvSpPr>
          <p:nvPr>
            <p:ph type="sldNum" sz="quarter" idx="12"/>
          </p:nvPr>
        </p:nvSpPr>
        <p:spPr>
          <a:xfrm>
            <a:off x="8496300" y="6480815"/>
            <a:ext cx="2844800" cy="363856"/>
          </a:xfrm>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1919141317"/>
      </p:ext>
    </p:extLst>
  </p:cSld>
  <p:clrMapOvr>
    <a:masterClrMapping/>
  </p:clrMapOvr>
  <p:transition spd="slow">
    <p:push dir="u"/>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80786"/>
            <a:ext cx="12202584"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9717" y="4800735"/>
            <a:ext cx="7315200" cy="566738"/>
          </a:xfrm>
        </p:spPr>
        <p:txBody>
          <a:bodyPr anchor="b"/>
          <a:lstStyle>
            <a:lvl1pPr algn="l">
              <a:defRPr sz="1920" b="1"/>
            </a:lvl1pPr>
          </a:lstStyle>
          <a:p>
            <a:r>
              <a:rPr lang="tr-TR"/>
              <a:t>Asıl başlık stili için tıklatın</a:t>
            </a:r>
          </a:p>
        </p:txBody>
      </p:sp>
      <p:sp>
        <p:nvSpPr>
          <p:cNvPr id="3" name="Resim Yer Tutucusu 2"/>
          <p:cNvSpPr>
            <a:spLocks noGrp="1"/>
          </p:cNvSpPr>
          <p:nvPr>
            <p:ph type="pic" idx="1"/>
          </p:nvPr>
        </p:nvSpPr>
        <p:spPr>
          <a:xfrm>
            <a:off x="2389717" y="612775"/>
            <a:ext cx="7315200" cy="4114800"/>
          </a:xfrm>
        </p:spPr>
        <p:txBody>
          <a:bodyPr rtlCol="0">
            <a:normAutofit/>
          </a:bodyPr>
          <a:lstStyle>
            <a:lvl1pPr marL="0" indent="0">
              <a:buNone/>
              <a:defRPr sz="3000"/>
            </a:lvl1pPr>
            <a:lvl2pPr marL="427225" indent="0">
              <a:buNone/>
              <a:defRPr sz="2640"/>
            </a:lvl2pPr>
            <a:lvl3pPr marL="854454" indent="0">
              <a:buNone/>
              <a:defRPr sz="2280"/>
            </a:lvl3pPr>
            <a:lvl4pPr marL="1281679" indent="0">
              <a:buNone/>
              <a:defRPr sz="1920"/>
            </a:lvl4pPr>
            <a:lvl5pPr marL="1708902" indent="0">
              <a:buNone/>
              <a:defRPr sz="1920"/>
            </a:lvl5pPr>
            <a:lvl6pPr marL="2136130" indent="0">
              <a:buNone/>
              <a:defRPr sz="1920"/>
            </a:lvl6pPr>
            <a:lvl7pPr marL="2563356" indent="0">
              <a:buNone/>
              <a:defRPr sz="1920"/>
            </a:lvl7pPr>
            <a:lvl8pPr marL="2990585" indent="0">
              <a:buNone/>
              <a:defRPr sz="1920"/>
            </a:lvl8pPr>
            <a:lvl9pPr marL="3417809" indent="0">
              <a:buNone/>
              <a:defRPr sz="1920"/>
            </a:lvl9pPr>
          </a:lstStyle>
          <a:p>
            <a:pPr lvl="0"/>
            <a:r>
              <a:rPr lang="tr-TR" noProof="0"/>
              <a:t>Resim eklemek için simgeyi tıklatın</a:t>
            </a:r>
          </a:p>
        </p:txBody>
      </p:sp>
      <p:sp>
        <p:nvSpPr>
          <p:cNvPr id="4" name="Metin Yer Tutucusu 3"/>
          <p:cNvSpPr>
            <a:spLocks noGrp="1"/>
          </p:cNvSpPr>
          <p:nvPr>
            <p:ph type="body" sz="half" idx="2"/>
          </p:nvPr>
        </p:nvSpPr>
        <p:spPr>
          <a:xfrm>
            <a:off x="2543607" y="5463654"/>
            <a:ext cx="7161312" cy="804862"/>
          </a:xfrm>
        </p:spPr>
        <p:txBody>
          <a:bodyPr/>
          <a:lstStyle>
            <a:lvl1pPr marL="0" indent="0">
              <a:buNone/>
              <a:defRPr sz="1320"/>
            </a:lvl1pPr>
            <a:lvl2pPr marL="427225" indent="0">
              <a:buNone/>
              <a:defRPr sz="1080"/>
            </a:lvl2pPr>
            <a:lvl3pPr marL="854454" indent="0">
              <a:buNone/>
              <a:defRPr sz="960"/>
            </a:lvl3pPr>
            <a:lvl4pPr marL="1281679" indent="0">
              <a:buNone/>
              <a:defRPr sz="840"/>
            </a:lvl4pPr>
            <a:lvl5pPr marL="1708902" indent="0">
              <a:buNone/>
              <a:defRPr sz="840"/>
            </a:lvl5pPr>
            <a:lvl6pPr marL="2136130" indent="0">
              <a:buNone/>
              <a:defRPr sz="840"/>
            </a:lvl6pPr>
            <a:lvl7pPr marL="2563356" indent="0">
              <a:buNone/>
              <a:defRPr sz="840"/>
            </a:lvl7pPr>
            <a:lvl8pPr marL="2990585" indent="0">
              <a:buNone/>
              <a:defRPr sz="840"/>
            </a:lvl8pPr>
            <a:lvl9pPr marL="3417809" indent="0">
              <a:buNone/>
              <a:defRPr sz="840"/>
            </a:lvl9pPr>
          </a:lstStyle>
          <a:p>
            <a:pPr lvl="0"/>
            <a:r>
              <a:rPr lang="tr-TR"/>
              <a:t>Asıl metin stillerini düzenlemek için tıklatın</a:t>
            </a:r>
          </a:p>
        </p:txBody>
      </p:sp>
      <p:sp>
        <p:nvSpPr>
          <p:cNvPr id="7" name="Veri Yer Tutucusu 3"/>
          <p:cNvSpPr>
            <a:spLocks noGrp="1"/>
          </p:cNvSpPr>
          <p:nvPr>
            <p:ph type="dt" sz="half" idx="10"/>
          </p:nvPr>
        </p:nvSpPr>
        <p:spPr>
          <a:xfrm>
            <a:off x="850900" y="6467544"/>
            <a:ext cx="2844800" cy="365760"/>
          </a:xfrm>
        </p:spPr>
        <p:txBody>
          <a:bodyPr/>
          <a:lstStyle>
            <a:lvl1pPr>
              <a:defRPr/>
            </a:lvl1pPr>
          </a:lstStyle>
          <a:p>
            <a:pPr defTabSz="1097280">
              <a:defRPr/>
            </a:pPr>
            <a:fld id="{7B421841-48C2-4AE9-AFF1-D910EC6045F4}"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8" name="Altbilgi Yer Tutucusu 4"/>
          <p:cNvSpPr>
            <a:spLocks noGrp="1"/>
          </p:cNvSpPr>
          <p:nvPr>
            <p:ph type="ftr" sz="quarter" idx="11"/>
          </p:nvPr>
        </p:nvSpPr>
        <p:spPr>
          <a:xfrm>
            <a:off x="4165600" y="6467544"/>
            <a:ext cx="3860800" cy="365760"/>
          </a:xfrm>
        </p:spPr>
        <p:txBody>
          <a:bodyPr/>
          <a:lstStyle>
            <a:lvl1pPr>
              <a:defRPr/>
            </a:lvl1pPr>
          </a:lstStyle>
          <a:p>
            <a:pPr defTabSz="1097280">
              <a:defRPr/>
            </a:pPr>
            <a:endParaRPr lang="en-CA">
              <a:solidFill>
                <a:prstClr val="black"/>
              </a:solidFill>
              <a:ea typeface="ヒラギノ角ゴ Pro W3" pitchFamily="1" charset="-128"/>
            </a:endParaRPr>
          </a:p>
        </p:txBody>
      </p:sp>
      <p:sp>
        <p:nvSpPr>
          <p:cNvPr id="9" name="Slayt Numarası Yer Tutucusu 5"/>
          <p:cNvSpPr>
            <a:spLocks noGrp="1"/>
          </p:cNvSpPr>
          <p:nvPr>
            <p:ph type="sldNum" sz="quarter" idx="12"/>
          </p:nvPr>
        </p:nvSpPr>
        <p:spPr>
          <a:xfrm>
            <a:off x="8496300" y="6467544"/>
            <a:ext cx="2844800" cy="365760"/>
          </a:xfrm>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656892827"/>
      </p:ext>
    </p:extLst>
  </p:cSld>
  <p:clrMapOvr>
    <a:masterClrMapping/>
  </p:clrMapOvr>
  <p:transition spd="slow">
    <p:push dir="u"/>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9603" y="274734"/>
            <a:ext cx="10972800" cy="1143000"/>
          </a:xfrm>
        </p:spPr>
        <p:txBody>
          <a:bodyPr/>
          <a:lstStyle/>
          <a:p>
            <a:r>
              <a:rPr lang="tr-TR"/>
              <a:t>Asıl başlık stili için tıklatın</a:t>
            </a:r>
          </a:p>
        </p:txBody>
      </p:sp>
      <p:sp>
        <p:nvSpPr>
          <p:cNvPr id="3" name="Metin Yer Tutucusu 2"/>
          <p:cNvSpPr>
            <a:spLocks noGrp="1"/>
          </p:cNvSpPr>
          <p:nvPr>
            <p:ph type="body" sz="half" idx="1"/>
          </p:nvPr>
        </p:nvSpPr>
        <p:spPr>
          <a:xfrm>
            <a:off x="609600" y="1600314"/>
            <a:ext cx="5384800" cy="4525963"/>
          </a:xfr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İçerik Yer Tutucusu 3"/>
          <p:cNvSpPr>
            <a:spLocks noGrp="1"/>
          </p:cNvSpPr>
          <p:nvPr>
            <p:ph sz="quarter" idx="2"/>
          </p:nvPr>
        </p:nvSpPr>
        <p:spPr>
          <a:xfrm>
            <a:off x="6197600" y="1600203"/>
            <a:ext cx="5384800" cy="2185988"/>
          </a:xfr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İçerik Yer Tutucusu 4"/>
          <p:cNvSpPr>
            <a:spLocks noGrp="1"/>
          </p:cNvSpPr>
          <p:nvPr>
            <p:ph sz="quarter" idx="3"/>
          </p:nvPr>
        </p:nvSpPr>
        <p:spPr>
          <a:xfrm>
            <a:off x="6197600" y="3939005"/>
            <a:ext cx="5384800" cy="2187575"/>
          </a:xfr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6" name="Veri Yer Tutucusu 3"/>
          <p:cNvSpPr>
            <a:spLocks noGrp="1"/>
          </p:cNvSpPr>
          <p:nvPr>
            <p:ph type="dt" sz="half" idx="10"/>
          </p:nvPr>
        </p:nvSpPr>
        <p:spPr/>
        <p:txBody>
          <a:bodyPr/>
          <a:lstStyle>
            <a:lvl1pPr>
              <a:defRPr/>
            </a:lvl1pPr>
          </a:lstStyle>
          <a:p>
            <a:pPr defTabSz="1097280">
              <a:defRPr/>
            </a:pPr>
            <a:fld id="{E5631685-C015-4681-A6F1-40B2C02177A4}"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7" name="Altbilgi Yer Tutucusu 4"/>
          <p:cNvSpPr>
            <a:spLocks noGrp="1"/>
          </p:cNvSpPr>
          <p:nvPr>
            <p:ph type="ftr" sz="quarter" idx="11"/>
          </p:nvPr>
        </p:nvSpPr>
        <p:spPr/>
        <p:txBody>
          <a:bodyPr/>
          <a:lstStyle>
            <a:lvl1pPr>
              <a:defRPr/>
            </a:lvl1pPr>
          </a:lstStyle>
          <a:p>
            <a:pPr defTabSz="1097280">
              <a:defRPr/>
            </a:pPr>
            <a:endParaRPr lang="en-CA">
              <a:solidFill>
                <a:prstClr val="black"/>
              </a:solidFill>
              <a:ea typeface="ヒラギノ角ゴ Pro W3" pitchFamily="1" charset="-128"/>
            </a:endParaRPr>
          </a:p>
        </p:txBody>
      </p:sp>
      <p:sp>
        <p:nvSpPr>
          <p:cNvPr id="8" name="Slayt Numarası Yer Tutucusu 5"/>
          <p:cNvSpPr>
            <a:spLocks noGrp="1"/>
          </p:cNvSpPr>
          <p:nvPr>
            <p:ph type="sldNum" sz="quarter" idx="12"/>
          </p:nvPr>
        </p:nvSpPr>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413025754"/>
      </p:ext>
    </p:extLst>
  </p:cSld>
  <p:clrMapOvr>
    <a:masterClrMapping/>
  </p:clrMapOvr>
  <p:transition spd="slow">
    <p:push dir="u"/>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aşlık Slaydı">
    <p:spTree>
      <p:nvGrpSpPr>
        <p:cNvPr id="1" name=""/>
        <p:cNvGrpSpPr/>
        <p:nvPr/>
      </p:nvGrpSpPr>
      <p:grpSpPr>
        <a:xfrm>
          <a:off x="0" y="0"/>
          <a:ext cx="0" cy="0"/>
          <a:chOff x="0" y="0"/>
          <a:chExt cx="0" cy="0"/>
        </a:xfrm>
      </p:grpSpPr>
      <p:pic>
        <p:nvPicPr>
          <p:cNvPr id="15" name="Resim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 y="3326845"/>
            <a:ext cx="12192000" cy="3529903"/>
          </a:xfrm>
          <a:prstGeom prst="rect">
            <a:avLst/>
          </a:prstGeom>
        </p:spPr>
      </p:pic>
      <p:sp>
        <p:nvSpPr>
          <p:cNvPr id="2" name="Başlık 1"/>
          <p:cNvSpPr>
            <a:spLocks noGrp="1"/>
          </p:cNvSpPr>
          <p:nvPr>
            <p:ph type="ctrTitle"/>
          </p:nvPr>
        </p:nvSpPr>
        <p:spPr>
          <a:xfrm>
            <a:off x="354409" y="1885685"/>
            <a:ext cx="11618646" cy="786483"/>
          </a:xfrm>
        </p:spPr>
        <p:txBody>
          <a:bodyPr anchor="b">
            <a:normAutofit/>
          </a:bodyPr>
          <a:lstStyle>
            <a:lvl1pPr algn="r">
              <a:defRPr sz="3840">
                <a:latin typeface="Frutiger 95 Ultra Black" pitchFamily="50" charset="0"/>
              </a:defRPr>
            </a:lvl1pPr>
          </a:lstStyle>
          <a:p>
            <a:r>
              <a:rPr lang="tr-TR" dirty="0" smtClean="0"/>
              <a:t>Asıl başlık stili için tıklatın</a:t>
            </a:r>
            <a:endParaRPr lang="tr-TR" dirty="0"/>
          </a:p>
        </p:txBody>
      </p:sp>
      <p:sp>
        <p:nvSpPr>
          <p:cNvPr id="3" name="Alt Başlık 2"/>
          <p:cNvSpPr>
            <a:spLocks noGrp="1"/>
          </p:cNvSpPr>
          <p:nvPr>
            <p:ph type="subTitle" idx="1"/>
          </p:nvPr>
        </p:nvSpPr>
        <p:spPr>
          <a:xfrm>
            <a:off x="355764" y="2637028"/>
            <a:ext cx="11617291" cy="432048"/>
          </a:xfrm>
        </p:spPr>
        <p:txBody>
          <a:bodyPr>
            <a:noAutofit/>
          </a:bodyPr>
          <a:lstStyle>
            <a:lvl1pPr marL="0" indent="0" algn="r">
              <a:buNone/>
              <a:defRPr sz="1920">
                <a:solidFill>
                  <a:schemeClr val="tx1">
                    <a:lumMod val="75000"/>
                    <a:lumOff val="25000"/>
                  </a:schemeClr>
                </a:solidFill>
                <a:latin typeface="Frutiger 45 Light" pitchFamily="50" charset="0"/>
              </a:defRPr>
            </a:lvl1pPr>
            <a:lvl2pPr marL="548651" indent="0" algn="ctr">
              <a:buNone/>
              <a:defRPr>
                <a:solidFill>
                  <a:schemeClr val="tx1">
                    <a:tint val="75000"/>
                  </a:schemeClr>
                </a:solidFill>
              </a:defRPr>
            </a:lvl2pPr>
            <a:lvl3pPr marL="1097302" indent="0" algn="ctr">
              <a:buNone/>
              <a:defRPr>
                <a:solidFill>
                  <a:schemeClr val="tx1">
                    <a:tint val="75000"/>
                  </a:schemeClr>
                </a:solidFill>
              </a:defRPr>
            </a:lvl3pPr>
            <a:lvl4pPr marL="1645953" indent="0" algn="ctr">
              <a:buNone/>
              <a:defRPr>
                <a:solidFill>
                  <a:schemeClr val="tx1">
                    <a:tint val="75000"/>
                  </a:schemeClr>
                </a:solidFill>
              </a:defRPr>
            </a:lvl4pPr>
            <a:lvl5pPr marL="2194603" indent="0" algn="ctr">
              <a:buNone/>
              <a:defRPr>
                <a:solidFill>
                  <a:schemeClr val="tx1">
                    <a:tint val="75000"/>
                  </a:schemeClr>
                </a:solidFill>
              </a:defRPr>
            </a:lvl5pPr>
            <a:lvl6pPr marL="2743255" indent="0" algn="ctr">
              <a:buNone/>
              <a:defRPr>
                <a:solidFill>
                  <a:schemeClr val="tx1">
                    <a:tint val="75000"/>
                  </a:schemeClr>
                </a:solidFill>
              </a:defRPr>
            </a:lvl6pPr>
            <a:lvl7pPr marL="3291905" indent="0" algn="ctr">
              <a:buNone/>
              <a:defRPr>
                <a:solidFill>
                  <a:schemeClr val="tx1">
                    <a:tint val="75000"/>
                  </a:schemeClr>
                </a:solidFill>
              </a:defRPr>
            </a:lvl7pPr>
            <a:lvl8pPr marL="3840556" indent="0" algn="ctr">
              <a:buNone/>
              <a:defRPr>
                <a:solidFill>
                  <a:schemeClr val="tx1">
                    <a:tint val="75000"/>
                  </a:schemeClr>
                </a:solidFill>
              </a:defRPr>
            </a:lvl8pPr>
            <a:lvl9pPr marL="4389207" indent="0" algn="ctr">
              <a:buNone/>
              <a:defRPr>
                <a:solidFill>
                  <a:schemeClr val="tx1">
                    <a:tint val="75000"/>
                  </a:schemeClr>
                </a:solidFill>
              </a:defRPr>
            </a:lvl9pPr>
          </a:lstStyle>
          <a:p>
            <a:r>
              <a:rPr lang="tr-TR" dirty="0" smtClean="0"/>
              <a:t>Asıl alt başlık stilini düzenlemek için tıklatın</a:t>
            </a:r>
            <a:endParaRPr lang="tr-TR" dirty="0"/>
          </a:p>
        </p:txBody>
      </p:sp>
      <p:sp>
        <p:nvSpPr>
          <p:cNvPr id="9" name="Metin Yer Tutucusu 8"/>
          <p:cNvSpPr>
            <a:spLocks noGrp="1"/>
          </p:cNvSpPr>
          <p:nvPr>
            <p:ph type="body" sz="quarter" idx="13" hasCustomPrompt="1"/>
          </p:nvPr>
        </p:nvSpPr>
        <p:spPr>
          <a:xfrm>
            <a:off x="6094024" y="3417571"/>
            <a:ext cx="5868152" cy="346323"/>
          </a:xfrm>
        </p:spPr>
        <p:txBody>
          <a:bodyPr>
            <a:noAutofit/>
          </a:bodyPr>
          <a:lstStyle>
            <a:lvl1pPr marL="0" indent="0" algn="r">
              <a:buNone/>
              <a:defRPr sz="1680">
                <a:solidFill>
                  <a:schemeClr val="bg1"/>
                </a:solidFill>
                <a:latin typeface="Frutiger 45 Light" pitchFamily="50" charset="0"/>
              </a:defRPr>
            </a:lvl1pPr>
          </a:lstStyle>
          <a:p>
            <a:pPr lvl="0"/>
            <a:r>
              <a:rPr lang="tr-TR" dirty="0" smtClean="0"/>
              <a:t>Tarih/Yer</a:t>
            </a:r>
            <a:endParaRPr lang="tr-TR" dirty="0"/>
          </a:p>
        </p:txBody>
      </p:sp>
      <p:sp>
        <p:nvSpPr>
          <p:cNvPr id="11" name="Metin Yer Tutucusu 10"/>
          <p:cNvSpPr>
            <a:spLocks noGrp="1"/>
          </p:cNvSpPr>
          <p:nvPr>
            <p:ph type="body" sz="quarter" idx="14" hasCustomPrompt="1"/>
          </p:nvPr>
        </p:nvSpPr>
        <p:spPr>
          <a:xfrm>
            <a:off x="6096090" y="436688"/>
            <a:ext cx="5856728" cy="1036320"/>
          </a:xfrm>
        </p:spPr>
        <p:txBody>
          <a:bodyPr>
            <a:normAutofit/>
          </a:bodyPr>
          <a:lstStyle>
            <a:lvl1pPr marL="0" indent="0" algn="r">
              <a:lnSpc>
                <a:spcPct val="100000"/>
              </a:lnSpc>
              <a:spcBef>
                <a:spcPts val="0"/>
              </a:spcBef>
              <a:spcAft>
                <a:spcPts val="1200"/>
              </a:spcAft>
              <a:buNone/>
              <a:defRPr sz="1260">
                <a:latin typeface="Frutiger 45 Light" pitchFamily="50" charset="0"/>
              </a:defRPr>
            </a:lvl1pPr>
          </a:lstStyle>
          <a:p>
            <a:pPr lvl="0"/>
            <a:r>
              <a:rPr lang="tr-TR" dirty="0" smtClean="0"/>
              <a:t>Hazırlayan Bölüm/Departman Adı</a:t>
            </a:r>
          </a:p>
          <a:p>
            <a:pPr lvl="0"/>
            <a:r>
              <a:rPr lang="tr-TR" dirty="0" smtClean="0"/>
              <a:t>Hazırlayan Kişi Ad </a:t>
            </a:r>
            <a:r>
              <a:rPr lang="tr-TR" dirty="0" err="1" smtClean="0"/>
              <a:t>Soyad</a:t>
            </a:r>
            <a:endParaRPr lang="tr-TR" dirty="0" smtClean="0"/>
          </a:p>
          <a:p>
            <a:pPr lvl="0"/>
            <a:r>
              <a:rPr lang="tr-TR" dirty="0" smtClean="0"/>
              <a:t>Hazırlayan Kişi Unvan</a:t>
            </a:r>
            <a:endParaRPr lang="tr-TR" dirty="0"/>
          </a:p>
        </p:txBody>
      </p:sp>
      <p:pic>
        <p:nvPicPr>
          <p:cNvPr id="12" name="Resim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4994" y="261105"/>
            <a:ext cx="1942173" cy="1148034"/>
          </a:xfrm>
          <a:prstGeom prst="rect">
            <a:avLst/>
          </a:prstGeom>
        </p:spPr>
      </p:pic>
      <p:pic>
        <p:nvPicPr>
          <p:cNvPr id="14" name="Resim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77" y="1631542"/>
            <a:ext cx="12192000" cy="191497"/>
          </a:xfrm>
          <a:prstGeom prst="rect">
            <a:avLst/>
          </a:prstGeom>
        </p:spPr>
      </p:pic>
      <p:sp>
        <p:nvSpPr>
          <p:cNvPr id="16" name="Metin kutusu 15"/>
          <p:cNvSpPr txBox="1"/>
          <p:nvPr userDrawn="1"/>
        </p:nvSpPr>
        <p:spPr>
          <a:xfrm>
            <a:off x="264749" y="6475434"/>
            <a:ext cx="4199072" cy="685804"/>
          </a:xfrm>
          <a:prstGeom prst="rect">
            <a:avLst/>
          </a:prstGeom>
          <a:noFill/>
        </p:spPr>
        <p:txBody>
          <a:bodyPr wrap="square" rtlCol="0">
            <a:spAutoFit/>
          </a:bodyPr>
          <a:lstStyle/>
          <a:p>
            <a:pPr marL="0" marR="0" lvl="0" indent="0" algn="l" defTabSz="1097302" rtl="0" eaLnBrk="1" fontAlgn="auto" latinLnBrk="0" hangingPunct="1">
              <a:lnSpc>
                <a:spcPct val="100000"/>
              </a:lnSpc>
              <a:spcBef>
                <a:spcPts val="0"/>
              </a:spcBef>
              <a:spcAft>
                <a:spcPts val="0"/>
              </a:spcAft>
              <a:buClrTx/>
              <a:buSzTx/>
              <a:buFontTx/>
              <a:buNone/>
              <a:tabLst/>
              <a:defRPr/>
            </a:pPr>
            <a:r>
              <a:rPr kumimoji="0" lang="tr-TR" sz="1920" b="0" i="0" u="none" strike="noStrike" kern="1200" cap="none" spc="0" normalizeH="0" baseline="0" noProof="0" dirty="0" smtClean="0">
                <a:ln>
                  <a:noFill/>
                </a:ln>
                <a:solidFill>
                  <a:prstClr val="white"/>
                </a:solidFill>
                <a:effectLst/>
                <a:uLnTx/>
                <a:uFillTx/>
                <a:latin typeface="Frutiger 45 Light" pitchFamily="50" charset="0"/>
                <a:ea typeface="ヒラギノ角ゴ Pro W3" pitchFamily="1" charset="-128"/>
                <a:cs typeface="+mn-cs"/>
              </a:rPr>
              <a:t>KOBİLER BÜYÜR TÜRKİYE BÜYÜR!</a:t>
            </a:r>
            <a:endParaRPr kumimoji="0" lang="tr-TR" sz="1920" b="0" i="0" u="none" strike="noStrike" kern="1200" cap="none" spc="0" normalizeH="0" baseline="0" noProof="0" dirty="0">
              <a:ln>
                <a:noFill/>
              </a:ln>
              <a:solidFill>
                <a:prstClr val="white"/>
              </a:solidFill>
              <a:effectLst/>
              <a:uLnTx/>
              <a:uFillTx/>
              <a:latin typeface="Frutiger 45 Light" pitchFamily="50" charset="0"/>
              <a:ea typeface="ヒラギノ角ゴ Pro W3" pitchFamily="1" charset="-128"/>
              <a:cs typeface="+mn-cs"/>
            </a:endParaRPr>
          </a:p>
        </p:txBody>
      </p:sp>
    </p:spTree>
    <p:extLst>
      <p:ext uri="{BB962C8B-B14F-4D97-AF65-F5344CB8AC3E}">
        <p14:creationId xmlns:p14="http://schemas.microsoft.com/office/powerpoint/2010/main" val="1849879116"/>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502"/>
            <a:ext cx="10363200" cy="1470024"/>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0" y="3886231"/>
            <a:ext cx="8534400" cy="1752600"/>
          </a:xfrm>
        </p:spPr>
        <p:txBody>
          <a:bodyPr/>
          <a:lstStyle>
            <a:lvl1pPr marL="0" indent="0" algn="ctr">
              <a:buNone/>
              <a:defRPr>
                <a:solidFill>
                  <a:schemeClr val="tx1">
                    <a:tint val="75000"/>
                  </a:schemeClr>
                </a:solidFill>
              </a:defRPr>
            </a:lvl1pPr>
            <a:lvl2pPr marL="458747" indent="0" algn="ctr">
              <a:buNone/>
              <a:defRPr>
                <a:solidFill>
                  <a:schemeClr val="tx1">
                    <a:tint val="75000"/>
                  </a:schemeClr>
                </a:solidFill>
              </a:defRPr>
            </a:lvl2pPr>
            <a:lvl3pPr marL="917496" indent="0" algn="ctr">
              <a:buNone/>
              <a:defRPr>
                <a:solidFill>
                  <a:schemeClr val="tx1">
                    <a:tint val="75000"/>
                  </a:schemeClr>
                </a:solidFill>
              </a:defRPr>
            </a:lvl3pPr>
            <a:lvl4pPr marL="1376244" indent="0" algn="ctr">
              <a:buNone/>
              <a:defRPr>
                <a:solidFill>
                  <a:schemeClr val="tx1">
                    <a:tint val="75000"/>
                  </a:schemeClr>
                </a:solidFill>
              </a:defRPr>
            </a:lvl4pPr>
            <a:lvl5pPr marL="1834991" indent="0" algn="ctr">
              <a:buNone/>
              <a:defRPr>
                <a:solidFill>
                  <a:schemeClr val="tx1">
                    <a:tint val="75000"/>
                  </a:schemeClr>
                </a:solidFill>
              </a:defRPr>
            </a:lvl5pPr>
            <a:lvl6pPr marL="2293740" indent="0" algn="ctr">
              <a:buNone/>
              <a:defRPr>
                <a:solidFill>
                  <a:schemeClr val="tx1">
                    <a:tint val="75000"/>
                  </a:schemeClr>
                </a:solidFill>
              </a:defRPr>
            </a:lvl6pPr>
            <a:lvl7pPr marL="2752490" indent="0" algn="ctr">
              <a:buNone/>
              <a:defRPr>
                <a:solidFill>
                  <a:schemeClr val="tx1">
                    <a:tint val="75000"/>
                  </a:schemeClr>
                </a:solidFill>
              </a:defRPr>
            </a:lvl7pPr>
            <a:lvl8pPr marL="3211236" indent="0" algn="ctr">
              <a:buNone/>
              <a:defRPr>
                <a:solidFill>
                  <a:schemeClr val="tx1">
                    <a:tint val="75000"/>
                  </a:schemeClr>
                </a:solidFill>
              </a:defRPr>
            </a:lvl8pPr>
            <a:lvl9pPr marL="3669984"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defTabSz="917783" fontAlgn="base">
              <a:spcBef>
                <a:spcPct val="0"/>
              </a:spcBef>
              <a:spcAft>
                <a:spcPct val="0"/>
              </a:spcAft>
              <a:defRPr/>
            </a:pPr>
            <a:fld id="{75C66CF3-F179-470A-849E-9BE93935F6C0}"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402274537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9" name="Resim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2" name="Resim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80517"/>
            <a:ext cx="12202508" cy="191497"/>
          </a:xfrm>
          <a:prstGeom prst="rect">
            <a:avLst/>
          </a:prstGeom>
        </p:spPr>
      </p:pic>
      <p:pic>
        <p:nvPicPr>
          <p:cNvPr id="13" name="Resim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60331" y="301113"/>
            <a:ext cx="1224664" cy="723908"/>
          </a:xfrm>
          <a:prstGeom prst="rect">
            <a:avLst/>
          </a:prstGeom>
        </p:spPr>
      </p:pic>
      <p:sp>
        <p:nvSpPr>
          <p:cNvPr id="2" name="Başlık 1"/>
          <p:cNvSpPr>
            <a:spLocks noGrp="1"/>
          </p:cNvSpPr>
          <p:nvPr userDrawn="1">
            <p:ph type="title"/>
          </p:nvPr>
        </p:nvSpPr>
        <p:spPr>
          <a:xfrm>
            <a:off x="1760638" y="675323"/>
            <a:ext cx="9615949" cy="1143000"/>
          </a:xfrm>
        </p:spPr>
        <p:txBody>
          <a:bodyPr anchor="b">
            <a:normAutofit/>
          </a:bodyPr>
          <a:lstStyle>
            <a:lvl1pPr algn="l">
              <a:defRPr sz="2880"/>
            </a:lvl1pPr>
          </a:lstStyle>
          <a:p>
            <a:r>
              <a:rPr lang="tr-TR" dirty="0" smtClean="0"/>
              <a:t>Asıl başlık stili için tıklatın</a:t>
            </a:r>
            <a:endParaRPr lang="tr-TR" dirty="0"/>
          </a:p>
        </p:txBody>
      </p:sp>
      <p:sp>
        <p:nvSpPr>
          <p:cNvPr id="3" name="İçerik Yer Tutucusu 2"/>
          <p:cNvSpPr>
            <a:spLocks noGrp="1"/>
          </p:cNvSpPr>
          <p:nvPr userDrawn="1">
            <p:ph idx="1"/>
          </p:nvPr>
        </p:nvSpPr>
        <p:spPr>
          <a:xfrm>
            <a:off x="1871530" y="1903096"/>
            <a:ext cx="9505056" cy="3989071"/>
          </a:xfrm>
        </p:spPr>
        <p:txBody>
          <a:bodyPr>
            <a:normAutofit/>
          </a:bodyPr>
          <a:lstStyle>
            <a:lvl1pPr>
              <a:defRPr sz="2160"/>
            </a:lvl1pPr>
            <a:lvl2pPr>
              <a:defRPr sz="2160"/>
            </a:lvl2pPr>
            <a:lvl3pPr>
              <a:defRPr sz="2160"/>
            </a:lvl3pPr>
            <a:lvl4pPr>
              <a:defRPr sz="2160"/>
            </a:lvl4pPr>
            <a:lvl5pPr>
              <a:defRPr sz="2160"/>
            </a:lvl5pPr>
          </a:lstStyle>
          <a:p>
            <a:pPr lvl="0"/>
            <a:r>
              <a:rPr lang="tr-TR" dirty="0" smtClean="0"/>
              <a:t>Asıl metin stillerini düzenlemek için tıklatın</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4" name="Veri Yer Tutucusu 3"/>
          <p:cNvSpPr>
            <a:spLocks noGrp="1"/>
          </p:cNvSpPr>
          <p:nvPr userDrawn="1">
            <p:ph type="dt" sz="half" idx="10"/>
          </p:nvPr>
        </p:nvSpPr>
        <p:spPr>
          <a:xfrm>
            <a:off x="850933" y="6480198"/>
            <a:ext cx="2844800" cy="365125"/>
          </a:xfrm>
        </p:spPr>
        <p:txBody>
          <a:bodyPr/>
          <a:lstStyle/>
          <a:p>
            <a:pPr defTabSz="1097302"/>
            <a:endParaRPr lang="tr-TR" dirty="0">
              <a:solidFill>
                <a:prstClr val="black"/>
              </a:solidFill>
              <a:ea typeface="ヒラギノ角ゴ Pro W3" pitchFamily="1" charset="-128"/>
            </a:endParaRPr>
          </a:p>
        </p:txBody>
      </p:sp>
      <p:sp>
        <p:nvSpPr>
          <p:cNvPr id="5" name="Altbilgi Yer Tutucusu 4"/>
          <p:cNvSpPr>
            <a:spLocks noGrp="1"/>
          </p:cNvSpPr>
          <p:nvPr userDrawn="1">
            <p:ph type="ftr" sz="quarter" idx="11"/>
          </p:nvPr>
        </p:nvSpPr>
        <p:spPr>
          <a:xfrm>
            <a:off x="4165600" y="6480198"/>
            <a:ext cx="3860800" cy="365125"/>
          </a:xfrm>
        </p:spPr>
        <p:txBody>
          <a:bodyPr/>
          <a:lstStyle/>
          <a:p>
            <a:pPr defTabSz="1097302"/>
            <a:endParaRPr lang="tr-TR">
              <a:solidFill>
                <a:prstClr val="black"/>
              </a:solidFill>
              <a:ea typeface="ヒラギノ角ゴ Pro W3" pitchFamily="1" charset="-128"/>
            </a:endParaRPr>
          </a:p>
        </p:txBody>
      </p:sp>
      <p:sp>
        <p:nvSpPr>
          <p:cNvPr id="6" name="Slayt Numarası Yer Tutucusu 5"/>
          <p:cNvSpPr>
            <a:spLocks noGrp="1"/>
          </p:cNvSpPr>
          <p:nvPr userDrawn="1">
            <p:ph type="sldNum" sz="quarter" idx="12"/>
          </p:nvPr>
        </p:nvSpPr>
        <p:spPr>
          <a:xfrm>
            <a:off x="8496267" y="6480198"/>
            <a:ext cx="2844800" cy="365125"/>
          </a:xfrm>
        </p:spPr>
        <p:txBody>
          <a:bodyPr/>
          <a:lstStyle/>
          <a:p>
            <a:pPr defTabSz="1097302"/>
            <a:fld id="{7C1868C5-B491-42BF-9F5C-46095BC3F40A}" type="slidenum">
              <a:rPr lang="tr-TR" smtClean="0">
                <a:solidFill>
                  <a:prstClr val="black"/>
                </a:solidFill>
                <a:ea typeface="ヒラギノ角ゴ Pro W3" pitchFamily="1" charset="-128"/>
              </a:rPr>
              <a:pPr defTabSz="1097302"/>
              <a:t>‹#›</a:t>
            </a:fld>
            <a:endParaRPr lang="tr-TR" dirty="0">
              <a:solidFill>
                <a:prstClr val="black"/>
              </a:solidFill>
              <a:ea typeface="ヒラギノ角ゴ Pro W3" pitchFamily="1" charset="-128"/>
            </a:endParaRPr>
          </a:p>
        </p:txBody>
      </p:sp>
    </p:spTree>
    <p:extLst>
      <p:ext uri="{BB962C8B-B14F-4D97-AF65-F5344CB8AC3E}">
        <p14:creationId xmlns:p14="http://schemas.microsoft.com/office/powerpoint/2010/main" val="3475905897"/>
      </p:ext>
    </p:extLst>
  </p:cSld>
  <p:clrMapOvr>
    <a:masterClrMapping/>
  </p:clrMapOvr>
  <p:transition spd="slow">
    <p:push dir="u"/>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ölüm Üstbilgisi">
    <p:spTree>
      <p:nvGrpSpPr>
        <p:cNvPr id="1" name=""/>
        <p:cNvGrpSpPr/>
        <p:nvPr/>
      </p:nvGrpSpPr>
      <p:grpSpPr>
        <a:xfrm>
          <a:off x="0" y="0"/>
          <a:ext cx="0" cy="0"/>
          <a:chOff x="0" y="0"/>
          <a:chExt cx="0" cy="0"/>
        </a:xfrm>
      </p:grpSpPr>
      <p:pic>
        <p:nvPicPr>
          <p:cNvPr id="9" name="Resim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6" y="0"/>
            <a:ext cx="12189569" cy="6858000"/>
          </a:xfrm>
          <a:prstGeom prst="rect">
            <a:avLst/>
          </a:prstGeom>
        </p:spPr>
      </p:pic>
      <p:sp>
        <p:nvSpPr>
          <p:cNvPr id="11" name="Resim Yer Tutucusu 10"/>
          <p:cNvSpPr>
            <a:spLocks noGrp="1"/>
          </p:cNvSpPr>
          <p:nvPr>
            <p:ph type="pic" sz="quarter" idx="13"/>
          </p:nvPr>
        </p:nvSpPr>
        <p:spPr>
          <a:xfrm>
            <a:off x="7160685" y="0"/>
            <a:ext cx="5031316" cy="6858000"/>
          </a:xfrm>
          <a:noFill/>
          <a:ln>
            <a:noFill/>
          </a:ln>
        </p:spPr>
        <p:txBody>
          <a:bodyPr/>
          <a:lstStyle/>
          <a:p>
            <a:endParaRPr lang="tr-TR"/>
          </a:p>
        </p:txBody>
      </p:sp>
      <p:sp>
        <p:nvSpPr>
          <p:cNvPr id="2" name="Başlık 1"/>
          <p:cNvSpPr>
            <a:spLocks noGrp="1"/>
          </p:cNvSpPr>
          <p:nvPr>
            <p:ph type="title"/>
          </p:nvPr>
        </p:nvSpPr>
        <p:spPr>
          <a:xfrm>
            <a:off x="153781" y="2219267"/>
            <a:ext cx="6825767" cy="1123324"/>
          </a:xfrm>
        </p:spPr>
        <p:txBody>
          <a:bodyPr anchor="b">
            <a:normAutofit/>
          </a:bodyPr>
          <a:lstStyle>
            <a:lvl1pPr algn="r">
              <a:defRPr sz="2880" b="1" cap="none" baseline="0">
                <a:latin typeface="Frutiger 95 Ultra Black" pitchFamily="50" charset="0"/>
              </a:defRPr>
            </a:lvl1pPr>
          </a:lstStyle>
          <a:p>
            <a:r>
              <a:rPr lang="tr-TR" dirty="0" smtClean="0"/>
              <a:t>Asıl başlık stili için tıklatın</a:t>
            </a:r>
            <a:endParaRPr lang="tr-TR" dirty="0"/>
          </a:p>
        </p:txBody>
      </p:sp>
      <p:sp>
        <p:nvSpPr>
          <p:cNvPr id="3" name="Metin Yer Tutucusu 2"/>
          <p:cNvSpPr>
            <a:spLocks noGrp="1"/>
          </p:cNvSpPr>
          <p:nvPr>
            <p:ph type="body" idx="1"/>
          </p:nvPr>
        </p:nvSpPr>
        <p:spPr>
          <a:xfrm>
            <a:off x="143338" y="3285435"/>
            <a:ext cx="6836208" cy="1142033"/>
          </a:xfrm>
        </p:spPr>
        <p:txBody>
          <a:bodyPr anchor="t">
            <a:normAutofit/>
          </a:bodyPr>
          <a:lstStyle>
            <a:lvl1pPr marL="0" indent="0" algn="r">
              <a:spcBef>
                <a:spcPts val="0"/>
              </a:spcBef>
              <a:spcAft>
                <a:spcPts val="0"/>
              </a:spcAft>
              <a:buNone/>
              <a:defRPr sz="2160">
                <a:solidFill>
                  <a:schemeClr val="tx1">
                    <a:lumMod val="75000"/>
                    <a:lumOff val="25000"/>
                  </a:schemeClr>
                </a:solidFill>
                <a:latin typeface="Frutiger 45 Light" pitchFamily="50" charset="0"/>
              </a:defRPr>
            </a:lvl1pPr>
            <a:lvl2pPr marL="548651" indent="0">
              <a:buNone/>
              <a:defRPr sz="2160">
                <a:solidFill>
                  <a:schemeClr val="tx1">
                    <a:tint val="75000"/>
                  </a:schemeClr>
                </a:solidFill>
              </a:defRPr>
            </a:lvl2pPr>
            <a:lvl3pPr marL="1097302" indent="0">
              <a:buNone/>
              <a:defRPr sz="1920">
                <a:solidFill>
                  <a:schemeClr val="tx1">
                    <a:tint val="75000"/>
                  </a:schemeClr>
                </a:solidFill>
              </a:defRPr>
            </a:lvl3pPr>
            <a:lvl4pPr marL="1645953" indent="0">
              <a:buNone/>
              <a:defRPr sz="1680">
                <a:solidFill>
                  <a:schemeClr val="tx1">
                    <a:tint val="75000"/>
                  </a:schemeClr>
                </a:solidFill>
              </a:defRPr>
            </a:lvl4pPr>
            <a:lvl5pPr marL="2194603" indent="0">
              <a:buNone/>
              <a:defRPr sz="1680">
                <a:solidFill>
                  <a:schemeClr val="tx1">
                    <a:tint val="75000"/>
                  </a:schemeClr>
                </a:solidFill>
              </a:defRPr>
            </a:lvl5pPr>
            <a:lvl6pPr marL="2743255" indent="0">
              <a:buNone/>
              <a:defRPr sz="1680">
                <a:solidFill>
                  <a:schemeClr val="tx1">
                    <a:tint val="75000"/>
                  </a:schemeClr>
                </a:solidFill>
              </a:defRPr>
            </a:lvl6pPr>
            <a:lvl7pPr marL="3291905" indent="0">
              <a:buNone/>
              <a:defRPr sz="1680">
                <a:solidFill>
                  <a:schemeClr val="tx1">
                    <a:tint val="75000"/>
                  </a:schemeClr>
                </a:solidFill>
              </a:defRPr>
            </a:lvl7pPr>
            <a:lvl8pPr marL="3840556" indent="0">
              <a:buNone/>
              <a:defRPr sz="1680">
                <a:solidFill>
                  <a:schemeClr val="tx1">
                    <a:tint val="75000"/>
                  </a:schemeClr>
                </a:solidFill>
              </a:defRPr>
            </a:lvl8pPr>
            <a:lvl9pPr marL="4389207" indent="0">
              <a:buNone/>
              <a:defRPr sz="1680">
                <a:solidFill>
                  <a:schemeClr val="tx1">
                    <a:tint val="75000"/>
                  </a:schemeClr>
                </a:solidFill>
              </a:defRPr>
            </a:lvl9pPr>
          </a:lstStyle>
          <a:p>
            <a:pPr lvl="0"/>
            <a:r>
              <a:rPr lang="tr-TR" dirty="0" smtClean="0"/>
              <a:t>Asıl metin stillerini düzenlemek için tıklatın</a:t>
            </a:r>
          </a:p>
        </p:txBody>
      </p:sp>
      <p:pic>
        <p:nvPicPr>
          <p:cNvPr id="12" name="Resim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80517"/>
            <a:ext cx="12202508" cy="191497"/>
          </a:xfrm>
          <a:prstGeom prst="rect">
            <a:avLst/>
          </a:prstGeom>
        </p:spPr>
      </p:pic>
      <p:pic>
        <p:nvPicPr>
          <p:cNvPr id="13" name="Resim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60331" y="301113"/>
            <a:ext cx="1224664" cy="723908"/>
          </a:xfrm>
          <a:prstGeom prst="rect">
            <a:avLst/>
          </a:prstGeom>
        </p:spPr>
      </p:pic>
      <p:sp>
        <p:nvSpPr>
          <p:cNvPr id="14" name="Veri Yer Tutucusu 3"/>
          <p:cNvSpPr>
            <a:spLocks noGrp="1"/>
          </p:cNvSpPr>
          <p:nvPr>
            <p:ph type="dt" sz="half" idx="10"/>
          </p:nvPr>
        </p:nvSpPr>
        <p:spPr>
          <a:xfrm>
            <a:off x="850933" y="6480198"/>
            <a:ext cx="2844800" cy="365125"/>
          </a:xfrm>
        </p:spPr>
        <p:txBody>
          <a:bodyPr/>
          <a:lstStyle/>
          <a:p>
            <a:pPr defTabSz="1097302"/>
            <a:endParaRPr lang="tr-TR" dirty="0">
              <a:solidFill>
                <a:prstClr val="black"/>
              </a:solidFill>
              <a:ea typeface="ヒラギノ角ゴ Pro W3" pitchFamily="1" charset="-128"/>
            </a:endParaRPr>
          </a:p>
        </p:txBody>
      </p:sp>
      <p:sp>
        <p:nvSpPr>
          <p:cNvPr id="15" name="Altbilgi Yer Tutucusu 4"/>
          <p:cNvSpPr>
            <a:spLocks noGrp="1"/>
          </p:cNvSpPr>
          <p:nvPr>
            <p:ph type="ftr" sz="quarter" idx="11"/>
          </p:nvPr>
        </p:nvSpPr>
        <p:spPr>
          <a:xfrm>
            <a:off x="4165600" y="6480198"/>
            <a:ext cx="3860800" cy="365125"/>
          </a:xfrm>
        </p:spPr>
        <p:txBody>
          <a:bodyPr/>
          <a:lstStyle/>
          <a:p>
            <a:pPr defTabSz="1097302"/>
            <a:endParaRPr lang="tr-TR">
              <a:solidFill>
                <a:prstClr val="black"/>
              </a:solidFill>
              <a:ea typeface="ヒラギノ角ゴ Pro W3" pitchFamily="1" charset="-128"/>
            </a:endParaRPr>
          </a:p>
        </p:txBody>
      </p:sp>
      <p:sp>
        <p:nvSpPr>
          <p:cNvPr id="16" name="Slayt Numarası Yer Tutucusu 5"/>
          <p:cNvSpPr>
            <a:spLocks noGrp="1"/>
          </p:cNvSpPr>
          <p:nvPr>
            <p:ph type="sldNum" sz="quarter" idx="12"/>
          </p:nvPr>
        </p:nvSpPr>
        <p:spPr>
          <a:xfrm>
            <a:off x="8496267" y="6480198"/>
            <a:ext cx="2844800" cy="365125"/>
          </a:xfrm>
        </p:spPr>
        <p:txBody>
          <a:bodyPr/>
          <a:lstStyle/>
          <a:p>
            <a:pPr defTabSz="1097302"/>
            <a:fld id="{7C1868C5-B491-42BF-9F5C-46095BC3F40A}" type="slidenum">
              <a:rPr lang="tr-TR" smtClean="0">
                <a:solidFill>
                  <a:prstClr val="black"/>
                </a:solidFill>
                <a:ea typeface="ヒラギノ角ゴ Pro W3" pitchFamily="1" charset="-128"/>
              </a:rPr>
              <a:pPr defTabSz="1097302"/>
              <a:t>‹#›</a:t>
            </a:fld>
            <a:endParaRPr lang="tr-TR" dirty="0">
              <a:solidFill>
                <a:prstClr val="black"/>
              </a:solidFill>
              <a:ea typeface="ヒラギノ角ゴ Pro W3" pitchFamily="1" charset="-128"/>
            </a:endParaRPr>
          </a:p>
        </p:txBody>
      </p:sp>
    </p:spTree>
    <p:extLst>
      <p:ext uri="{BB962C8B-B14F-4D97-AF65-F5344CB8AC3E}">
        <p14:creationId xmlns:p14="http://schemas.microsoft.com/office/powerpoint/2010/main" val="1149055087"/>
      </p:ext>
    </p:extLst>
  </p:cSld>
  <p:clrMapOvr>
    <a:masterClrMapping/>
  </p:clrMapOvr>
  <p:transition spd="slow">
    <p:push dir="u"/>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ki İçerik">
    <p:spTree>
      <p:nvGrpSpPr>
        <p:cNvPr id="1" name=""/>
        <p:cNvGrpSpPr/>
        <p:nvPr/>
      </p:nvGrpSpPr>
      <p:grpSpPr>
        <a:xfrm>
          <a:off x="0" y="0"/>
          <a:ext cx="0" cy="0"/>
          <a:chOff x="0" y="0"/>
          <a:chExt cx="0" cy="0"/>
        </a:xfrm>
      </p:grpSpPr>
      <p:grpSp>
        <p:nvGrpSpPr>
          <p:cNvPr id="10" name="Grup 9"/>
          <p:cNvGrpSpPr/>
          <p:nvPr userDrawn="1"/>
        </p:nvGrpSpPr>
        <p:grpSpPr>
          <a:xfrm>
            <a:off x="1" y="0"/>
            <a:ext cx="12202508" cy="6858000"/>
            <a:chOff x="0" y="0"/>
            <a:chExt cx="9151881" cy="5715000"/>
          </a:xfrm>
        </p:grpSpPr>
        <p:pic>
          <p:nvPicPr>
            <p:cNvPr id="11" name="Resim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715000"/>
            </a:xfrm>
            <a:prstGeom prst="rect">
              <a:avLst/>
            </a:prstGeom>
          </p:spPr>
        </p:pic>
        <p:pic>
          <p:nvPicPr>
            <p:cNvPr id="12" name="Resim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0" y="5233764"/>
              <a:ext cx="9151881" cy="159581"/>
            </a:xfrm>
            <a:prstGeom prst="rect">
              <a:avLst/>
            </a:prstGeom>
          </p:spPr>
        </p:pic>
        <p:pic>
          <p:nvPicPr>
            <p:cNvPr id="13" name="Resim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70248" y="250926"/>
              <a:ext cx="918498" cy="603257"/>
            </a:xfrm>
            <a:prstGeom prst="rect">
              <a:avLst/>
            </a:prstGeom>
          </p:spPr>
        </p:pic>
      </p:grpSp>
      <p:sp>
        <p:nvSpPr>
          <p:cNvPr id="3" name="İçerik Yer Tutucusu 2"/>
          <p:cNvSpPr>
            <a:spLocks noGrp="1"/>
          </p:cNvSpPr>
          <p:nvPr>
            <p:ph sz="half" idx="1"/>
          </p:nvPr>
        </p:nvSpPr>
        <p:spPr>
          <a:xfrm>
            <a:off x="1871531" y="1873627"/>
            <a:ext cx="4704523" cy="4252536"/>
          </a:xfrm>
        </p:spPr>
        <p:txBody>
          <a:bodyPr>
            <a:normAutofit/>
          </a:bodyPr>
          <a:lstStyle>
            <a:lvl1pPr>
              <a:defRPr sz="2160"/>
            </a:lvl1pPr>
            <a:lvl2pPr>
              <a:defRPr sz="2160"/>
            </a:lvl2pPr>
            <a:lvl3pPr>
              <a:defRPr sz="2160"/>
            </a:lvl3pPr>
            <a:lvl4pPr>
              <a:defRPr sz="2160"/>
            </a:lvl4pPr>
            <a:lvl5pPr>
              <a:defRPr sz="2160"/>
            </a:lvl5pPr>
            <a:lvl6pPr>
              <a:defRPr sz="2160"/>
            </a:lvl6pPr>
            <a:lvl7pPr>
              <a:defRPr sz="2160"/>
            </a:lvl7pPr>
            <a:lvl8pPr>
              <a:defRPr sz="2160"/>
            </a:lvl8pPr>
            <a:lvl9pPr>
              <a:defRPr sz="2160"/>
            </a:lvl9pPr>
          </a:lstStyle>
          <a:p>
            <a:pPr lvl="0"/>
            <a:r>
              <a:rPr lang="tr-TR" dirty="0" smtClean="0"/>
              <a:t>Asıl metin stillerini düzenlemek için tıklatın</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4" name="İçerik Yer Tutucusu 3"/>
          <p:cNvSpPr>
            <a:spLocks noGrp="1"/>
          </p:cNvSpPr>
          <p:nvPr>
            <p:ph sz="half" idx="2"/>
          </p:nvPr>
        </p:nvSpPr>
        <p:spPr>
          <a:xfrm>
            <a:off x="6768074" y="1873627"/>
            <a:ext cx="4608512" cy="4252536"/>
          </a:xfrm>
        </p:spPr>
        <p:txBody>
          <a:bodyPr>
            <a:normAutofit/>
          </a:bodyPr>
          <a:lstStyle>
            <a:lvl1pPr>
              <a:defRPr sz="2160"/>
            </a:lvl1pPr>
            <a:lvl2pPr>
              <a:defRPr sz="2160"/>
            </a:lvl2pPr>
            <a:lvl3pPr>
              <a:defRPr sz="2160"/>
            </a:lvl3pPr>
            <a:lvl4pPr>
              <a:defRPr sz="2160"/>
            </a:lvl4pPr>
            <a:lvl5pPr>
              <a:defRPr sz="2160"/>
            </a:lvl5pPr>
            <a:lvl6pPr>
              <a:defRPr sz="2160"/>
            </a:lvl6pPr>
            <a:lvl7pPr>
              <a:defRPr sz="2160"/>
            </a:lvl7pPr>
            <a:lvl8pPr>
              <a:defRPr sz="2160"/>
            </a:lvl8pPr>
            <a:lvl9pPr>
              <a:defRPr sz="2160"/>
            </a:lvl9pPr>
          </a:lstStyle>
          <a:p>
            <a:pPr lvl="0"/>
            <a:r>
              <a:rPr lang="tr-TR" dirty="0" smtClean="0"/>
              <a:t>Asıl metin stillerini düzenlemek için tıklatın</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14" name="Başlık 1"/>
          <p:cNvSpPr>
            <a:spLocks noGrp="1"/>
          </p:cNvSpPr>
          <p:nvPr>
            <p:ph type="title"/>
          </p:nvPr>
        </p:nvSpPr>
        <p:spPr>
          <a:xfrm>
            <a:off x="1760638" y="675323"/>
            <a:ext cx="9615949" cy="1143000"/>
          </a:xfrm>
        </p:spPr>
        <p:txBody>
          <a:bodyPr anchor="b">
            <a:normAutofit/>
          </a:bodyPr>
          <a:lstStyle>
            <a:lvl1pPr algn="l">
              <a:defRPr sz="2880"/>
            </a:lvl1pPr>
          </a:lstStyle>
          <a:p>
            <a:r>
              <a:rPr lang="tr-TR" dirty="0" smtClean="0"/>
              <a:t>Asıl başlık stili için tıklatın</a:t>
            </a:r>
            <a:endParaRPr lang="tr-TR" dirty="0"/>
          </a:p>
        </p:txBody>
      </p:sp>
      <p:sp>
        <p:nvSpPr>
          <p:cNvPr id="18" name="Veri Yer Tutucusu 3"/>
          <p:cNvSpPr>
            <a:spLocks noGrp="1"/>
          </p:cNvSpPr>
          <p:nvPr>
            <p:ph type="dt" sz="half" idx="10"/>
          </p:nvPr>
        </p:nvSpPr>
        <p:spPr>
          <a:xfrm>
            <a:off x="850933" y="6480198"/>
            <a:ext cx="2844800" cy="365125"/>
          </a:xfrm>
        </p:spPr>
        <p:txBody>
          <a:bodyPr/>
          <a:lstStyle/>
          <a:p>
            <a:pPr defTabSz="1097302"/>
            <a:endParaRPr lang="tr-TR" dirty="0">
              <a:solidFill>
                <a:prstClr val="black"/>
              </a:solidFill>
              <a:ea typeface="ヒラギノ角ゴ Pro W3" pitchFamily="1" charset="-128"/>
            </a:endParaRPr>
          </a:p>
        </p:txBody>
      </p:sp>
      <p:sp>
        <p:nvSpPr>
          <p:cNvPr id="19" name="Altbilgi Yer Tutucusu 4"/>
          <p:cNvSpPr>
            <a:spLocks noGrp="1"/>
          </p:cNvSpPr>
          <p:nvPr>
            <p:ph type="ftr" sz="quarter" idx="11"/>
          </p:nvPr>
        </p:nvSpPr>
        <p:spPr>
          <a:xfrm>
            <a:off x="4165600" y="6480198"/>
            <a:ext cx="3860800" cy="365125"/>
          </a:xfrm>
        </p:spPr>
        <p:txBody>
          <a:bodyPr/>
          <a:lstStyle/>
          <a:p>
            <a:pPr defTabSz="1097302"/>
            <a:endParaRPr lang="tr-TR">
              <a:solidFill>
                <a:prstClr val="black"/>
              </a:solidFill>
              <a:ea typeface="ヒラギノ角ゴ Pro W3" pitchFamily="1" charset="-128"/>
            </a:endParaRPr>
          </a:p>
        </p:txBody>
      </p:sp>
      <p:sp>
        <p:nvSpPr>
          <p:cNvPr id="20" name="Slayt Numarası Yer Tutucusu 5"/>
          <p:cNvSpPr>
            <a:spLocks noGrp="1"/>
          </p:cNvSpPr>
          <p:nvPr>
            <p:ph type="sldNum" sz="quarter" idx="12"/>
          </p:nvPr>
        </p:nvSpPr>
        <p:spPr>
          <a:xfrm>
            <a:off x="8496267" y="6480198"/>
            <a:ext cx="2844800" cy="365125"/>
          </a:xfrm>
        </p:spPr>
        <p:txBody>
          <a:bodyPr/>
          <a:lstStyle/>
          <a:p>
            <a:pPr defTabSz="1097302"/>
            <a:fld id="{7C1868C5-B491-42BF-9F5C-46095BC3F40A}" type="slidenum">
              <a:rPr lang="tr-TR" smtClean="0">
                <a:solidFill>
                  <a:prstClr val="black"/>
                </a:solidFill>
                <a:ea typeface="ヒラギノ角ゴ Pro W3" pitchFamily="1" charset="-128"/>
              </a:rPr>
              <a:pPr defTabSz="1097302"/>
              <a:t>‹#›</a:t>
            </a:fld>
            <a:endParaRPr lang="tr-TR" dirty="0">
              <a:solidFill>
                <a:prstClr val="black"/>
              </a:solidFill>
              <a:ea typeface="ヒラギノ角ゴ Pro W3" pitchFamily="1" charset="-128"/>
            </a:endParaRPr>
          </a:p>
        </p:txBody>
      </p:sp>
    </p:spTree>
    <p:extLst>
      <p:ext uri="{BB962C8B-B14F-4D97-AF65-F5344CB8AC3E}">
        <p14:creationId xmlns:p14="http://schemas.microsoft.com/office/powerpoint/2010/main" val="839067843"/>
      </p:ext>
    </p:extLst>
  </p:cSld>
  <p:clrMapOvr>
    <a:masterClrMapping/>
  </p:clrMapOvr>
  <p:transition spd="slow">
    <p:push dir="u"/>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Yalnızca Başlık">
    <p:spTree>
      <p:nvGrpSpPr>
        <p:cNvPr id="1" name=""/>
        <p:cNvGrpSpPr/>
        <p:nvPr/>
      </p:nvGrpSpPr>
      <p:grpSpPr>
        <a:xfrm>
          <a:off x="0" y="0"/>
          <a:ext cx="0" cy="0"/>
          <a:chOff x="0" y="0"/>
          <a:chExt cx="0" cy="0"/>
        </a:xfrm>
      </p:grpSpPr>
      <p:pic>
        <p:nvPicPr>
          <p:cNvPr id="7" name="Resim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Resim 7"/>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80517"/>
            <a:ext cx="12202508" cy="191497"/>
          </a:xfrm>
          <a:prstGeom prst="rect">
            <a:avLst/>
          </a:prstGeom>
        </p:spPr>
      </p:pic>
      <p:pic>
        <p:nvPicPr>
          <p:cNvPr id="9" name="Resim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60331" y="301113"/>
            <a:ext cx="1224664" cy="723908"/>
          </a:xfrm>
          <a:prstGeom prst="rect">
            <a:avLst/>
          </a:prstGeom>
        </p:spPr>
      </p:pic>
      <p:sp>
        <p:nvSpPr>
          <p:cNvPr id="10" name="Başlık 1"/>
          <p:cNvSpPr>
            <a:spLocks noGrp="1"/>
          </p:cNvSpPr>
          <p:nvPr userDrawn="1">
            <p:ph type="title"/>
          </p:nvPr>
        </p:nvSpPr>
        <p:spPr>
          <a:xfrm>
            <a:off x="1760638" y="675323"/>
            <a:ext cx="9615949" cy="1143000"/>
          </a:xfrm>
        </p:spPr>
        <p:txBody>
          <a:bodyPr anchor="b">
            <a:normAutofit/>
          </a:bodyPr>
          <a:lstStyle>
            <a:lvl1pPr algn="l">
              <a:defRPr sz="2880"/>
            </a:lvl1pPr>
          </a:lstStyle>
          <a:p>
            <a:r>
              <a:rPr lang="tr-TR" dirty="0" smtClean="0"/>
              <a:t>Asıl başlık stili için tıklatın</a:t>
            </a:r>
            <a:endParaRPr lang="tr-TR" dirty="0"/>
          </a:p>
        </p:txBody>
      </p:sp>
      <p:sp>
        <p:nvSpPr>
          <p:cNvPr id="14" name="Veri Yer Tutucusu 3"/>
          <p:cNvSpPr>
            <a:spLocks noGrp="1"/>
          </p:cNvSpPr>
          <p:nvPr>
            <p:ph type="dt" sz="half" idx="10"/>
          </p:nvPr>
        </p:nvSpPr>
        <p:spPr>
          <a:xfrm>
            <a:off x="850933" y="6480198"/>
            <a:ext cx="2844800" cy="365125"/>
          </a:xfrm>
        </p:spPr>
        <p:txBody>
          <a:bodyPr/>
          <a:lstStyle/>
          <a:p>
            <a:pPr defTabSz="1097302"/>
            <a:endParaRPr lang="tr-TR" dirty="0">
              <a:solidFill>
                <a:prstClr val="black"/>
              </a:solidFill>
              <a:ea typeface="ヒラギノ角ゴ Pro W3" pitchFamily="1" charset="-128"/>
            </a:endParaRPr>
          </a:p>
        </p:txBody>
      </p:sp>
      <p:sp>
        <p:nvSpPr>
          <p:cNvPr id="15" name="Altbilgi Yer Tutucusu 4"/>
          <p:cNvSpPr>
            <a:spLocks noGrp="1"/>
          </p:cNvSpPr>
          <p:nvPr>
            <p:ph type="ftr" sz="quarter" idx="11"/>
          </p:nvPr>
        </p:nvSpPr>
        <p:spPr>
          <a:xfrm>
            <a:off x="4165600" y="6480198"/>
            <a:ext cx="3860800" cy="365125"/>
          </a:xfrm>
        </p:spPr>
        <p:txBody>
          <a:bodyPr/>
          <a:lstStyle/>
          <a:p>
            <a:pPr defTabSz="1097302"/>
            <a:endParaRPr lang="tr-TR">
              <a:solidFill>
                <a:prstClr val="black"/>
              </a:solidFill>
              <a:ea typeface="ヒラギノ角ゴ Pro W3" pitchFamily="1" charset="-128"/>
            </a:endParaRPr>
          </a:p>
        </p:txBody>
      </p:sp>
      <p:sp>
        <p:nvSpPr>
          <p:cNvPr id="16" name="Slayt Numarası Yer Tutucusu 5"/>
          <p:cNvSpPr>
            <a:spLocks noGrp="1"/>
          </p:cNvSpPr>
          <p:nvPr>
            <p:ph type="sldNum" sz="quarter" idx="12"/>
          </p:nvPr>
        </p:nvSpPr>
        <p:spPr>
          <a:xfrm>
            <a:off x="8496267" y="6480198"/>
            <a:ext cx="2844800" cy="365125"/>
          </a:xfrm>
        </p:spPr>
        <p:txBody>
          <a:bodyPr/>
          <a:lstStyle/>
          <a:p>
            <a:pPr defTabSz="1097302"/>
            <a:fld id="{7C1868C5-B491-42BF-9F5C-46095BC3F40A}" type="slidenum">
              <a:rPr lang="tr-TR" smtClean="0">
                <a:solidFill>
                  <a:prstClr val="black"/>
                </a:solidFill>
                <a:ea typeface="ヒラギノ角ゴ Pro W3" pitchFamily="1" charset="-128"/>
              </a:rPr>
              <a:pPr defTabSz="1097302"/>
              <a:t>‹#›</a:t>
            </a:fld>
            <a:endParaRPr lang="tr-TR" dirty="0">
              <a:solidFill>
                <a:prstClr val="black"/>
              </a:solidFill>
              <a:ea typeface="ヒラギノ角ゴ Pro W3" pitchFamily="1" charset="-128"/>
            </a:endParaRPr>
          </a:p>
        </p:txBody>
      </p:sp>
    </p:spTree>
    <p:extLst>
      <p:ext uri="{BB962C8B-B14F-4D97-AF65-F5344CB8AC3E}">
        <p14:creationId xmlns:p14="http://schemas.microsoft.com/office/powerpoint/2010/main" val="3965567066"/>
      </p:ext>
    </p:extLst>
  </p:cSld>
  <p:clrMapOvr>
    <a:masterClrMapping/>
  </p:clrMapOvr>
  <p:transition spd="slow">
    <p:push dir="u"/>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8" name="Resim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9" name="Resim 8"/>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80517"/>
            <a:ext cx="12202508" cy="191497"/>
          </a:xfrm>
          <a:prstGeom prst="rect">
            <a:avLst/>
          </a:prstGeom>
        </p:spPr>
      </p:pic>
      <p:sp>
        <p:nvSpPr>
          <p:cNvPr id="10" name="Veri Yer Tutucusu 3"/>
          <p:cNvSpPr>
            <a:spLocks noGrp="1"/>
          </p:cNvSpPr>
          <p:nvPr>
            <p:ph type="dt" sz="half" idx="10"/>
          </p:nvPr>
        </p:nvSpPr>
        <p:spPr>
          <a:xfrm>
            <a:off x="850933" y="6480198"/>
            <a:ext cx="2844800" cy="365125"/>
          </a:xfrm>
        </p:spPr>
        <p:txBody>
          <a:bodyPr/>
          <a:lstStyle/>
          <a:p>
            <a:pPr defTabSz="1097302"/>
            <a:endParaRPr lang="tr-TR" dirty="0">
              <a:solidFill>
                <a:prstClr val="black"/>
              </a:solidFill>
              <a:ea typeface="ヒラギノ角ゴ Pro W3" pitchFamily="1" charset="-128"/>
            </a:endParaRPr>
          </a:p>
        </p:txBody>
      </p:sp>
      <p:sp>
        <p:nvSpPr>
          <p:cNvPr id="11" name="Altbilgi Yer Tutucusu 4"/>
          <p:cNvSpPr>
            <a:spLocks noGrp="1"/>
          </p:cNvSpPr>
          <p:nvPr>
            <p:ph type="ftr" sz="quarter" idx="11"/>
          </p:nvPr>
        </p:nvSpPr>
        <p:spPr>
          <a:xfrm>
            <a:off x="4165600" y="6480198"/>
            <a:ext cx="3860800" cy="365125"/>
          </a:xfrm>
        </p:spPr>
        <p:txBody>
          <a:bodyPr/>
          <a:lstStyle/>
          <a:p>
            <a:pPr defTabSz="1097302"/>
            <a:endParaRPr lang="tr-TR">
              <a:solidFill>
                <a:prstClr val="black"/>
              </a:solidFill>
              <a:ea typeface="ヒラギノ角ゴ Pro W3" pitchFamily="1" charset="-128"/>
            </a:endParaRPr>
          </a:p>
        </p:txBody>
      </p:sp>
      <p:sp>
        <p:nvSpPr>
          <p:cNvPr id="12" name="Slayt Numarası Yer Tutucusu 5"/>
          <p:cNvSpPr>
            <a:spLocks noGrp="1"/>
          </p:cNvSpPr>
          <p:nvPr>
            <p:ph type="sldNum" sz="quarter" idx="12"/>
          </p:nvPr>
        </p:nvSpPr>
        <p:spPr>
          <a:xfrm>
            <a:off x="8496267" y="6480198"/>
            <a:ext cx="2844800" cy="365125"/>
          </a:xfrm>
        </p:spPr>
        <p:txBody>
          <a:bodyPr/>
          <a:lstStyle/>
          <a:p>
            <a:pPr defTabSz="1097302"/>
            <a:fld id="{7C1868C5-B491-42BF-9F5C-46095BC3F40A}" type="slidenum">
              <a:rPr lang="tr-TR" smtClean="0">
                <a:solidFill>
                  <a:prstClr val="black"/>
                </a:solidFill>
                <a:ea typeface="ヒラギノ角ゴ Pro W3" pitchFamily="1" charset="-128"/>
              </a:rPr>
              <a:pPr defTabSz="1097302"/>
              <a:t>‹#›</a:t>
            </a:fld>
            <a:endParaRPr lang="tr-TR" dirty="0">
              <a:solidFill>
                <a:prstClr val="black"/>
              </a:solidFill>
              <a:ea typeface="ヒラギノ角ゴ Pro W3" pitchFamily="1" charset="-128"/>
            </a:endParaRPr>
          </a:p>
        </p:txBody>
      </p:sp>
    </p:spTree>
    <p:extLst>
      <p:ext uri="{BB962C8B-B14F-4D97-AF65-F5344CB8AC3E}">
        <p14:creationId xmlns:p14="http://schemas.microsoft.com/office/powerpoint/2010/main" val="1650514713"/>
      </p:ext>
    </p:extLst>
  </p:cSld>
  <p:clrMapOvr>
    <a:masterClrMapping/>
  </p:clrMapOvr>
  <p:transition spd="slow">
    <p:push dir="u"/>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11" name="Resim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Başlık 1"/>
          <p:cNvSpPr>
            <a:spLocks noGrp="1"/>
          </p:cNvSpPr>
          <p:nvPr>
            <p:ph type="title"/>
          </p:nvPr>
        </p:nvSpPr>
        <p:spPr>
          <a:xfrm>
            <a:off x="2389718" y="4800601"/>
            <a:ext cx="7315200" cy="566738"/>
          </a:xfrm>
        </p:spPr>
        <p:txBody>
          <a:bodyPr anchor="b"/>
          <a:lstStyle>
            <a:lvl1pPr algn="l">
              <a:defRPr sz="2400" b="1"/>
            </a:lvl1pPr>
          </a:lstStyle>
          <a:p>
            <a:r>
              <a:rPr lang="tr-TR" smtClean="0"/>
              <a:t>Asıl başlık stili için tıklatın</a:t>
            </a:r>
            <a:endParaRPr lang="tr-TR"/>
          </a:p>
        </p:txBody>
      </p:sp>
      <p:sp>
        <p:nvSpPr>
          <p:cNvPr id="3" name="Resim Yer Tutucusu 2"/>
          <p:cNvSpPr>
            <a:spLocks noGrp="1"/>
          </p:cNvSpPr>
          <p:nvPr>
            <p:ph type="pic" idx="1"/>
          </p:nvPr>
        </p:nvSpPr>
        <p:spPr>
          <a:xfrm>
            <a:off x="2389718" y="612776"/>
            <a:ext cx="7315200" cy="4114800"/>
          </a:xfrm>
        </p:spPr>
        <p:txBody>
          <a:bodyPr/>
          <a:lstStyle>
            <a:lvl1pPr marL="0" indent="0">
              <a:buNone/>
              <a:defRPr sz="3840"/>
            </a:lvl1pPr>
            <a:lvl2pPr marL="548651" indent="0">
              <a:buNone/>
              <a:defRPr sz="3360"/>
            </a:lvl2pPr>
            <a:lvl3pPr marL="1097302" indent="0">
              <a:buNone/>
              <a:defRPr sz="2880"/>
            </a:lvl3pPr>
            <a:lvl4pPr marL="1645953" indent="0">
              <a:buNone/>
              <a:defRPr sz="2400"/>
            </a:lvl4pPr>
            <a:lvl5pPr marL="2194603" indent="0">
              <a:buNone/>
              <a:defRPr sz="2400"/>
            </a:lvl5pPr>
            <a:lvl6pPr marL="2743255" indent="0">
              <a:buNone/>
              <a:defRPr sz="2400"/>
            </a:lvl6pPr>
            <a:lvl7pPr marL="3291905" indent="0">
              <a:buNone/>
              <a:defRPr sz="2400"/>
            </a:lvl7pPr>
            <a:lvl8pPr marL="3840556" indent="0">
              <a:buNone/>
              <a:defRPr sz="2400"/>
            </a:lvl8pPr>
            <a:lvl9pPr marL="4389207" indent="0">
              <a:buNone/>
              <a:defRPr sz="2400"/>
            </a:lvl9pPr>
          </a:lstStyle>
          <a:p>
            <a:endParaRPr lang="tr-TR"/>
          </a:p>
        </p:txBody>
      </p:sp>
      <p:sp>
        <p:nvSpPr>
          <p:cNvPr id="4" name="Metin Yer Tutucusu 3"/>
          <p:cNvSpPr>
            <a:spLocks noGrp="1"/>
          </p:cNvSpPr>
          <p:nvPr>
            <p:ph type="body" sz="half" idx="2"/>
          </p:nvPr>
        </p:nvSpPr>
        <p:spPr>
          <a:xfrm>
            <a:off x="2543606" y="5463598"/>
            <a:ext cx="7161312" cy="804862"/>
          </a:xfrm>
        </p:spPr>
        <p:txBody>
          <a:bodyPr/>
          <a:lstStyle>
            <a:lvl1pPr marL="0" indent="0">
              <a:buNone/>
              <a:defRPr sz="1680"/>
            </a:lvl1pPr>
            <a:lvl2pPr marL="548651" indent="0">
              <a:buNone/>
              <a:defRPr sz="1440"/>
            </a:lvl2pPr>
            <a:lvl3pPr marL="1097302" indent="0">
              <a:buNone/>
              <a:defRPr sz="1200"/>
            </a:lvl3pPr>
            <a:lvl4pPr marL="1645953" indent="0">
              <a:buNone/>
              <a:defRPr sz="1080"/>
            </a:lvl4pPr>
            <a:lvl5pPr marL="2194603" indent="0">
              <a:buNone/>
              <a:defRPr sz="1080"/>
            </a:lvl5pPr>
            <a:lvl6pPr marL="2743255" indent="0">
              <a:buNone/>
              <a:defRPr sz="1080"/>
            </a:lvl6pPr>
            <a:lvl7pPr marL="3291905" indent="0">
              <a:buNone/>
              <a:defRPr sz="1080"/>
            </a:lvl7pPr>
            <a:lvl8pPr marL="3840556" indent="0">
              <a:buNone/>
              <a:defRPr sz="1080"/>
            </a:lvl8pPr>
            <a:lvl9pPr marL="4389207" indent="0">
              <a:buNone/>
              <a:defRPr sz="1080"/>
            </a:lvl9pPr>
          </a:lstStyle>
          <a:p>
            <a:pPr lvl="0"/>
            <a:r>
              <a:rPr lang="tr-TR" smtClean="0"/>
              <a:t>Asıl metin stillerini düzenlemek için tıklatın</a:t>
            </a:r>
          </a:p>
        </p:txBody>
      </p:sp>
      <p:sp>
        <p:nvSpPr>
          <p:cNvPr id="8" name="Veri Yer Tutucusu 3"/>
          <p:cNvSpPr>
            <a:spLocks noGrp="1"/>
          </p:cNvSpPr>
          <p:nvPr>
            <p:ph type="dt" sz="half" idx="10"/>
          </p:nvPr>
        </p:nvSpPr>
        <p:spPr>
          <a:xfrm>
            <a:off x="850933" y="6468141"/>
            <a:ext cx="2844800" cy="365125"/>
          </a:xfrm>
        </p:spPr>
        <p:txBody>
          <a:bodyPr/>
          <a:lstStyle/>
          <a:p>
            <a:pPr defTabSz="1097302"/>
            <a:endParaRPr lang="tr-TR" dirty="0">
              <a:solidFill>
                <a:prstClr val="black"/>
              </a:solidFill>
              <a:ea typeface="ヒラギノ角ゴ Pro W3" pitchFamily="1" charset="-128"/>
            </a:endParaRPr>
          </a:p>
        </p:txBody>
      </p:sp>
      <p:sp>
        <p:nvSpPr>
          <p:cNvPr id="9" name="Altbilgi Yer Tutucusu 4"/>
          <p:cNvSpPr>
            <a:spLocks noGrp="1"/>
          </p:cNvSpPr>
          <p:nvPr>
            <p:ph type="ftr" sz="quarter" idx="11"/>
          </p:nvPr>
        </p:nvSpPr>
        <p:spPr>
          <a:xfrm>
            <a:off x="4165600" y="6468141"/>
            <a:ext cx="3860800" cy="365125"/>
          </a:xfrm>
        </p:spPr>
        <p:txBody>
          <a:bodyPr/>
          <a:lstStyle/>
          <a:p>
            <a:pPr defTabSz="1097302"/>
            <a:endParaRPr lang="tr-TR">
              <a:solidFill>
                <a:prstClr val="black"/>
              </a:solidFill>
              <a:ea typeface="ヒラギノ角ゴ Pro W3" pitchFamily="1" charset="-128"/>
            </a:endParaRPr>
          </a:p>
        </p:txBody>
      </p:sp>
      <p:sp>
        <p:nvSpPr>
          <p:cNvPr id="10" name="Slayt Numarası Yer Tutucusu 5"/>
          <p:cNvSpPr>
            <a:spLocks noGrp="1"/>
          </p:cNvSpPr>
          <p:nvPr>
            <p:ph type="sldNum" sz="quarter" idx="12"/>
          </p:nvPr>
        </p:nvSpPr>
        <p:spPr>
          <a:xfrm>
            <a:off x="8496267" y="6468141"/>
            <a:ext cx="2844800" cy="365125"/>
          </a:xfrm>
        </p:spPr>
        <p:txBody>
          <a:bodyPr/>
          <a:lstStyle/>
          <a:p>
            <a:pPr defTabSz="1097302"/>
            <a:fld id="{7C1868C5-B491-42BF-9F5C-46095BC3F40A}" type="slidenum">
              <a:rPr lang="tr-TR" smtClean="0">
                <a:solidFill>
                  <a:prstClr val="black"/>
                </a:solidFill>
                <a:ea typeface="ヒラギノ角ゴ Pro W3" pitchFamily="1" charset="-128"/>
              </a:rPr>
              <a:pPr defTabSz="1097302"/>
              <a:t>‹#›</a:t>
            </a:fld>
            <a:endParaRPr lang="tr-TR" dirty="0">
              <a:solidFill>
                <a:prstClr val="black"/>
              </a:solidFill>
              <a:ea typeface="ヒラギノ角ゴ Pro W3" pitchFamily="1" charset="-128"/>
            </a:endParaRPr>
          </a:p>
        </p:txBody>
      </p:sp>
      <p:pic>
        <p:nvPicPr>
          <p:cNvPr id="12" name="Resim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80517"/>
            <a:ext cx="12202508" cy="191497"/>
          </a:xfrm>
          <a:prstGeom prst="rect">
            <a:avLst/>
          </a:prstGeom>
        </p:spPr>
      </p:pic>
    </p:spTree>
    <p:extLst>
      <p:ext uri="{BB962C8B-B14F-4D97-AF65-F5344CB8AC3E}">
        <p14:creationId xmlns:p14="http://schemas.microsoft.com/office/powerpoint/2010/main" val="1726542147"/>
      </p:ext>
    </p:extLst>
  </p:cSld>
  <p:clrMapOvr>
    <a:masterClrMapping/>
  </p:clrMapOvr>
  <p:transition spd="slow">
    <p:push dir="u"/>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427"/>
            <a:ext cx="10363201" cy="1470026"/>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1" y="3886201"/>
            <a:ext cx="8534400" cy="1752600"/>
          </a:xfrm>
        </p:spPr>
        <p:txBody>
          <a:bodyPr/>
          <a:lstStyle>
            <a:lvl1pPr marL="0" indent="0" algn="ctr">
              <a:buNone/>
              <a:defRPr/>
            </a:lvl1pPr>
            <a:lvl2pPr marL="548651" indent="0" algn="ctr">
              <a:buNone/>
              <a:defRPr/>
            </a:lvl2pPr>
            <a:lvl3pPr marL="1097302" indent="0" algn="ctr">
              <a:buNone/>
              <a:defRPr/>
            </a:lvl3pPr>
            <a:lvl4pPr marL="1645953" indent="0" algn="ctr">
              <a:buNone/>
              <a:defRPr/>
            </a:lvl4pPr>
            <a:lvl5pPr marL="2194603" indent="0" algn="ctr">
              <a:buNone/>
              <a:defRPr/>
            </a:lvl5pPr>
            <a:lvl6pPr marL="2743255" indent="0" algn="ctr">
              <a:buNone/>
              <a:defRPr/>
            </a:lvl6pPr>
            <a:lvl7pPr marL="3291905" indent="0" algn="ctr">
              <a:buNone/>
              <a:defRPr/>
            </a:lvl7pPr>
            <a:lvl8pPr marL="3840556" indent="0" algn="ctr">
              <a:buNone/>
              <a:defRPr/>
            </a:lvl8pPr>
            <a:lvl9pPr marL="4389207"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a:lvl1pPr>
          </a:lstStyle>
          <a:p>
            <a:pPr defTabSz="1097302">
              <a:defRPr/>
            </a:pPr>
            <a:fld id="{63DD1FEF-A742-49D1-BF57-3C7DAD02CB79}" type="datetime1">
              <a:rPr lang="tr-TR" smtClean="0">
                <a:solidFill>
                  <a:prstClr val="black"/>
                </a:solidFill>
                <a:ea typeface="ヒラギノ角ゴ Pro W3" pitchFamily="1" charset="-128"/>
              </a:rPr>
              <a:pPr defTabSz="1097302">
                <a:defRPr/>
              </a:pPr>
              <a:t>5.04.2021</a:t>
            </a:fld>
            <a:endParaRPr lang="tr-TR">
              <a:solidFill>
                <a:prstClr val="black"/>
              </a:solidFill>
              <a:ea typeface="ヒラギノ角ゴ Pro W3" pitchFamily="1" charset="-128"/>
            </a:endParaRPr>
          </a:p>
        </p:txBody>
      </p:sp>
      <p:sp>
        <p:nvSpPr>
          <p:cNvPr id="5" name="Rectangle 5"/>
          <p:cNvSpPr>
            <a:spLocks noGrp="1" noChangeArrowheads="1"/>
          </p:cNvSpPr>
          <p:nvPr>
            <p:ph type="ftr" sz="quarter" idx="11"/>
          </p:nvPr>
        </p:nvSpPr>
        <p:spPr/>
        <p:txBody>
          <a:bodyPr/>
          <a:lstStyle>
            <a:lvl1pPr>
              <a:defRPr/>
            </a:lvl1pPr>
          </a:lstStyle>
          <a:p>
            <a:pPr defTabSz="1097302">
              <a:defRPr/>
            </a:pPr>
            <a:endParaRPr lang="tr-TR">
              <a:solidFill>
                <a:prstClr val="black"/>
              </a:solidFill>
              <a:ea typeface="ヒラギノ角ゴ Pro W3" pitchFamily="1" charset="-128"/>
            </a:endParaRPr>
          </a:p>
        </p:txBody>
      </p:sp>
      <p:sp>
        <p:nvSpPr>
          <p:cNvPr id="6" name="Rectangle 6"/>
          <p:cNvSpPr>
            <a:spLocks noGrp="1" noChangeArrowheads="1"/>
          </p:cNvSpPr>
          <p:nvPr>
            <p:ph type="sldNum" sz="quarter" idx="12"/>
          </p:nvPr>
        </p:nvSpPr>
        <p:spPr/>
        <p:txBody>
          <a:bodyPr/>
          <a:lstStyle>
            <a:lvl1pPr>
              <a:defRPr/>
            </a:lvl1pPr>
          </a:lstStyle>
          <a:p>
            <a:pPr defTabSz="1097302">
              <a:defRPr/>
            </a:pPr>
            <a:fld id="{E40B9057-38B2-4629-B46A-5472E4A02AFE}" type="slidenum">
              <a:rPr lang="tr-TR" smtClean="0">
                <a:solidFill>
                  <a:prstClr val="black"/>
                </a:solidFill>
                <a:ea typeface="ヒラギノ角ゴ Pro W3" pitchFamily="1" charset="-128"/>
              </a:rPr>
              <a:pPr defTabSz="1097302">
                <a:defRPr/>
              </a:pPr>
              <a:t>‹#›</a:t>
            </a:fld>
            <a:endParaRPr lang="tr-TR" dirty="0">
              <a:solidFill>
                <a:prstClr val="black"/>
              </a:solidFill>
              <a:ea typeface="ヒラギノ角ゴ Pro W3" pitchFamily="1" charset="-128"/>
            </a:endParaRPr>
          </a:p>
        </p:txBody>
      </p:sp>
    </p:spTree>
    <p:extLst>
      <p:ext uri="{BB962C8B-B14F-4D97-AF65-F5344CB8AC3E}">
        <p14:creationId xmlns:p14="http://schemas.microsoft.com/office/powerpoint/2010/main" val="2625654396"/>
      </p:ext>
    </p:extLst>
  </p:cSld>
  <p:clrMapOvr>
    <a:masterClrMapping/>
  </p:clrMapOvr>
  <p:transition spd="slow">
    <p:push dir="u"/>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xAndObj">
  <p:cSld name="Başlık, Metin ve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01" y="274639"/>
            <a:ext cx="10972800" cy="1143000"/>
          </a:xfrm>
        </p:spPr>
        <p:txBody>
          <a:bodyPr/>
          <a:lstStyle/>
          <a:p>
            <a:r>
              <a:rPr lang="tr-TR" smtClean="0"/>
              <a:t>Asıl başlık stili için tıklatın</a:t>
            </a:r>
            <a:endParaRPr lang="tr-TR"/>
          </a:p>
        </p:txBody>
      </p:sp>
      <p:sp>
        <p:nvSpPr>
          <p:cNvPr id="3" name="2 Metin Yer Tutucusu"/>
          <p:cNvSpPr>
            <a:spLocks noGrp="1"/>
          </p:cNvSpPr>
          <p:nvPr>
            <p:ph type="body" sz="half" idx="1"/>
          </p:nvPr>
        </p:nvSpPr>
        <p:spPr>
          <a:xfrm>
            <a:off x="609600" y="1600201"/>
            <a:ext cx="5384800" cy="452596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600201"/>
            <a:ext cx="5384800" cy="452596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Rectangle 4"/>
          <p:cNvSpPr>
            <a:spLocks noGrp="1" noChangeArrowheads="1"/>
          </p:cNvSpPr>
          <p:nvPr>
            <p:ph type="dt" sz="half" idx="10"/>
          </p:nvPr>
        </p:nvSpPr>
        <p:spPr/>
        <p:txBody>
          <a:bodyPr/>
          <a:lstStyle>
            <a:lvl1pPr>
              <a:defRPr/>
            </a:lvl1pPr>
          </a:lstStyle>
          <a:p>
            <a:pPr defTabSz="1097302">
              <a:defRPr/>
            </a:pPr>
            <a:fld id="{510D9126-903C-48C6-A33F-AC6EC80EF147}" type="datetime1">
              <a:rPr lang="tr-TR" smtClean="0">
                <a:solidFill>
                  <a:prstClr val="black"/>
                </a:solidFill>
                <a:ea typeface="ヒラギノ角ゴ Pro W3" pitchFamily="1" charset="-128"/>
              </a:rPr>
              <a:pPr defTabSz="1097302">
                <a:defRPr/>
              </a:pPr>
              <a:t>5.04.2021</a:t>
            </a:fld>
            <a:endParaRPr lang="tr-TR">
              <a:solidFill>
                <a:prstClr val="black"/>
              </a:solidFill>
              <a:ea typeface="ヒラギノ角ゴ Pro W3" pitchFamily="1" charset="-128"/>
            </a:endParaRPr>
          </a:p>
        </p:txBody>
      </p:sp>
      <p:sp>
        <p:nvSpPr>
          <p:cNvPr id="6" name="Rectangle 5"/>
          <p:cNvSpPr>
            <a:spLocks noGrp="1" noChangeArrowheads="1"/>
          </p:cNvSpPr>
          <p:nvPr>
            <p:ph type="ftr" sz="quarter" idx="11"/>
          </p:nvPr>
        </p:nvSpPr>
        <p:spPr/>
        <p:txBody>
          <a:bodyPr/>
          <a:lstStyle>
            <a:lvl1pPr>
              <a:defRPr/>
            </a:lvl1pPr>
          </a:lstStyle>
          <a:p>
            <a:pPr defTabSz="1097302">
              <a:defRPr/>
            </a:pPr>
            <a:endParaRPr lang="tr-TR">
              <a:solidFill>
                <a:prstClr val="black"/>
              </a:solidFill>
              <a:ea typeface="ヒラギノ角ゴ Pro W3" pitchFamily="1" charset="-128"/>
            </a:endParaRPr>
          </a:p>
        </p:txBody>
      </p:sp>
      <p:sp>
        <p:nvSpPr>
          <p:cNvPr id="7" name="Rectangle 6"/>
          <p:cNvSpPr>
            <a:spLocks noGrp="1" noChangeArrowheads="1"/>
          </p:cNvSpPr>
          <p:nvPr>
            <p:ph type="sldNum" sz="quarter" idx="12"/>
          </p:nvPr>
        </p:nvSpPr>
        <p:spPr/>
        <p:txBody>
          <a:bodyPr/>
          <a:lstStyle>
            <a:lvl1pPr>
              <a:defRPr/>
            </a:lvl1pPr>
          </a:lstStyle>
          <a:p>
            <a:pPr defTabSz="1097302">
              <a:defRPr/>
            </a:pPr>
            <a:fld id="{4B5CAA2C-ABD7-41AA-ADB9-9B3ADAAA317D}" type="slidenum">
              <a:rPr lang="tr-TR" smtClean="0">
                <a:solidFill>
                  <a:prstClr val="black"/>
                </a:solidFill>
                <a:ea typeface="ヒラギノ角ゴ Pro W3" pitchFamily="1" charset="-128"/>
              </a:rPr>
              <a:pPr defTabSz="1097302">
                <a:defRPr/>
              </a:pPr>
              <a:t>‹#›</a:t>
            </a:fld>
            <a:endParaRPr lang="tr-TR" dirty="0">
              <a:solidFill>
                <a:prstClr val="black"/>
              </a:solidFill>
              <a:ea typeface="ヒラギノ角ゴ Pro W3" pitchFamily="1" charset="-128"/>
            </a:endParaRPr>
          </a:p>
        </p:txBody>
      </p:sp>
    </p:spTree>
    <p:extLst>
      <p:ext uri="{BB962C8B-B14F-4D97-AF65-F5344CB8AC3E}">
        <p14:creationId xmlns:p14="http://schemas.microsoft.com/office/powerpoint/2010/main" val="1740832921"/>
      </p:ext>
    </p:extLst>
  </p:cSld>
  <p:clrMapOvr>
    <a:masterClrMapping/>
  </p:clrMapOvr>
  <p:transition spd="slow">
    <p:push dir="u"/>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573"/>
            <a:ext cx="10363200" cy="1470025"/>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0" y="3886202"/>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a:defRPr/>
            </a:pPr>
            <a:fld id="{C55FBC65-7F87-469E-90DF-59ECD8876AF8}"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2C88CDE6-2AB7-4793-B620-C963B5A07959}"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708208982"/>
      </p:ext>
    </p:extLst>
  </p:cSld>
  <p:clrMapOvr>
    <a:masterClrMapping/>
  </p:clrMapOvr>
  <p:transition spd="slow">
    <p:cove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solidFill>
                  <a:srgbClr val="FF0000"/>
                </a:solidFill>
              </a:defRPr>
            </a:lvl1p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BE0D068E-D456-41EE-9A8E-AEEB61829F89}"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b="1"/>
            </a:lvl1pPr>
          </a:lstStyle>
          <a:p>
            <a:pPr>
              <a:defRPr/>
            </a:pPr>
            <a:fld id="{3C7F8354-A1F7-4AE7-90D5-B3C2BAB3B60B}"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646619398"/>
      </p:ext>
    </p:extLst>
  </p:cSld>
  <p:clrMapOvr>
    <a:masterClrMapping/>
  </p:clrMapOvr>
  <p:transition spd="slow">
    <p:cove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7783" fontAlgn="base">
              <a:spcBef>
                <a:spcPct val="0"/>
              </a:spcBef>
              <a:spcAft>
                <a:spcPct val="0"/>
              </a:spcAft>
              <a:defRPr/>
            </a:pPr>
            <a:fld id="{F17E314C-9BC2-4F28-909D-831E3BB0961E}"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58891500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03"/>
            <a:ext cx="10363200" cy="1362076"/>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719"/>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lvl1pPr>
              <a:defRPr/>
            </a:lvl1pPr>
          </a:lstStyle>
          <a:p>
            <a:pPr>
              <a:defRPr/>
            </a:pPr>
            <a:fld id="{858B01F6-63E6-404F-98C6-80F73928E80A}"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A390DFD7-845F-42FC-873C-B9CF24DCC97B}"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4257645428"/>
      </p:ext>
    </p:extLst>
  </p:cSld>
  <p:clrMapOvr>
    <a:masterClrMapping/>
  </p:clrMapOvr>
  <p:transition spd="slow">
    <p:cove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333500"/>
            <a:ext cx="5384800" cy="3771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333500"/>
            <a:ext cx="5384800" cy="3771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3 Veri Yer Tutucusu"/>
          <p:cNvSpPr>
            <a:spLocks noGrp="1"/>
          </p:cNvSpPr>
          <p:nvPr>
            <p:ph type="dt" sz="half" idx="10"/>
          </p:nvPr>
        </p:nvSpPr>
        <p:spPr/>
        <p:txBody>
          <a:bodyPr/>
          <a:lstStyle>
            <a:lvl1pPr>
              <a:defRPr/>
            </a:lvl1pPr>
          </a:lstStyle>
          <a:p>
            <a:pPr>
              <a:defRPr/>
            </a:pPr>
            <a:fld id="{02473489-2C15-42E5-B573-8EE2B2B5D348}"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F2FFB138-1BB2-484C-9B07-F212DFCCD470}"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368842596"/>
      </p:ext>
    </p:extLst>
  </p:cSld>
  <p:clrMapOvr>
    <a:masterClrMapping/>
  </p:clrMapOvr>
  <p:transition spd="slow">
    <p:cove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609600" y="274640"/>
            <a:ext cx="10972800" cy="1143000"/>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600" y="1535116"/>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78" y="1535116"/>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3 Veri Yer Tutucusu"/>
          <p:cNvSpPr>
            <a:spLocks noGrp="1"/>
          </p:cNvSpPr>
          <p:nvPr>
            <p:ph type="dt" sz="half" idx="10"/>
          </p:nvPr>
        </p:nvSpPr>
        <p:spPr/>
        <p:txBody>
          <a:bodyPr/>
          <a:lstStyle>
            <a:lvl1pPr>
              <a:defRPr/>
            </a:lvl1pPr>
          </a:lstStyle>
          <a:p>
            <a:pPr>
              <a:defRPr/>
            </a:pPr>
            <a:fld id="{BE034AFB-46EA-4FC2-9CFF-B955C5EC821D}"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8"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9" name="5 Slayt Numarası Yer Tutucusu"/>
          <p:cNvSpPr>
            <a:spLocks noGrp="1"/>
          </p:cNvSpPr>
          <p:nvPr>
            <p:ph type="sldNum" sz="quarter" idx="12"/>
          </p:nvPr>
        </p:nvSpPr>
        <p:spPr/>
        <p:txBody>
          <a:bodyPr/>
          <a:lstStyle>
            <a:lvl1pPr>
              <a:defRPr/>
            </a:lvl1pPr>
          </a:lstStyle>
          <a:p>
            <a:pPr>
              <a:defRPr/>
            </a:pPr>
            <a:fld id="{402686A9-2B2A-4D58-86CC-AA509BA3EC37}"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274740617"/>
      </p:ext>
    </p:extLst>
  </p:cSld>
  <p:clrMapOvr>
    <a:masterClrMapping/>
  </p:clrMapOvr>
  <p:transition spd="slow">
    <p:cove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3 Veri Yer Tutucusu"/>
          <p:cNvSpPr>
            <a:spLocks noGrp="1"/>
          </p:cNvSpPr>
          <p:nvPr>
            <p:ph type="dt" sz="half" idx="10"/>
          </p:nvPr>
        </p:nvSpPr>
        <p:spPr/>
        <p:txBody>
          <a:bodyPr/>
          <a:lstStyle>
            <a:lvl1pPr>
              <a:defRPr/>
            </a:lvl1pPr>
          </a:lstStyle>
          <a:p>
            <a:pPr>
              <a:defRPr/>
            </a:pPr>
            <a:fld id="{7F224E2C-FBE4-4EFB-9441-EC867208E90F}"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4"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5" name="5 Slayt Numarası Yer Tutucusu"/>
          <p:cNvSpPr>
            <a:spLocks noGrp="1"/>
          </p:cNvSpPr>
          <p:nvPr>
            <p:ph type="sldNum" sz="quarter" idx="12"/>
          </p:nvPr>
        </p:nvSpPr>
        <p:spPr/>
        <p:txBody>
          <a:bodyPr/>
          <a:lstStyle>
            <a:lvl1pPr>
              <a:defRPr/>
            </a:lvl1pPr>
          </a:lstStyle>
          <a:p>
            <a:pPr>
              <a:defRPr/>
            </a:pPr>
            <a:fld id="{09C5C199-7168-42B7-A3F6-A5455B87A6AF}"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607274978"/>
      </p:ext>
    </p:extLst>
  </p:cSld>
  <p:clrMapOvr>
    <a:masterClrMapping/>
  </p:clrMapOvr>
  <p:transition spd="slow">
    <p:cove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3 Veri Yer Tutucusu"/>
          <p:cNvSpPr>
            <a:spLocks noGrp="1"/>
          </p:cNvSpPr>
          <p:nvPr>
            <p:ph type="dt" sz="half" idx="10"/>
          </p:nvPr>
        </p:nvSpPr>
        <p:spPr/>
        <p:txBody>
          <a:bodyPr/>
          <a:lstStyle>
            <a:lvl1pPr>
              <a:defRPr/>
            </a:lvl1pPr>
          </a:lstStyle>
          <a:p>
            <a:pPr>
              <a:defRPr/>
            </a:pPr>
            <a:fld id="{5F816BDC-4BDB-4A09-879B-9A970423984E}"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3"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4" name="5 Slayt Numarası Yer Tutucusu"/>
          <p:cNvSpPr>
            <a:spLocks noGrp="1"/>
          </p:cNvSpPr>
          <p:nvPr>
            <p:ph type="sldNum" sz="quarter" idx="12"/>
          </p:nvPr>
        </p:nvSpPr>
        <p:spPr/>
        <p:txBody>
          <a:bodyPr/>
          <a:lstStyle>
            <a:lvl1pPr>
              <a:defRPr/>
            </a:lvl1pPr>
          </a:lstStyle>
          <a:p>
            <a:pPr>
              <a:defRPr/>
            </a:pPr>
            <a:fld id="{B08D93A5-FB99-46CF-BCD2-3E298B6F9D85}"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735643084"/>
      </p:ext>
    </p:extLst>
  </p:cSld>
  <p:clrMapOvr>
    <a:masterClrMapping/>
  </p:clrMapOvr>
  <p:transition spd="slow">
    <p:cove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26" y="273053"/>
            <a:ext cx="4011084" cy="1162050"/>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26"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0628B453-A601-46E1-A65E-56A94CCFC0E2}"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D87A40A6-510B-4C67-9499-81C2DB9737C5}"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412605781"/>
      </p:ext>
    </p:extLst>
  </p:cSld>
  <p:clrMapOvr>
    <a:masterClrMapping/>
  </p:clrMapOvr>
  <p:transition spd="slow">
    <p:cove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7" y="4800600"/>
            <a:ext cx="7315200" cy="566738"/>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dirty="0" smtClean="0"/>
          </a:p>
        </p:txBody>
      </p:sp>
      <p:sp>
        <p:nvSpPr>
          <p:cNvPr id="4" name="3 Metin Yer Tutucusu"/>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0F762350-33C8-443E-8EAA-EA2AA2207B3F}"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529E0649-6478-448D-B828-5BC015800B18}"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831694394"/>
      </p:ext>
    </p:extLst>
  </p:cSld>
  <p:clrMapOvr>
    <a:masterClrMapping/>
  </p:clrMapOvr>
  <p:transition spd="slow">
    <p:cove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7014CB15-B8C3-4764-82E7-0DD76567AD78}"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F62210FA-35A0-43A7-9E85-9016D0B317D1}"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16586627"/>
      </p:ext>
    </p:extLst>
  </p:cSld>
  <p:clrMapOvr>
    <a:masterClrMapping/>
  </p:clrMapOvr>
  <p:transition spd="slow">
    <p:cove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0" y="228600"/>
            <a:ext cx="2743200" cy="4876800"/>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0" y="228600"/>
            <a:ext cx="8026400" cy="4876800"/>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167A6CF3-8B11-44A5-9259-C3C50769C1D1}"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7D7FBABC-B7DB-4873-80DF-9EF2FB97B2AD}"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828118045"/>
      </p:ext>
    </p:extLst>
  </p:cSld>
  <p:clrMapOvr>
    <a:masterClrMapping/>
  </p:clrMapOvr>
  <p:transition spd="slow">
    <p:cove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567"/>
            <a:ext cx="10363200" cy="1470025"/>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0" y="3886202"/>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a:defRPr/>
            </a:pPr>
            <a:fld id="{5438D100-CEB9-49C9-B4E4-11FB22CD3A49}"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2C88CDE6-2AB7-4793-B620-C963B5A07959}"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160037226"/>
      </p:ext>
    </p:extLst>
  </p:cSld>
  <p:clrMapOvr>
    <a:masterClrMapping/>
  </p:clrMapOvr>
  <p:transition spd="slow">
    <p:cove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78"/>
            <a:ext cx="10363200" cy="1362075"/>
          </a:xfrm>
        </p:spPr>
        <p:txBody>
          <a:bodyPr anchor="t"/>
          <a:lstStyle>
            <a:lvl1pPr algn="l">
              <a:defRPr sz="4015"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807"/>
            <a:ext cx="10363200" cy="1500186"/>
          </a:xfrm>
        </p:spPr>
        <p:txBody>
          <a:bodyPr anchor="b"/>
          <a:lstStyle>
            <a:lvl1pPr marL="0" indent="0">
              <a:buNone/>
              <a:defRPr sz="2007">
                <a:solidFill>
                  <a:schemeClr val="tx1">
                    <a:tint val="75000"/>
                  </a:schemeClr>
                </a:solidFill>
              </a:defRPr>
            </a:lvl1pPr>
            <a:lvl2pPr marL="458747" indent="0">
              <a:buNone/>
              <a:defRPr sz="1807">
                <a:solidFill>
                  <a:schemeClr val="tx1">
                    <a:tint val="75000"/>
                  </a:schemeClr>
                </a:solidFill>
              </a:defRPr>
            </a:lvl2pPr>
            <a:lvl3pPr marL="917496" indent="0">
              <a:buNone/>
              <a:defRPr sz="1606">
                <a:solidFill>
                  <a:schemeClr val="tx1">
                    <a:tint val="75000"/>
                  </a:schemeClr>
                </a:solidFill>
              </a:defRPr>
            </a:lvl3pPr>
            <a:lvl4pPr marL="1376244" indent="0">
              <a:buNone/>
              <a:defRPr sz="1405">
                <a:solidFill>
                  <a:schemeClr val="tx1">
                    <a:tint val="75000"/>
                  </a:schemeClr>
                </a:solidFill>
              </a:defRPr>
            </a:lvl4pPr>
            <a:lvl5pPr marL="1834991" indent="0">
              <a:buNone/>
              <a:defRPr sz="1405">
                <a:solidFill>
                  <a:schemeClr val="tx1">
                    <a:tint val="75000"/>
                  </a:schemeClr>
                </a:solidFill>
              </a:defRPr>
            </a:lvl5pPr>
            <a:lvl6pPr marL="2293740" indent="0">
              <a:buNone/>
              <a:defRPr sz="1405">
                <a:solidFill>
                  <a:schemeClr val="tx1">
                    <a:tint val="75000"/>
                  </a:schemeClr>
                </a:solidFill>
              </a:defRPr>
            </a:lvl6pPr>
            <a:lvl7pPr marL="2752490" indent="0">
              <a:buNone/>
              <a:defRPr sz="1405">
                <a:solidFill>
                  <a:schemeClr val="tx1">
                    <a:tint val="75000"/>
                  </a:schemeClr>
                </a:solidFill>
              </a:defRPr>
            </a:lvl7pPr>
            <a:lvl8pPr marL="3211236" indent="0">
              <a:buNone/>
              <a:defRPr sz="1405">
                <a:solidFill>
                  <a:schemeClr val="tx1">
                    <a:tint val="75000"/>
                  </a:schemeClr>
                </a:solidFill>
              </a:defRPr>
            </a:lvl8pPr>
            <a:lvl9pPr marL="3669984" indent="0">
              <a:buNone/>
              <a:defRPr sz="1405">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defTabSz="917783" fontAlgn="base">
              <a:spcBef>
                <a:spcPct val="0"/>
              </a:spcBef>
              <a:spcAft>
                <a:spcPct val="0"/>
              </a:spcAft>
              <a:defRPr/>
            </a:pPr>
            <a:fld id="{20F3B380-B7E9-4FF7-BF52-D98C14B8110C}"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36962981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C8989734-DE33-418D-BB96-ECB61D8C4673}"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3C7F8354-A1F7-4AE7-90D5-B3C2BAB3B60B}"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499429822"/>
      </p:ext>
    </p:extLst>
  </p:cSld>
  <p:clrMapOvr>
    <a:masterClrMapping/>
  </p:clrMapOvr>
  <p:transition spd="slow">
    <p:cove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03"/>
            <a:ext cx="10363200" cy="1362076"/>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719"/>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lvl1pPr>
              <a:defRPr/>
            </a:lvl1pPr>
          </a:lstStyle>
          <a:p>
            <a:pPr>
              <a:defRPr/>
            </a:pPr>
            <a:fld id="{E34F2744-767A-4F73-A63D-2A54DE733272}"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A390DFD7-845F-42FC-873C-B9CF24DCC97B}"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658688950"/>
      </p:ext>
    </p:extLst>
  </p:cSld>
  <p:clrMapOvr>
    <a:masterClrMapping/>
  </p:clrMapOvr>
  <p:transition spd="slow">
    <p:cove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333500"/>
            <a:ext cx="5384800" cy="3771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333500"/>
            <a:ext cx="5384800" cy="3771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3 Veri Yer Tutucusu"/>
          <p:cNvSpPr>
            <a:spLocks noGrp="1"/>
          </p:cNvSpPr>
          <p:nvPr>
            <p:ph type="dt" sz="half" idx="10"/>
          </p:nvPr>
        </p:nvSpPr>
        <p:spPr/>
        <p:txBody>
          <a:bodyPr/>
          <a:lstStyle>
            <a:lvl1pPr>
              <a:defRPr/>
            </a:lvl1pPr>
          </a:lstStyle>
          <a:p>
            <a:pPr>
              <a:defRPr/>
            </a:pPr>
            <a:fld id="{D335CCB0-A817-44D6-89EA-DB6228B58954}"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F2FFB138-1BB2-484C-9B07-F212DFCCD470}"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302382722"/>
      </p:ext>
    </p:extLst>
  </p:cSld>
  <p:clrMapOvr>
    <a:masterClrMapping/>
  </p:clrMapOvr>
  <p:transition spd="slow">
    <p:cove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609600" y="274640"/>
            <a:ext cx="10972800" cy="1143000"/>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600" y="1535116"/>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78" y="1535116"/>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3 Veri Yer Tutucusu"/>
          <p:cNvSpPr>
            <a:spLocks noGrp="1"/>
          </p:cNvSpPr>
          <p:nvPr>
            <p:ph type="dt" sz="half" idx="10"/>
          </p:nvPr>
        </p:nvSpPr>
        <p:spPr/>
        <p:txBody>
          <a:bodyPr/>
          <a:lstStyle>
            <a:lvl1pPr>
              <a:defRPr/>
            </a:lvl1pPr>
          </a:lstStyle>
          <a:p>
            <a:pPr>
              <a:defRPr/>
            </a:pPr>
            <a:fld id="{F76ABB00-57A2-451D-9445-AAEE979B94AD}"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8"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9" name="5 Slayt Numarası Yer Tutucusu"/>
          <p:cNvSpPr>
            <a:spLocks noGrp="1"/>
          </p:cNvSpPr>
          <p:nvPr>
            <p:ph type="sldNum" sz="quarter" idx="12"/>
          </p:nvPr>
        </p:nvSpPr>
        <p:spPr/>
        <p:txBody>
          <a:bodyPr/>
          <a:lstStyle>
            <a:lvl1pPr>
              <a:defRPr/>
            </a:lvl1pPr>
          </a:lstStyle>
          <a:p>
            <a:pPr>
              <a:defRPr/>
            </a:pPr>
            <a:fld id="{402686A9-2B2A-4D58-86CC-AA509BA3EC37}"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848372107"/>
      </p:ext>
    </p:extLst>
  </p:cSld>
  <p:clrMapOvr>
    <a:masterClrMapping/>
  </p:clrMapOvr>
  <p:transition spd="slow">
    <p:cove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3 Veri Yer Tutucusu"/>
          <p:cNvSpPr>
            <a:spLocks noGrp="1"/>
          </p:cNvSpPr>
          <p:nvPr>
            <p:ph type="dt" sz="half" idx="10"/>
          </p:nvPr>
        </p:nvSpPr>
        <p:spPr/>
        <p:txBody>
          <a:bodyPr/>
          <a:lstStyle>
            <a:lvl1pPr>
              <a:defRPr/>
            </a:lvl1pPr>
          </a:lstStyle>
          <a:p>
            <a:pPr>
              <a:defRPr/>
            </a:pPr>
            <a:fld id="{CCA43A87-62D7-4C74-B716-992776C71D50}"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4"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5" name="5 Slayt Numarası Yer Tutucusu"/>
          <p:cNvSpPr>
            <a:spLocks noGrp="1"/>
          </p:cNvSpPr>
          <p:nvPr>
            <p:ph type="sldNum" sz="quarter" idx="12"/>
          </p:nvPr>
        </p:nvSpPr>
        <p:spPr/>
        <p:txBody>
          <a:bodyPr/>
          <a:lstStyle>
            <a:lvl1pPr>
              <a:defRPr/>
            </a:lvl1pPr>
          </a:lstStyle>
          <a:p>
            <a:pPr>
              <a:defRPr/>
            </a:pPr>
            <a:fld id="{09C5C199-7168-42B7-A3F6-A5455B87A6AF}"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395227440"/>
      </p:ext>
    </p:extLst>
  </p:cSld>
  <p:clrMapOvr>
    <a:masterClrMapping/>
  </p:clrMapOvr>
  <p:transition spd="slow">
    <p:cove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3 Veri Yer Tutucusu"/>
          <p:cNvSpPr>
            <a:spLocks noGrp="1"/>
          </p:cNvSpPr>
          <p:nvPr>
            <p:ph type="dt" sz="half" idx="10"/>
          </p:nvPr>
        </p:nvSpPr>
        <p:spPr/>
        <p:txBody>
          <a:bodyPr/>
          <a:lstStyle>
            <a:lvl1pPr>
              <a:defRPr/>
            </a:lvl1pPr>
          </a:lstStyle>
          <a:p>
            <a:pPr>
              <a:defRPr/>
            </a:pPr>
            <a:fld id="{A1FF1221-CD58-4B3D-AD75-150529FC3759}"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3"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4" name="5 Slayt Numarası Yer Tutucusu"/>
          <p:cNvSpPr>
            <a:spLocks noGrp="1"/>
          </p:cNvSpPr>
          <p:nvPr>
            <p:ph type="sldNum" sz="quarter" idx="12"/>
          </p:nvPr>
        </p:nvSpPr>
        <p:spPr/>
        <p:txBody>
          <a:bodyPr/>
          <a:lstStyle>
            <a:lvl1pPr>
              <a:defRPr/>
            </a:lvl1pPr>
          </a:lstStyle>
          <a:p>
            <a:pPr>
              <a:defRPr/>
            </a:pPr>
            <a:fld id="{B08D93A5-FB99-46CF-BCD2-3E298B6F9D85}"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068291573"/>
      </p:ext>
    </p:extLst>
  </p:cSld>
  <p:clrMapOvr>
    <a:masterClrMapping/>
  </p:clrMapOvr>
  <p:transition spd="slow">
    <p:cove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26" y="273053"/>
            <a:ext cx="4011084" cy="1162050"/>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26"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D46E566F-1FDE-49AF-A877-FEE515151CCE}"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D87A40A6-510B-4C67-9499-81C2DB9737C5}"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333050425"/>
      </p:ext>
    </p:extLst>
  </p:cSld>
  <p:clrMapOvr>
    <a:masterClrMapping/>
  </p:clrMapOvr>
  <p:transition spd="slow">
    <p:cove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7" y="4800600"/>
            <a:ext cx="7315200" cy="566738"/>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dirty="0" smtClean="0"/>
          </a:p>
        </p:txBody>
      </p:sp>
      <p:sp>
        <p:nvSpPr>
          <p:cNvPr id="4" name="3 Metin Yer Tutucusu"/>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C9DB3E49-EF08-4F53-BA00-DCD140DD7987}"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529E0649-6478-448D-B828-5BC015800B18}"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385075958"/>
      </p:ext>
    </p:extLst>
  </p:cSld>
  <p:clrMapOvr>
    <a:masterClrMapping/>
  </p:clrMapOvr>
  <p:transition spd="slow">
    <p:cove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A14AFCA5-6EE0-4D69-BACD-3F5715658880}"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F62210FA-35A0-43A7-9E85-9016D0B317D1}"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451169383"/>
      </p:ext>
    </p:extLst>
  </p:cSld>
  <p:clrMapOvr>
    <a:masterClrMapping/>
  </p:clrMapOvr>
  <p:transition spd="slow">
    <p:cove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0" y="228600"/>
            <a:ext cx="2743200" cy="4876800"/>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0" y="228600"/>
            <a:ext cx="8026400" cy="4876800"/>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685D0818-723E-4A3B-BCEF-7A7B32332466}"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7D7FBABC-B7DB-4873-80DF-9EF2FB97B2AD}"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100329267"/>
      </p:ext>
    </p:extLst>
  </p:cSld>
  <p:clrMapOvr>
    <a:masterClrMapping/>
  </p:clrMapOvr>
  <p:transition spd="slow">
    <p:cove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600293"/>
            <a:ext cx="5384800" cy="4525963"/>
          </a:xfrm>
        </p:spPr>
        <p:txBody>
          <a:bodyPr/>
          <a:lstStyle>
            <a:lvl1pPr>
              <a:defRPr sz="2810"/>
            </a:lvl1pPr>
            <a:lvl2pPr>
              <a:defRPr sz="2409"/>
            </a:lvl2pPr>
            <a:lvl3pPr>
              <a:defRPr sz="2007"/>
            </a:lvl3pPr>
            <a:lvl4pPr>
              <a:defRPr sz="1807"/>
            </a:lvl4pPr>
            <a:lvl5pPr>
              <a:defRPr sz="1807"/>
            </a:lvl5pPr>
            <a:lvl6pPr>
              <a:defRPr sz="1807"/>
            </a:lvl6pPr>
            <a:lvl7pPr>
              <a:defRPr sz="1807"/>
            </a:lvl7pPr>
            <a:lvl8pPr>
              <a:defRPr sz="1807"/>
            </a:lvl8pPr>
            <a:lvl9pPr>
              <a:defRPr sz="180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600293"/>
            <a:ext cx="5384800" cy="4525963"/>
          </a:xfrm>
        </p:spPr>
        <p:txBody>
          <a:bodyPr/>
          <a:lstStyle>
            <a:lvl1pPr>
              <a:defRPr sz="2810"/>
            </a:lvl1pPr>
            <a:lvl2pPr>
              <a:defRPr sz="2409"/>
            </a:lvl2pPr>
            <a:lvl3pPr>
              <a:defRPr sz="2007"/>
            </a:lvl3pPr>
            <a:lvl4pPr>
              <a:defRPr sz="1807"/>
            </a:lvl4pPr>
            <a:lvl5pPr>
              <a:defRPr sz="1807"/>
            </a:lvl5pPr>
            <a:lvl6pPr>
              <a:defRPr sz="1807"/>
            </a:lvl6pPr>
            <a:lvl7pPr>
              <a:defRPr sz="1807"/>
            </a:lvl7pPr>
            <a:lvl8pPr>
              <a:defRPr sz="1807"/>
            </a:lvl8pPr>
            <a:lvl9pPr>
              <a:defRPr sz="180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defTabSz="917783" fontAlgn="base">
              <a:spcBef>
                <a:spcPct val="0"/>
              </a:spcBef>
              <a:spcAft>
                <a:spcPct val="0"/>
              </a:spcAft>
              <a:defRPr/>
            </a:pPr>
            <a:fld id="{0D9E6DD9-8F81-425C-BBDE-474E60075AAB}"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6" name="5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7" name="6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26470820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as">
    <p:spTree>
      <p:nvGrpSpPr>
        <p:cNvPr id="1" name=""/>
        <p:cNvGrpSpPr/>
        <p:nvPr/>
      </p:nvGrpSpPr>
      <p:grpSpPr>
        <a:xfrm>
          <a:off x="0" y="0"/>
          <a:ext cx="0" cy="0"/>
          <a:chOff x="0" y="0"/>
          <a:chExt cx="0" cy="0"/>
        </a:xfrm>
      </p:grpSpPr>
      <p:grpSp>
        <p:nvGrpSpPr>
          <p:cNvPr id="2" name="Grup 17"/>
          <p:cNvGrpSpPr>
            <a:grpSpLocks/>
          </p:cNvGrpSpPr>
          <p:nvPr userDrawn="1"/>
        </p:nvGrpSpPr>
        <p:grpSpPr bwMode="auto">
          <a:xfrm>
            <a:off x="-86783" y="5"/>
            <a:ext cx="1576455" cy="6857548"/>
            <a:chOff x="-65517" y="0"/>
            <a:chExt cx="1181133" cy="6858000"/>
          </a:xfrm>
        </p:grpSpPr>
        <p:grpSp>
          <p:nvGrpSpPr>
            <p:cNvPr id="3" name="Grup 9"/>
            <p:cNvGrpSpPr>
              <a:grpSpLocks/>
            </p:cNvGrpSpPr>
            <p:nvPr userDrawn="1"/>
          </p:nvGrpSpPr>
          <p:grpSpPr bwMode="auto">
            <a:xfrm>
              <a:off x="0" y="0"/>
              <a:ext cx="1115616" cy="6858000"/>
              <a:chOff x="0" y="0"/>
              <a:chExt cx="1115616" cy="6858000"/>
            </a:xfrm>
          </p:grpSpPr>
          <p:sp>
            <p:nvSpPr>
              <p:cNvPr id="5" name="Dikdörtgen 10"/>
              <p:cNvSpPr/>
              <p:nvPr/>
            </p:nvSpPr>
            <p:spPr>
              <a:xfrm>
                <a:off x="0" y="0"/>
                <a:ext cx="1115616" cy="6858000"/>
              </a:xfrm>
              <a:prstGeom prst="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path path="circle">
                  <a:fillToRect l="50000" t="50000" r="50000" b="50000"/>
                </a:path>
                <a:tileRect/>
              </a:gradFill>
              <a:ln w="25400" cap="flat" cmpd="sng" algn="ctr">
                <a:solidFill>
                  <a:srgbClr val="4F81BD">
                    <a:shade val="50000"/>
                  </a:srgbClr>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ysClr val="window" lastClr="FFFFFF"/>
                  </a:solidFill>
                  <a:effectLst/>
                  <a:uLnTx/>
                  <a:uFillTx/>
                  <a:latin typeface="Calibri"/>
                  <a:ea typeface="+mn-ea"/>
                  <a:cs typeface="Arial" charset="0"/>
                </a:endParaRPr>
              </a:p>
            </p:txBody>
          </p:sp>
          <p:pic>
            <p:nvPicPr>
              <p:cNvPr id="6" name="Resim 11"/>
              <p:cNvPicPr>
                <a:picLocks noChangeAspect="1"/>
              </p:cNvPicPr>
              <p:nvPr/>
            </p:nvPicPr>
            <p:blipFill>
              <a:blip r:embed="rId2">
                <a:extLst>
                  <a:ext uri="{28A0092B-C50C-407E-A947-70E740481C1C}">
                    <a14:useLocalDpi xmlns:a14="http://schemas.microsoft.com/office/drawing/2010/main" val="0"/>
                  </a:ext>
                </a:extLst>
              </a:blip>
              <a:srcRect r="76555"/>
              <a:stretch>
                <a:fillRect/>
              </a:stretch>
            </p:blipFill>
            <p:spPr bwMode="auto">
              <a:xfrm>
                <a:off x="0" y="1"/>
                <a:ext cx="1115616" cy="840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Metin kutusu 16"/>
            <p:cNvSpPr txBox="1"/>
            <p:nvPr userDrawn="1"/>
          </p:nvSpPr>
          <p:spPr>
            <a:xfrm>
              <a:off x="-65517" y="6578401"/>
              <a:ext cx="934637" cy="253933"/>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prstClr val="white"/>
                  </a:solidFill>
                  <a:effectLst/>
                  <a:uLnTx/>
                  <a:uFillTx/>
                  <a:latin typeface="Calibri"/>
                  <a:ea typeface="+mn-ea"/>
                  <a:cs typeface="Arial" charset="0"/>
                </a:rPr>
                <a:t>www.kosgeb.gov.tr</a:t>
              </a:r>
            </a:p>
          </p:txBody>
        </p:sp>
      </p:grpSp>
      <p:pic>
        <p:nvPicPr>
          <p:cNvPr id="7" name="Picture 6"/>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 y="0"/>
            <a:ext cx="12799484" cy="6863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ayt Numarası Yer Tutucusu 5"/>
          <p:cNvSpPr>
            <a:spLocks noGrp="1"/>
          </p:cNvSpPr>
          <p:nvPr>
            <p:ph type="sldNum" sz="quarter" idx="10"/>
          </p:nvPr>
        </p:nvSpPr>
        <p:spPr>
          <a:xfrm>
            <a:off x="9952567" y="6442714"/>
            <a:ext cx="2844800" cy="415290"/>
          </a:xfrm>
        </p:spPr>
        <p:txBody>
          <a:bodyPr/>
          <a:lstStyle>
            <a:lvl1pPr>
              <a:defRPr/>
            </a:lvl1pPr>
          </a:lstStyle>
          <a:p>
            <a:pPr>
              <a:defRPr/>
            </a:pPr>
            <a:fld id="{A47FF00A-F329-49AC-B2A1-98DD75044DCB}" type="slidenum">
              <a:rPr lang="tr-TR" smtClean="0">
                <a:solidFill>
                  <a:prstClr val="black">
                    <a:tint val="75000"/>
                  </a:prstClr>
                </a:solidFill>
              </a:rPr>
              <a:pPr>
                <a:defRPr/>
              </a:pPr>
              <a:t>‹#›</a:t>
            </a:fld>
            <a:endParaRPr lang="tr-TR">
              <a:solidFill>
                <a:prstClr val="black">
                  <a:tint val="75000"/>
                </a:prstClr>
              </a:solidFill>
            </a:endParaRPr>
          </a:p>
        </p:txBody>
      </p:sp>
    </p:spTree>
    <p:extLst>
      <p:ext uri="{BB962C8B-B14F-4D97-AF65-F5344CB8AC3E}">
        <p14:creationId xmlns:p14="http://schemas.microsoft.com/office/powerpoint/2010/main" val="393741823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563"/>
            <a:ext cx="10363200" cy="1470025"/>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0" y="3886202"/>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a:defRPr/>
            </a:pPr>
            <a:fld id="{5D797F94-3328-447B-9AF5-9BE06EE3B75E}"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2C88CDE6-2AB7-4793-B620-C963B5A07959}"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4221480865"/>
      </p:ext>
    </p:extLst>
  </p:cSld>
  <p:clrMapOvr>
    <a:masterClrMapping/>
  </p:clrMapOvr>
  <p:transition spd="slow">
    <p:cove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A924B567-CE66-477D-BE69-D7FFDFFC8E4B}"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3C7F8354-A1F7-4AE7-90D5-B3C2BAB3B60B}"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599586499"/>
      </p:ext>
    </p:extLst>
  </p:cSld>
  <p:clrMapOvr>
    <a:masterClrMapping/>
  </p:clrMapOvr>
  <p:transition spd="slow">
    <p:cove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03"/>
            <a:ext cx="10363200" cy="1362076"/>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719"/>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lvl1pPr>
              <a:defRPr/>
            </a:lvl1pPr>
          </a:lstStyle>
          <a:p>
            <a:pPr>
              <a:defRPr/>
            </a:pPr>
            <a:fld id="{4F3B5854-F862-4122-95AB-3A6886136B49}"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A390DFD7-845F-42FC-873C-B9CF24DCC97B}"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935474355"/>
      </p:ext>
    </p:extLst>
  </p:cSld>
  <p:clrMapOvr>
    <a:masterClrMapping/>
  </p:clrMapOvr>
  <p:transition spd="slow">
    <p:cove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333500"/>
            <a:ext cx="5384800" cy="3771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333500"/>
            <a:ext cx="5384800" cy="3771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3 Veri Yer Tutucusu"/>
          <p:cNvSpPr>
            <a:spLocks noGrp="1"/>
          </p:cNvSpPr>
          <p:nvPr>
            <p:ph type="dt" sz="half" idx="10"/>
          </p:nvPr>
        </p:nvSpPr>
        <p:spPr/>
        <p:txBody>
          <a:bodyPr/>
          <a:lstStyle>
            <a:lvl1pPr>
              <a:defRPr/>
            </a:lvl1pPr>
          </a:lstStyle>
          <a:p>
            <a:pPr>
              <a:defRPr/>
            </a:pPr>
            <a:fld id="{B8B7EB05-6C59-4EF2-86F5-D5A92DD4A3DF}"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F2FFB138-1BB2-484C-9B07-F212DFCCD470}"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686324933"/>
      </p:ext>
    </p:extLst>
  </p:cSld>
  <p:clrMapOvr>
    <a:masterClrMapping/>
  </p:clrMapOvr>
  <p:transition spd="slow">
    <p:cove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609600" y="274640"/>
            <a:ext cx="10972800" cy="1143000"/>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600" y="1535116"/>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78" y="1535116"/>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3 Veri Yer Tutucusu"/>
          <p:cNvSpPr>
            <a:spLocks noGrp="1"/>
          </p:cNvSpPr>
          <p:nvPr>
            <p:ph type="dt" sz="half" idx="10"/>
          </p:nvPr>
        </p:nvSpPr>
        <p:spPr/>
        <p:txBody>
          <a:bodyPr/>
          <a:lstStyle>
            <a:lvl1pPr>
              <a:defRPr/>
            </a:lvl1pPr>
          </a:lstStyle>
          <a:p>
            <a:pPr>
              <a:defRPr/>
            </a:pPr>
            <a:fld id="{5396EF35-9F13-4554-9F93-44A4633741E5}"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8"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9" name="5 Slayt Numarası Yer Tutucusu"/>
          <p:cNvSpPr>
            <a:spLocks noGrp="1"/>
          </p:cNvSpPr>
          <p:nvPr>
            <p:ph type="sldNum" sz="quarter" idx="12"/>
          </p:nvPr>
        </p:nvSpPr>
        <p:spPr/>
        <p:txBody>
          <a:bodyPr/>
          <a:lstStyle>
            <a:lvl1pPr>
              <a:defRPr/>
            </a:lvl1pPr>
          </a:lstStyle>
          <a:p>
            <a:pPr>
              <a:defRPr/>
            </a:pPr>
            <a:fld id="{402686A9-2B2A-4D58-86CC-AA509BA3EC37}"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548724660"/>
      </p:ext>
    </p:extLst>
  </p:cSld>
  <p:clrMapOvr>
    <a:masterClrMapping/>
  </p:clrMapOvr>
  <p:transition spd="slow">
    <p:cove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3 Veri Yer Tutucusu"/>
          <p:cNvSpPr>
            <a:spLocks noGrp="1"/>
          </p:cNvSpPr>
          <p:nvPr>
            <p:ph type="dt" sz="half" idx="10"/>
          </p:nvPr>
        </p:nvSpPr>
        <p:spPr/>
        <p:txBody>
          <a:bodyPr/>
          <a:lstStyle>
            <a:lvl1pPr>
              <a:defRPr/>
            </a:lvl1pPr>
          </a:lstStyle>
          <a:p>
            <a:pPr>
              <a:defRPr/>
            </a:pPr>
            <a:fld id="{C385AF84-8EAB-4840-9B1D-8D8C9F03BC34}"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4"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5" name="5 Slayt Numarası Yer Tutucusu"/>
          <p:cNvSpPr>
            <a:spLocks noGrp="1"/>
          </p:cNvSpPr>
          <p:nvPr>
            <p:ph type="sldNum" sz="quarter" idx="12"/>
          </p:nvPr>
        </p:nvSpPr>
        <p:spPr/>
        <p:txBody>
          <a:bodyPr/>
          <a:lstStyle>
            <a:lvl1pPr>
              <a:defRPr/>
            </a:lvl1pPr>
          </a:lstStyle>
          <a:p>
            <a:pPr>
              <a:defRPr/>
            </a:pPr>
            <a:fld id="{09C5C199-7168-42B7-A3F6-A5455B87A6AF}"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384331517"/>
      </p:ext>
    </p:extLst>
  </p:cSld>
  <p:clrMapOvr>
    <a:masterClrMapping/>
  </p:clrMapOvr>
  <p:transition spd="slow">
    <p:cove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3 Veri Yer Tutucusu"/>
          <p:cNvSpPr>
            <a:spLocks noGrp="1"/>
          </p:cNvSpPr>
          <p:nvPr>
            <p:ph type="dt" sz="half" idx="10"/>
          </p:nvPr>
        </p:nvSpPr>
        <p:spPr/>
        <p:txBody>
          <a:bodyPr/>
          <a:lstStyle>
            <a:lvl1pPr>
              <a:defRPr/>
            </a:lvl1pPr>
          </a:lstStyle>
          <a:p>
            <a:pPr>
              <a:defRPr/>
            </a:pPr>
            <a:fld id="{9D1094F4-B460-4ADE-AC86-94785A5EDBF8}"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3"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4" name="5 Slayt Numarası Yer Tutucusu"/>
          <p:cNvSpPr>
            <a:spLocks noGrp="1"/>
          </p:cNvSpPr>
          <p:nvPr>
            <p:ph type="sldNum" sz="quarter" idx="12"/>
          </p:nvPr>
        </p:nvSpPr>
        <p:spPr/>
        <p:txBody>
          <a:bodyPr/>
          <a:lstStyle>
            <a:lvl1pPr>
              <a:defRPr/>
            </a:lvl1pPr>
          </a:lstStyle>
          <a:p>
            <a:pPr>
              <a:defRPr/>
            </a:pPr>
            <a:fld id="{B08D93A5-FB99-46CF-BCD2-3E298B6F9D85}"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517133033"/>
      </p:ext>
    </p:extLst>
  </p:cSld>
  <p:clrMapOvr>
    <a:masterClrMapping/>
  </p:clrMapOvr>
  <p:transition spd="slow">
    <p:cove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26" y="273053"/>
            <a:ext cx="4011084" cy="1162050"/>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26"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03FC4134-6B21-497E-8A4F-E5EE99213F19}"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D87A40A6-510B-4C67-9499-81C2DB9737C5}"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302515904"/>
      </p:ext>
    </p:extLst>
  </p:cSld>
  <p:clrMapOvr>
    <a:masterClrMapping/>
  </p:clrMapOvr>
  <p:transition spd="slow">
    <p:cove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7" y="4800600"/>
            <a:ext cx="7315200" cy="566738"/>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dirty="0" smtClean="0"/>
          </a:p>
        </p:txBody>
      </p:sp>
      <p:sp>
        <p:nvSpPr>
          <p:cNvPr id="4" name="3 Metin Yer Tutucusu"/>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69E9E0B8-99D5-4A53-8431-F57113A78D54}"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529E0649-6478-448D-B828-5BC015800B18}"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148079260"/>
      </p:ext>
    </p:extLst>
  </p:cSld>
  <p:clrMapOvr>
    <a:masterClrMapping/>
  </p:clrMapOvr>
  <p:transition spd="slow">
    <p:cove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600" y="1535252"/>
            <a:ext cx="5386917" cy="639762"/>
          </a:xfrm>
        </p:spPr>
        <p:txBody>
          <a:bodyPr anchor="b"/>
          <a:lstStyle>
            <a:lvl1pPr marL="0" indent="0">
              <a:buNone/>
              <a:defRPr sz="2409" b="1"/>
            </a:lvl1pPr>
            <a:lvl2pPr marL="458747" indent="0">
              <a:buNone/>
              <a:defRPr sz="2007" b="1"/>
            </a:lvl2pPr>
            <a:lvl3pPr marL="917496" indent="0">
              <a:buNone/>
              <a:defRPr sz="1807" b="1"/>
            </a:lvl3pPr>
            <a:lvl4pPr marL="1376244" indent="0">
              <a:buNone/>
              <a:defRPr sz="1606" b="1"/>
            </a:lvl4pPr>
            <a:lvl5pPr marL="1834991" indent="0">
              <a:buNone/>
              <a:defRPr sz="1606" b="1"/>
            </a:lvl5pPr>
            <a:lvl6pPr marL="2293740" indent="0">
              <a:buNone/>
              <a:defRPr sz="1606" b="1"/>
            </a:lvl6pPr>
            <a:lvl7pPr marL="2752490" indent="0">
              <a:buNone/>
              <a:defRPr sz="1606" b="1"/>
            </a:lvl7pPr>
            <a:lvl8pPr marL="3211236" indent="0">
              <a:buNone/>
              <a:defRPr sz="1606" b="1"/>
            </a:lvl8pPr>
            <a:lvl9pPr marL="3669984" indent="0">
              <a:buNone/>
              <a:defRPr sz="1606" b="1"/>
            </a:lvl9pPr>
          </a:lstStyle>
          <a:p>
            <a:pPr lvl="0"/>
            <a:r>
              <a:rPr lang="tr-TR" smtClean="0"/>
              <a:t>Asıl metin stillerini düzenlemek için tıklatın</a:t>
            </a:r>
          </a:p>
        </p:txBody>
      </p:sp>
      <p:sp>
        <p:nvSpPr>
          <p:cNvPr id="4" name="3 İçerik Yer Tutucusu"/>
          <p:cNvSpPr>
            <a:spLocks noGrp="1"/>
          </p:cNvSpPr>
          <p:nvPr>
            <p:ph sz="half" idx="2"/>
          </p:nvPr>
        </p:nvSpPr>
        <p:spPr>
          <a:xfrm>
            <a:off x="609600" y="2174877"/>
            <a:ext cx="5386917" cy="3951288"/>
          </a:xfrm>
        </p:spPr>
        <p:txBody>
          <a:bodyPr/>
          <a:lstStyle>
            <a:lvl1pPr>
              <a:defRPr sz="2409"/>
            </a:lvl1pPr>
            <a:lvl2pPr>
              <a:defRPr sz="2007"/>
            </a:lvl2pPr>
            <a:lvl3pPr>
              <a:defRPr sz="1807"/>
            </a:lvl3pPr>
            <a:lvl4pPr>
              <a:defRPr sz="1606"/>
            </a:lvl4pPr>
            <a:lvl5pPr>
              <a:defRPr sz="1606"/>
            </a:lvl5pPr>
            <a:lvl6pPr>
              <a:defRPr sz="1606"/>
            </a:lvl6pPr>
            <a:lvl7pPr>
              <a:defRPr sz="1606"/>
            </a:lvl7pPr>
            <a:lvl8pPr>
              <a:defRPr sz="1606"/>
            </a:lvl8pPr>
            <a:lvl9pPr>
              <a:defRPr sz="1606"/>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78" y="1535252"/>
            <a:ext cx="5389033" cy="639762"/>
          </a:xfrm>
        </p:spPr>
        <p:txBody>
          <a:bodyPr anchor="b"/>
          <a:lstStyle>
            <a:lvl1pPr marL="0" indent="0">
              <a:buNone/>
              <a:defRPr sz="2409" b="1"/>
            </a:lvl1pPr>
            <a:lvl2pPr marL="458747" indent="0">
              <a:buNone/>
              <a:defRPr sz="2007" b="1"/>
            </a:lvl2pPr>
            <a:lvl3pPr marL="917496" indent="0">
              <a:buNone/>
              <a:defRPr sz="1807" b="1"/>
            </a:lvl3pPr>
            <a:lvl4pPr marL="1376244" indent="0">
              <a:buNone/>
              <a:defRPr sz="1606" b="1"/>
            </a:lvl4pPr>
            <a:lvl5pPr marL="1834991" indent="0">
              <a:buNone/>
              <a:defRPr sz="1606" b="1"/>
            </a:lvl5pPr>
            <a:lvl6pPr marL="2293740" indent="0">
              <a:buNone/>
              <a:defRPr sz="1606" b="1"/>
            </a:lvl6pPr>
            <a:lvl7pPr marL="2752490" indent="0">
              <a:buNone/>
              <a:defRPr sz="1606" b="1"/>
            </a:lvl7pPr>
            <a:lvl8pPr marL="3211236" indent="0">
              <a:buNone/>
              <a:defRPr sz="1606" b="1"/>
            </a:lvl8pPr>
            <a:lvl9pPr marL="3669984" indent="0">
              <a:buNone/>
              <a:defRPr sz="1606"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78" y="2174877"/>
            <a:ext cx="5389033" cy="3951288"/>
          </a:xfrm>
        </p:spPr>
        <p:txBody>
          <a:bodyPr/>
          <a:lstStyle>
            <a:lvl1pPr>
              <a:defRPr sz="2409"/>
            </a:lvl1pPr>
            <a:lvl2pPr>
              <a:defRPr sz="2007"/>
            </a:lvl2pPr>
            <a:lvl3pPr>
              <a:defRPr sz="1807"/>
            </a:lvl3pPr>
            <a:lvl4pPr>
              <a:defRPr sz="1606"/>
            </a:lvl4pPr>
            <a:lvl5pPr>
              <a:defRPr sz="1606"/>
            </a:lvl5pPr>
            <a:lvl6pPr>
              <a:defRPr sz="1606"/>
            </a:lvl6pPr>
            <a:lvl7pPr>
              <a:defRPr sz="1606"/>
            </a:lvl7pPr>
            <a:lvl8pPr>
              <a:defRPr sz="1606"/>
            </a:lvl8pPr>
            <a:lvl9pPr>
              <a:defRPr sz="1606"/>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defTabSz="917783" fontAlgn="base">
              <a:spcBef>
                <a:spcPct val="0"/>
              </a:spcBef>
              <a:spcAft>
                <a:spcPct val="0"/>
              </a:spcAft>
              <a:defRPr/>
            </a:pPr>
            <a:fld id="{E1D928EC-6291-4E38-9AC1-C0219A7AFEB2}"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8" name="7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9" name="8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31251443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AFF54E2B-794A-40C1-9AC2-8CEF299D877E}"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F62210FA-35A0-43A7-9E85-9016D0B317D1}"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403315203"/>
      </p:ext>
    </p:extLst>
  </p:cSld>
  <p:clrMapOvr>
    <a:masterClrMapping/>
  </p:clrMapOvr>
  <p:transition spd="slow">
    <p:cove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0" y="228600"/>
            <a:ext cx="2743200" cy="4876800"/>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0" y="228600"/>
            <a:ext cx="8026400" cy="4876800"/>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D971EEAB-48C4-44A8-839A-11E0C4B391A6}"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7D7FBABC-B7DB-4873-80DF-9EF2FB97B2AD}"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146138040"/>
      </p:ext>
    </p:extLst>
  </p:cSld>
  <p:clrMapOvr>
    <a:masterClrMapping/>
  </p:clrMapOvr>
  <p:transition spd="slow">
    <p:cove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as">
    <p:spTree>
      <p:nvGrpSpPr>
        <p:cNvPr id="1" name=""/>
        <p:cNvGrpSpPr/>
        <p:nvPr/>
      </p:nvGrpSpPr>
      <p:grpSpPr>
        <a:xfrm>
          <a:off x="0" y="0"/>
          <a:ext cx="0" cy="0"/>
          <a:chOff x="0" y="0"/>
          <a:chExt cx="0" cy="0"/>
        </a:xfrm>
      </p:grpSpPr>
      <p:grpSp>
        <p:nvGrpSpPr>
          <p:cNvPr id="2" name="Grup 17"/>
          <p:cNvGrpSpPr>
            <a:grpSpLocks/>
          </p:cNvGrpSpPr>
          <p:nvPr userDrawn="1"/>
        </p:nvGrpSpPr>
        <p:grpSpPr bwMode="auto">
          <a:xfrm>
            <a:off x="-86783" y="5"/>
            <a:ext cx="1576455" cy="6857548"/>
            <a:chOff x="-65517" y="0"/>
            <a:chExt cx="1181133" cy="6858000"/>
          </a:xfrm>
        </p:grpSpPr>
        <p:grpSp>
          <p:nvGrpSpPr>
            <p:cNvPr id="3" name="Grup 9"/>
            <p:cNvGrpSpPr>
              <a:grpSpLocks/>
            </p:cNvGrpSpPr>
            <p:nvPr userDrawn="1"/>
          </p:nvGrpSpPr>
          <p:grpSpPr bwMode="auto">
            <a:xfrm>
              <a:off x="0" y="0"/>
              <a:ext cx="1115616" cy="6858000"/>
              <a:chOff x="0" y="0"/>
              <a:chExt cx="1115616" cy="6858000"/>
            </a:xfrm>
          </p:grpSpPr>
          <p:sp>
            <p:nvSpPr>
              <p:cNvPr id="5" name="Dikdörtgen 10"/>
              <p:cNvSpPr/>
              <p:nvPr/>
            </p:nvSpPr>
            <p:spPr>
              <a:xfrm>
                <a:off x="0" y="0"/>
                <a:ext cx="1115616" cy="6858000"/>
              </a:xfrm>
              <a:prstGeom prst="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path path="circle">
                  <a:fillToRect l="50000" t="50000" r="50000" b="50000"/>
                </a:path>
                <a:tileRect/>
              </a:gradFill>
              <a:ln w="25400" cap="flat" cmpd="sng" algn="ctr">
                <a:solidFill>
                  <a:srgbClr val="4F81BD">
                    <a:shade val="50000"/>
                  </a:srgbClr>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ysClr val="window" lastClr="FFFFFF"/>
                  </a:solidFill>
                  <a:effectLst/>
                  <a:uLnTx/>
                  <a:uFillTx/>
                  <a:latin typeface="Calibri"/>
                  <a:ea typeface="+mn-ea"/>
                  <a:cs typeface="Arial" charset="0"/>
                </a:endParaRPr>
              </a:p>
            </p:txBody>
          </p:sp>
          <p:pic>
            <p:nvPicPr>
              <p:cNvPr id="6" name="Resim 11"/>
              <p:cNvPicPr>
                <a:picLocks noChangeAspect="1"/>
              </p:cNvPicPr>
              <p:nvPr/>
            </p:nvPicPr>
            <p:blipFill>
              <a:blip r:embed="rId2">
                <a:extLst>
                  <a:ext uri="{28A0092B-C50C-407E-A947-70E740481C1C}">
                    <a14:useLocalDpi xmlns:a14="http://schemas.microsoft.com/office/drawing/2010/main" val="0"/>
                  </a:ext>
                </a:extLst>
              </a:blip>
              <a:srcRect r="76555"/>
              <a:stretch>
                <a:fillRect/>
              </a:stretch>
            </p:blipFill>
            <p:spPr bwMode="auto">
              <a:xfrm>
                <a:off x="0" y="1"/>
                <a:ext cx="1115616" cy="840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Metin kutusu 16"/>
            <p:cNvSpPr txBox="1"/>
            <p:nvPr userDrawn="1"/>
          </p:nvSpPr>
          <p:spPr>
            <a:xfrm>
              <a:off x="-65517" y="6578401"/>
              <a:ext cx="934637" cy="253933"/>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prstClr val="white"/>
                  </a:solidFill>
                  <a:effectLst/>
                  <a:uLnTx/>
                  <a:uFillTx/>
                  <a:latin typeface="Calibri"/>
                  <a:ea typeface="+mn-ea"/>
                  <a:cs typeface="Arial" charset="0"/>
                </a:rPr>
                <a:t>www.kosgeb.gov.tr</a:t>
              </a:r>
            </a:p>
          </p:txBody>
        </p:sp>
      </p:grpSp>
      <p:pic>
        <p:nvPicPr>
          <p:cNvPr id="7" name="Picture 6"/>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 y="0"/>
            <a:ext cx="12799484" cy="6863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ayt Numarası Yer Tutucusu 5"/>
          <p:cNvSpPr>
            <a:spLocks noGrp="1"/>
          </p:cNvSpPr>
          <p:nvPr>
            <p:ph type="sldNum" sz="quarter" idx="10"/>
          </p:nvPr>
        </p:nvSpPr>
        <p:spPr>
          <a:xfrm>
            <a:off x="9952567" y="6442714"/>
            <a:ext cx="2844800" cy="415290"/>
          </a:xfrm>
        </p:spPr>
        <p:txBody>
          <a:bodyPr/>
          <a:lstStyle>
            <a:lvl1pPr>
              <a:defRPr/>
            </a:lvl1pPr>
          </a:lstStyle>
          <a:p>
            <a:pPr>
              <a:defRPr/>
            </a:pPr>
            <a:fld id="{A47FF00A-F329-49AC-B2A1-98DD75044DCB}" type="slidenum">
              <a:rPr lang="tr-TR" smtClean="0">
                <a:solidFill>
                  <a:prstClr val="black">
                    <a:tint val="75000"/>
                  </a:prstClr>
                </a:solidFill>
              </a:rPr>
              <a:pPr>
                <a:defRPr/>
              </a:pPr>
              <a:t>‹#›</a:t>
            </a:fld>
            <a:endParaRPr lang="tr-TR">
              <a:solidFill>
                <a:prstClr val="black">
                  <a:tint val="75000"/>
                </a:prstClr>
              </a:solidFill>
            </a:endParaRPr>
          </a:p>
        </p:txBody>
      </p:sp>
    </p:spTree>
    <p:extLst>
      <p:ext uri="{BB962C8B-B14F-4D97-AF65-F5344CB8AC3E}">
        <p14:creationId xmlns:p14="http://schemas.microsoft.com/office/powerpoint/2010/main" val="15240425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545"/>
            <a:ext cx="10363200" cy="1470025"/>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0" y="3886202"/>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a:defRPr/>
            </a:pPr>
            <a:fld id="{40B46AD9-0009-4708-8A86-EE1BC520FBE0}"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2C88CDE6-2AB7-4793-B620-C963B5A07959}"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992350634"/>
      </p:ext>
    </p:extLst>
  </p:cSld>
  <p:clrMapOvr>
    <a:masterClrMapping/>
  </p:clrMapOvr>
  <p:transition spd="slow">
    <p:cove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D99BE8B4-10F2-499B-94C1-5E6B226B70B9}"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3C7F8354-A1F7-4AE7-90D5-B3C2BAB3B60B}"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692984970"/>
      </p:ext>
    </p:extLst>
  </p:cSld>
  <p:clrMapOvr>
    <a:masterClrMapping/>
  </p:clrMapOvr>
  <p:transition spd="slow">
    <p:cove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03"/>
            <a:ext cx="10363200" cy="1362076"/>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719"/>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lvl1pPr>
              <a:defRPr/>
            </a:lvl1pPr>
          </a:lstStyle>
          <a:p>
            <a:pPr>
              <a:defRPr/>
            </a:pPr>
            <a:fld id="{7F66169A-2818-4FD0-86A1-C2F97B9774C4}"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A390DFD7-845F-42FC-873C-B9CF24DCC97B}"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301616128"/>
      </p:ext>
    </p:extLst>
  </p:cSld>
  <p:clrMapOvr>
    <a:masterClrMapping/>
  </p:clrMapOvr>
  <p:transition spd="slow">
    <p:cove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333500"/>
            <a:ext cx="5384800" cy="3771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333500"/>
            <a:ext cx="5384800" cy="3771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3 Veri Yer Tutucusu"/>
          <p:cNvSpPr>
            <a:spLocks noGrp="1"/>
          </p:cNvSpPr>
          <p:nvPr>
            <p:ph type="dt" sz="half" idx="10"/>
          </p:nvPr>
        </p:nvSpPr>
        <p:spPr/>
        <p:txBody>
          <a:bodyPr/>
          <a:lstStyle>
            <a:lvl1pPr>
              <a:defRPr/>
            </a:lvl1pPr>
          </a:lstStyle>
          <a:p>
            <a:pPr>
              <a:defRPr/>
            </a:pPr>
            <a:fld id="{8057607A-20A3-447B-BEED-C34DAF6216F9}"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F2FFB138-1BB2-484C-9B07-F212DFCCD470}"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485920829"/>
      </p:ext>
    </p:extLst>
  </p:cSld>
  <p:clrMapOvr>
    <a:masterClrMapping/>
  </p:clrMapOvr>
  <p:transition spd="slow">
    <p:cove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609600" y="274640"/>
            <a:ext cx="10972800" cy="1143000"/>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600" y="1535116"/>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78" y="1535116"/>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3 Veri Yer Tutucusu"/>
          <p:cNvSpPr>
            <a:spLocks noGrp="1"/>
          </p:cNvSpPr>
          <p:nvPr>
            <p:ph type="dt" sz="half" idx="10"/>
          </p:nvPr>
        </p:nvSpPr>
        <p:spPr/>
        <p:txBody>
          <a:bodyPr/>
          <a:lstStyle>
            <a:lvl1pPr>
              <a:defRPr/>
            </a:lvl1pPr>
          </a:lstStyle>
          <a:p>
            <a:pPr>
              <a:defRPr/>
            </a:pPr>
            <a:fld id="{6BFE4AAA-CF02-4A9C-8852-66971A1F12F6}"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8"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9" name="5 Slayt Numarası Yer Tutucusu"/>
          <p:cNvSpPr>
            <a:spLocks noGrp="1"/>
          </p:cNvSpPr>
          <p:nvPr>
            <p:ph type="sldNum" sz="quarter" idx="12"/>
          </p:nvPr>
        </p:nvSpPr>
        <p:spPr/>
        <p:txBody>
          <a:bodyPr/>
          <a:lstStyle>
            <a:lvl1pPr>
              <a:defRPr/>
            </a:lvl1pPr>
          </a:lstStyle>
          <a:p>
            <a:pPr>
              <a:defRPr/>
            </a:pPr>
            <a:fld id="{402686A9-2B2A-4D58-86CC-AA509BA3EC37}"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716662310"/>
      </p:ext>
    </p:extLst>
  </p:cSld>
  <p:clrMapOvr>
    <a:masterClrMapping/>
  </p:clrMapOvr>
  <p:transition spd="slow">
    <p:cove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3 Veri Yer Tutucusu"/>
          <p:cNvSpPr>
            <a:spLocks noGrp="1"/>
          </p:cNvSpPr>
          <p:nvPr>
            <p:ph type="dt" sz="half" idx="10"/>
          </p:nvPr>
        </p:nvSpPr>
        <p:spPr/>
        <p:txBody>
          <a:bodyPr/>
          <a:lstStyle>
            <a:lvl1pPr>
              <a:defRPr/>
            </a:lvl1pPr>
          </a:lstStyle>
          <a:p>
            <a:pPr>
              <a:defRPr/>
            </a:pPr>
            <a:fld id="{F92E730B-18E1-46A3-B15E-169C5EC6629F}"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4"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5" name="5 Slayt Numarası Yer Tutucusu"/>
          <p:cNvSpPr>
            <a:spLocks noGrp="1"/>
          </p:cNvSpPr>
          <p:nvPr>
            <p:ph type="sldNum" sz="quarter" idx="12"/>
          </p:nvPr>
        </p:nvSpPr>
        <p:spPr/>
        <p:txBody>
          <a:bodyPr/>
          <a:lstStyle>
            <a:lvl1pPr>
              <a:defRPr/>
            </a:lvl1pPr>
          </a:lstStyle>
          <a:p>
            <a:pPr>
              <a:defRPr/>
            </a:pPr>
            <a:fld id="{09C5C199-7168-42B7-A3F6-A5455B87A6AF}"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439022277"/>
      </p:ext>
    </p:extLst>
  </p:cSld>
  <p:clrMapOvr>
    <a:masterClrMapping/>
  </p:clrMapOvr>
  <p:transition spd="slow">
    <p:cove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3 Veri Yer Tutucusu"/>
          <p:cNvSpPr>
            <a:spLocks noGrp="1"/>
          </p:cNvSpPr>
          <p:nvPr>
            <p:ph type="dt" sz="half" idx="10"/>
          </p:nvPr>
        </p:nvSpPr>
        <p:spPr/>
        <p:txBody>
          <a:bodyPr/>
          <a:lstStyle>
            <a:lvl1pPr>
              <a:defRPr/>
            </a:lvl1pPr>
          </a:lstStyle>
          <a:p>
            <a:pPr>
              <a:defRPr/>
            </a:pPr>
            <a:fld id="{9417B0B2-0CD8-45F0-9B34-16DF4859E4EC}"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3"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4" name="5 Slayt Numarası Yer Tutucusu"/>
          <p:cNvSpPr>
            <a:spLocks noGrp="1"/>
          </p:cNvSpPr>
          <p:nvPr>
            <p:ph type="sldNum" sz="quarter" idx="12"/>
          </p:nvPr>
        </p:nvSpPr>
        <p:spPr/>
        <p:txBody>
          <a:bodyPr/>
          <a:lstStyle>
            <a:lvl1pPr>
              <a:defRPr/>
            </a:lvl1pPr>
          </a:lstStyle>
          <a:p>
            <a:pPr>
              <a:defRPr/>
            </a:pPr>
            <a:fld id="{B08D93A5-FB99-46CF-BCD2-3E298B6F9D85}"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819861846"/>
      </p:ext>
    </p:extLst>
  </p:cSld>
  <p:clrMapOvr>
    <a:masterClrMapping/>
  </p:clrMapOvr>
  <p:transition spd="slow">
    <p:cove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defTabSz="917783" fontAlgn="base">
              <a:spcBef>
                <a:spcPct val="0"/>
              </a:spcBef>
              <a:spcAft>
                <a:spcPct val="0"/>
              </a:spcAft>
              <a:defRPr/>
            </a:pPr>
            <a:fld id="{217F4B28-0C0E-4157-BF62-99AF079E40E0}"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4" name="3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5" name="4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57666374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26" y="273053"/>
            <a:ext cx="4011084" cy="1162050"/>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26"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553E833D-5C18-4A03-BA4E-CB5233C3A9C3}"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D87A40A6-510B-4C67-9499-81C2DB9737C5}"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563949581"/>
      </p:ext>
    </p:extLst>
  </p:cSld>
  <p:clrMapOvr>
    <a:masterClrMapping/>
  </p:clrMapOvr>
  <p:transition spd="slow">
    <p:cove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7" y="4800600"/>
            <a:ext cx="7315200" cy="566738"/>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dirty="0" smtClean="0"/>
          </a:p>
        </p:txBody>
      </p:sp>
      <p:sp>
        <p:nvSpPr>
          <p:cNvPr id="4" name="3 Metin Yer Tutucusu"/>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A15DA113-81B3-45A6-AF24-B58C037C6322}"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529E0649-6478-448D-B828-5BC015800B18}"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716536906"/>
      </p:ext>
    </p:extLst>
  </p:cSld>
  <p:clrMapOvr>
    <a:masterClrMapping/>
  </p:clrMapOvr>
  <p:transition spd="slow">
    <p:cove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F26FA220-A5FB-4B38-AD8F-4E149AABED36}"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F62210FA-35A0-43A7-9E85-9016D0B317D1}"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876707288"/>
      </p:ext>
    </p:extLst>
  </p:cSld>
  <p:clrMapOvr>
    <a:masterClrMapping/>
  </p:clrMapOvr>
  <p:transition spd="slow">
    <p:cove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0" y="228600"/>
            <a:ext cx="2743200" cy="4876800"/>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0" y="228600"/>
            <a:ext cx="8026400" cy="4876800"/>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43F47D9F-8638-4EA4-8A6A-7F619FAFF3E0}"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7D7FBABC-B7DB-4873-80DF-9EF2FB97B2AD}"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391570821"/>
      </p:ext>
    </p:extLst>
  </p:cSld>
  <p:clrMapOvr>
    <a:masterClrMapping/>
  </p:clrMapOvr>
  <p:transition spd="slow">
    <p:cove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as">
    <p:spTree>
      <p:nvGrpSpPr>
        <p:cNvPr id="1" name=""/>
        <p:cNvGrpSpPr/>
        <p:nvPr/>
      </p:nvGrpSpPr>
      <p:grpSpPr>
        <a:xfrm>
          <a:off x="0" y="0"/>
          <a:ext cx="0" cy="0"/>
          <a:chOff x="0" y="0"/>
          <a:chExt cx="0" cy="0"/>
        </a:xfrm>
      </p:grpSpPr>
      <p:grpSp>
        <p:nvGrpSpPr>
          <p:cNvPr id="2" name="Grup 17"/>
          <p:cNvGrpSpPr>
            <a:grpSpLocks/>
          </p:cNvGrpSpPr>
          <p:nvPr userDrawn="1"/>
        </p:nvGrpSpPr>
        <p:grpSpPr bwMode="auto">
          <a:xfrm>
            <a:off x="-86783" y="5"/>
            <a:ext cx="1576455" cy="6857548"/>
            <a:chOff x="-65517" y="0"/>
            <a:chExt cx="1181133" cy="6858000"/>
          </a:xfrm>
        </p:grpSpPr>
        <p:grpSp>
          <p:nvGrpSpPr>
            <p:cNvPr id="3" name="Grup 9"/>
            <p:cNvGrpSpPr>
              <a:grpSpLocks/>
            </p:cNvGrpSpPr>
            <p:nvPr userDrawn="1"/>
          </p:nvGrpSpPr>
          <p:grpSpPr bwMode="auto">
            <a:xfrm>
              <a:off x="0" y="0"/>
              <a:ext cx="1115616" cy="6858000"/>
              <a:chOff x="0" y="0"/>
              <a:chExt cx="1115616" cy="6858000"/>
            </a:xfrm>
          </p:grpSpPr>
          <p:sp>
            <p:nvSpPr>
              <p:cNvPr id="5" name="Dikdörtgen 10"/>
              <p:cNvSpPr/>
              <p:nvPr/>
            </p:nvSpPr>
            <p:spPr>
              <a:xfrm>
                <a:off x="0" y="0"/>
                <a:ext cx="1115616" cy="6858000"/>
              </a:xfrm>
              <a:prstGeom prst="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path path="circle">
                  <a:fillToRect l="50000" t="50000" r="50000" b="50000"/>
                </a:path>
                <a:tileRect/>
              </a:gradFill>
              <a:ln w="25400" cap="flat" cmpd="sng" algn="ctr">
                <a:solidFill>
                  <a:srgbClr val="4F81BD">
                    <a:shade val="50000"/>
                  </a:srgbClr>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ysClr val="window" lastClr="FFFFFF"/>
                  </a:solidFill>
                  <a:effectLst/>
                  <a:uLnTx/>
                  <a:uFillTx/>
                  <a:latin typeface="Calibri"/>
                  <a:ea typeface="+mn-ea"/>
                  <a:cs typeface="Arial" charset="0"/>
                </a:endParaRPr>
              </a:p>
            </p:txBody>
          </p:sp>
          <p:pic>
            <p:nvPicPr>
              <p:cNvPr id="6" name="Resim 11"/>
              <p:cNvPicPr>
                <a:picLocks noChangeAspect="1"/>
              </p:cNvPicPr>
              <p:nvPr/>
            </p:nvPicPr>
            <p:blipFill>
              <a:blip r:embed="rId2">
                <a:extLst>
                  <a:ext uri="{28A0092B-C50C-407E-A947-70E740481C1C}">
                    <a14:useLocalDpi xmlns:a14="http://schemas.microsoft.com/office/drawing/2010/main" val="0"/>
                  </a:ext>
                </a:extLst>
              </a:blip>
              <a:srcRect r="76555"/>
              <a:stretch>
                <a:fillRect/>
              </a:stretch>
            </p:blipFill>
            <p:spPr bwMode="auto">
              <a:xfrm>
                <a:off x="0" y="1"/>
                <a:ext cx="1115616" cy="840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Metin kutusu 16"/>
            <p:cNvSpPr txBox="1"/>
            <p:nvPr userDrawn="1"/>
          </p:nvSpPr>
          <p:spPr>
            <a:xfrm>
              <a:off x="-65517" y="6578401"/>
              <a:ext cx="934637" cy="253933"/>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prstClr val="white"/>
                  </a:solidFill>
                  <a:effectLst/>
                  <a:uLnTx/>
                  <a:uFillTx/>
                  <a:latin typeface="Calibri"/>
                  <a:ea typeface="+mn-ea"/>
                  <a:cs typeface="Arial" charset="0"/>
                </a:rPr>
                <a:t>www.kosgeb.gov.tr</a:t>
              </a:r>
            </a:p>
          </p:txBody>
        </p:sp>
      </p:grpSp>
      <p:pic>
        <p:nvPicPr>
          <p:cNvPr id="7" name="Picture 6"/>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 y="0"/>
            <a:ext cx="12799484" cy="6863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ayt Numarası Yer Tutucusu 5"/>
          <p:cNvSpPr>
            <a:spLocks noGrp="1"/>
          </p:cNvSpPr>
          <p:nvPr>
            <p:ph type="sldNum" sz="quarter" idx="10"/>
          </p:nvPr>
        </p:nvSpPr>
        <p:spPr>
          <a:xfrm>
            <a:off x="9952567" y="6442714"/>
            <a:ext cx="2844800" cy="415290"/>
          </a:xfrm>
        </p:spPr>
        <p:txBody>
          <a:bodyPr/>
          <a:lstStyle>
            <a:lvl1pPr>
              <a:defRPr/>
            </a:lvl1pPr>
          </a:lstStyle>
          <a:p>
            <a:pPr>
              <a:defRPr/>
            </a:pPr>
            <a:fld id="{A47FF00A-F329-49AC-B2A1-98DD75044DCB}" type="slidenum">
              <a:rPr lang="tr-TR" smtClean="0">
                <a:solidFill>
                  <a:prstClr val="black">
                    <a:tint val="75000"/>
                  </a:prstClr>
                </a:solidFill>
              </a:rPr>
              <a:pPr>
                <a:defRPr/>
              </a:pPr>
              <a:t>‹#›</a:t>
            </a:fld>
            <a:endParaRPr lang="tr-TR">
              <a:solidFill>
                <a:prstClr val="black">
                  <a:tint val="75000"/>
                </a:prstClr>
              </a:solidFill>
            </a:endParaRPr>
          </a:p>
        </p:txBody>
      </p:sp>
    </p:spTree>
    <p:extLst>
      <p:ext uri="{BB962C8B-B14F-4D97-AF65-F5344CB8AC3E}">
        <p14:creationId xmlns:p14="http://schemas.microsoft.com/office/powerpoint/2010/main" val="20467301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461"/>
            <a:ext cx="10363200" cy="1470025"/>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0" y="3886202"/>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a:defRPr/>
            </a:pPr>
            <a:fld id="{40F3EB79-C942-47AF-9C40-466EA90BC3CD}"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2C88CDE6-2AB7-4793-B620-C963B5A07959}"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640076389"/>
      </p:ext>
    </p:extLst>
  </p:cSld>
  <p:clrMapOvr>
    <a:masterClrMapping/>
  </p:clrMapOvr>
  <p:transition spd="slow">
    <p:cove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47B4EDF6-763F-45BE-B275-4E9662A53AE9}"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3C7F8354-A1F7-4AE7-90D5-B3C2BAB3B60B}"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519210952"/>
      </p:ext>
    </p:extLst>
  </p:cSld>
  <p:clrMapOvr>
    <a:masterClrMapping/>
  </p:clrMapOvr>
  <p:transition spd="slow">
    <p:cove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03"/>
            <a:ext cx="10363200" cy="1362076"/>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719"/>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lvl1pPr>
              <a:defRPr/>
            </a:lvl1pPr>
          </a:lstStyle>
          <a:p>
            <a:pPr>
              <a:defRPr/>
            </a:pPr>
            <a:fld id="{B8B6CB9B-F590-43D3-8813-76C7D2FAD681}"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A390DFD7-845F-42FC-873C-B9CF24DCC97B}"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36962668"/>
      </p:ext>
    </p:extLst>
  </p:cSld>
  <p:clrMapOvr>
    <a:masterClrMapping/>
  </p:clrMapOvr>
  <p:transition spd="slow">
    <p:cove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333500"/>
            <a:ext cx="5384800" cy="3771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333500"/>
            <a:ext cx="5384800" cy="3771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3 Veri Yer Tutucusu"/>
          <p:cNvSpPr>
            <a:spLocks noGrp="1"/>
          </p:cNvSpPr>
          <p:nvPr>
            <p:ph type="dt" sz="half" idx="10"/>
          </p:nvPr>
        </p:nvSpPr>
        <p:spPr/>
        <p:txBody>
          <a:bodyPr/>
          <a:lstStyle>
            <a:lvl1pPr>
              <a:defRPr/>
            </a:lvl1pPr>
          </a:lstStyle>
          <a:p>
            <a:pPr>
              <a:defRPr/>
            </a:pPr>
            <a:fld id="{27F79A9E-49E9-4BEC-BF39-DB7CBA724584}"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F2FFB138-1BB2-484C-9B07-F212DFCCD470}"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646350627"/>
      </p:ext>
    </p:extLst>
  </p:cSld>
  <p:clrMapOvr>
    <a:masterClrMapping/>
  </p:clrMapOvr>
  <p:transition spd="slow">
    <p:cove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609600" y="274640"/>
            <a:ext cx="10972800" cy="1143000"/>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600" y="1535116"/>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78" y="1535116"/>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3 Veri Yer Tutucusu"/>
          <p:cNvSpPr>
            <a:spLocks noGrp="1"/>
          </p:cNvSpPr>
          <p:nvPr>
            <p:ph type="dt" sz="half" idx="10"/>
          </p:nvPr>
        </p:nvSpPr>
        <p:spPr/>
        <p:txBody>
          <a:bodyPr/>
          <a:lstStyle>
            <a:lvl1pPr>
              <a:defRPr/>
            </a:lvl1pPr>
          </a:lstStyle>
          <a:p>
            <a:pPr>
              <a:defRPr/>
            </a:pPr>
            <a:fld id="{5C3277F6-FBA1-42F5-AF31-BAF7D49D8E1C}"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8"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9" name="5 Slayt Numarası Yer Tutucusu"/>
          <p:cNvSpPr>
            <a:spLocks noGrp="1"/>
          </p:cNvSpPr>
          <p:nvPr>
            <p:ph type="sldNum" sz="quarter" idx="12"/>
          </p:nvPr>
        </p:nvSpPr>
        <p:spPr/>
        <p:txBody>
          <a:bodyPr/>
          <a:lstStyle>
            <a:lvl1pPr>
              <a:defRPr/>
            </a:lvl1pPr>
          </a:lstStyle>
          <a:p>
            <a:pPr>
              <a:defRPr/>
            </a:pPr>
            <a:fld id="{402686A9-2B2A-4D58-86CC-AA509BA3EC37}"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473526243"/>
      </p:ext>
    </p:extLst>
  </p:cSld>
  <p:clrMapOvr>
    <a:masterClrMapping/>
  </p:clrMapOvr>
  <p:transition spd="slow">
    <p:cove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defTabSz="917783" fontAlgn="base">
              <a:spcBef>
                <a:spcPct val="0"/>
              </a:spcBef>
              <a:spcAft>
                <a:spcPct val="0"/>
              </a:spcAft>
              <a:defRPr/>
            </a:pPr>
            <a:fld id="{2DF42E69-52F2-4806-855F-7935B5F44710}"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3" name="2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4" name="3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58027721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3 Veri Yer Tutucusu"/>
          <p:cNvSpPr>
            <a:spLocks noGrp="1"/>
          </p:cNvSpPr>
          <p:nvPr>
            <p:ph type="dt" sz="half" idx="10"/>
          </p:nvPr>
        </p:nvSpPr>
        <p:spPr/>
        <p:txBody>
          <a:bodyPr/>
          <a:lstStyle>
            <a:lvl1pPr>
              <a:defRPr/>
            </a:lvl1pPr>
          </a:lstStyle>
          <a:p>
            <a:pPr>
              <a:defRPr/>
            </a:pPr>
            <a:fld id="{57132924-67AC-47F7-95DD-779F00F5C6EB}"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4"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5" name="5 Slayt Numarası Yer Tutucusu"/>
          <p:cNvSpPr>
            <a:spLocks noGrp="1"/>
          </p:cNvSpPr>
          <p:nvPr>
            <p:ph type="sldNum" sz="quarter" idx="12"/>
          </p:nvPr>
        </p:nvSpPr>
        <p:spPr/>
        <p:txBody>
          <a:bodyPr/>
          <a:lstStyle>
            <a:lvl1pPr>
              <a:defRPr/>
            </a:lvl1pPr>
          </a:lstStyle>
          <a:p>
            <a:pPr>
              <a:defRPr/>
            </a:pPr>
            <a:fld id="{09C5C199-7168-42B7-A3F6-A5455B87A6AF}"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968642097"/>
      </p:ext>
    </p:extLst>
  </p:cSld>
  <p:clrMapOvr>
    <a:masterClrMapping/>
  </p:clrMapOvr>
  <p:transition spd="slow">
    <p:cove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3 Veri Yer Tutucusu"/>
          <p:cNvSpPr>
            <a:spLocks noGrp="1"/>
          </p:cNvSpPr>
          <p:nvPr>
            <p:ph type="dt" sz="half" idx="10"/>
          </p:nvPr>
        </p:nvSpPr>
        <p:spPr/>
        <p:txBody>
          <a:bodyPr/>
          <a:lstStyle>
            <a:lvl1pPr>
              <a:defRPr/>
            </a:lvl1pPr>
          </a:lstStyle>
          <a:p>
            <a:pPr>
              <a:defRPr/>
            </a:pPr>
            <a:fld id="{CBBE6559-4256-4EF2-8965-2A3C4039ACEB}"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3"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4" name="5 Slayt Numarası Yer Tutucusu"/>
          <p:cNvSpPr>
            <a:spLocks noGrp="1"/>
          </p:cNvSpPr>
          <p:nvPr>
            <p:ph type="sldNum" sz="quarter" idx="12"/>
          </p:nvPr>
        </p:nvSpPr>
        <p:spPr/>
        <p:txBody>
          <a:bodyPr/>
          <a:lstStyle>
            <a:lvl1pPr>
              <a:defRPr/>
            </a:lvl1pPr>
          </a:lstStyle>
          <a:p>
            <a:pPr>
              <a:defRPr/>
            </a:pPr>
            <a:fld id="{B08D93A5-FB99-46CF-BCD2-3E298B6F9D85}"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4233306281"/>
      </p:ext>
    </p:extLst>
  </p:cSld>
  <p:clrMapOvr>
    <a:masterClrMapping/>
  </p:clrMapOvr>
  <p:transition spd="slow">
    <p:cove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26" y="273053"/>
            <a:ext cx="4011084" cy="1162050"/>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26"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211B178F-AC4A-4397-85C2-34D42FDC7206}"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D87A40A6-510B-4C67-9499-81C2DB9737C5}"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691371525"/>
      </p:ext>
    </p:extLst>
  </p:cSld>
  <p:clrMapOvr>
    <a:masterClrMapping/>
  </p:clrMapOvr>
  <p:transition spd="slow">
    <p:cove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7" y="4800600"/>
            <a:ext cx="7315200" cy="566738"/>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dirty="0" smtClean="0"/>
          </a:p>
        </p:txBody>
      </p:sp>
      <p:sp>
        <p:nvSpPr>
          <p:cNvPr id="4" name="3 Metin Yer Tutucusu"/>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9B690E96-924F-4854-861D-2F8B1DAAAD6F}"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529E0649-6478-448D-B828-5BC015800B18}"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795665862"/>
      </p:ext>
    </p:extLst>
  </p:cSld>
  <p:clrMapOvr>
    <a:masterClrMapping/>
  </p:clrMapOvr>
  <p:transition spd="slow">
    <p:cove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CA151385-32CF-4C3D-A7A9-B8FA2D6C1212}"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F62210FA-35A0-43A7-9E85-9016D0B317D1}"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018912592"/>
      </p:ext>
    </p:extLst>
  </p:cSld>
  <p:clrMapOvr>
    <a:masterClrMapping/>
  </p:clrMapOvr>
  <p:transition spd="slow">
    <p:cove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0" y="228600"/>
            <a:ext cx="2743200" cy="4876800"/>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0" y="228600"/>
            <a:ext cx="8026400" cy="4876800"/>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E2E2A356-B6B0-4997-B042-CA1F6F434D34}"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7D7FBABC-B7DB-4873-80DF-9EF2FB97B2AD}"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363091407"/>
      </p:ext>
    </p:extLst>
  </p:cSld>
  <p:clrMapOvr>
    <a:masterClrMapping/>
  </p:clrMapOvr>
  <p:transition spd="slow">
    <p:cove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as">
    <p:spTree>
      <p:nvGrpSpPr>
        <p:cNvPr id="1" name=""/>
        <p:cNvGrpSpPr/>
        <p:nvPr/>
      </p:nvGrpSpPr>
      <p:grpSpPr>
        <a:xfrm>
          <a:off x="0" y="0"/>
          <a:ext cx="0" cy="0"/>
          <a:chOff x="0" y="0"/>
          <a:chExt cx="0" cy="0"/>
        </a:xfrm>
      </p:grpSpPr>
      <p:grpSp>
        <p:nvGrpSpPr>
          <p:cNvPr id="2" name="Grup 17"/>
          <p:cNvGrpSpPr>
            <a:grpSpLocks/>
          </p:cNvGrpSpPr>
          <p:nvPr userDrawn="1"/>
        </p:nvGrpSpPr>
        <p:grpSpPr bwMode="auto">
          <a:xfrm>
            <a:off x="-86783" y="5"/>
            <a:ext cx="1576455" cy="6857548"/>
            <a:chOff x="-65517" y="0"/>
            <a:chExt cx="1181133" cy="6858000"/>
          </a:xfrm>
        </p:grpSpPr>
        <p:grpSp>
          <p:nvGrpSpPr>
            <p:cNvPr id="3" name="Grup 9"/>
            <p:cNvGrpSpPr>
              <a:grpSpLocks/>
            </p:cNvGrpSpPr>
            <p:nvPr userDrawn="1"/>
          </p:nvGrpSpPr>
          <p:grpSpPr bwMode="auto">
            <a:xfrm>
              <a:off x="0" y="0"/>
              <a:ext cx="1115616" cy="6858000"/>
              <a:chOff x="0" y="0"/>
              <a:chExt cx="1115616" cy="6858000"/>
            </a:xfrm>
          </p:grpSpPr>
          <p:sp>
            <p:nvSpPr>
              <p:cNvPr id="5" name="Dikdörtgen 10"/>
              <p:cNvSpPr/>
              <p:nvPr/>
            </p:nvSpPr>
            <p:spPr>
              <a:xfrm>
                <a:off x="0" y="0"/>
                <a:ext cx="1115616" cy="6858000"/>
              </a:xfrm>
              <a:prstGeom prst="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path path="circle">
                  <a:fillToRect l="50000" t="50000" r="50000" b="50000"/>
                </a:path>
                <a:tileRect/>
              </a:gradFill>
              <a:ln w="25400" cap="flat" cmpd="sng" algn="ctr">
                <a:solidFill>
                  <a:srgbClr val="4F81BD">
                    <a:shade val="50000"/>
                  </a:srgbClr>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ysClr val="window" lastClr="FFFFFF"/>
                  </a:solidFill>
                  <a:effectLst/>
                  <a:uLnTx/>
                  <a:uFillTx/>
                  <a:latin typeface="Calibri"/>
                  <a:ea typeface="+mn-ea"/>
                  <a:cs typeface="Arial" charset="0"/>
                </a:endParaRPr>
              </a:p>
            </p:txBody>
          </p:sp>
          <p:pic>
            <p:nvPicPr>
              <p:cNvPr id="6" name="Resim 11"/>
              <p:cNvPicPr>
                <a:picLocks noChangeAspect="1"/>
              </p:cNvPicPr>
              <p:nvPr/>
            </p:nvPicPr>
            <p:blipFill>
              <a:blip r:embed="rId2">
                <a:extLst>
                  <a:ext uri="{28A0092B-C50C-407E-A947-70E740481C1C}">
                    <a14:useLocalDpi xmlns:a14="http://schemas.microsoft.com/office/drawing/2010/main" val="0"/>
                  </a:ext>
                </a:extLst>
              </a:blip>
              <a:srcRect r="76555"/>
              <a:stretch>
                <a:fillRect/>
              </a:stretch>
            </p:blipFill>
            <p:spPr bwMode="auto">
              <a:xfrm>
                <a:off x="0" y="1"/>
                <a:ext cx="1115616" cy="840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Metin kutusu 16"/>
            <p:cNvSpPr txBox="1"/>
            <p:nvPr userDrawn="1"/>
          </p:nvSpPr>
          <p:spPr>
            <a:xfrm>
              <a:off x="-65517" y="6578401"/>
              <a:ext cx="934637" cy="253933"/>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prstClr val="white"/>
                  </a:solidFill>
                  <a:effectLst/>
                  <a:uLnTx/>
                  <a:uFillTx/>
                  <a:latin typeface="Calibri"/>
                  <a:ea typeface="+mn-ea"/>
                  <a:cs typeface="Arial" charset="0"/>
                </a:rPr>
                <a:t>www.kosgeb.gov.tr</a:t>
              </a:r>
            </a:p>
          </p:txBody>
        </p:sp>
      </p:grpSp>
      <p:pic>
        <p:nvPicPr>
          <p:cNvPr id="7" name="Picture 6"/>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 y="0"/>
            <a:ext cx="12799484" cy="6863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ayt Numarası Yer Tutucusu 5"/>
          <p:cNvSpPr>
            <a:spLocks noGrp="1"/>
          </p:cNvSpPr>
          <p:nvPr>
            <p:ph type="sldNum" sz="quarter" idx="10"/>
          </p:nvPr>
        </p:nvSpPr>
        <p:spPr>
          <a:xfrm>
            <a:off x="9952567" y="6442714"/>
            <a:ext cx="2844800" cy="415290"/>
          </a:xfrm>
        </p:spPr>
        <p:txBody>
          <a:bodyPr/>
          <a:lstStyle>
            <a:lvl1pPr>
              <a:defRPr/>
            </a:lvl1pPr>
          </a:lstStyle>
          <a:p>
            <a:pPr>
              <a:defRPr/>
            </a:pPr>
            <a:fld id="{A47FF00A-F329-49AC-B2A1-98DD75044DCB}" type="slidenum">
              <a:rPr lang="tr-TR" smtClean="0">
                <a:solidFill>
                  <a:prstClr val="black">
                    <a:tint val="75000"/>
                  </a:prstClr>
                </a:solidFill>
              </a:rPr>
              <a:pPr>
                <a:defRPr/>
              </a:pPr>
              <a:t>‹#›</a:t>
            </a:fld>
            <a:endParaRPr lang="tr-TR">
              <a:solidFill>
                <a:prstClr val="black">
                  <a:tint val="75000"/>
                </a:prstClr>
              </a:solidFill>
            </a:endParaRPr>
          </a:p>
        </p:txBody>
      </p:sp>
    </p:spTree>
    <p:extLst>
      <p:ext uri="{BB962C8B-B14F-4D97-AF65-F5344CB8AC3E}">
        <p14:creationId xmlns:p14="http://schemas.microsoft.com/office/powerpoint/2010/main" val="112724344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497358C-44C6-42F9-BC7A-22F01539C146}"/>
              </a:ext>
            </a:extLst>
          </p:cNvPr>
          <p:cNvSpPr>
            <a:spLocks noGrp="1"/>
          </p:cNvSpPr>
          <p:nvPr>
            <p:ph type="pic" sz="quarter" idx="10"/>
          </p:nvPr>
        </p:nvSpPr>
        <p:spPr>
          <a:xfrm>
            <a:off x="0" y="0"/>
            <a:ext cx="12192000" cy="6858000"/>
          </a:xfrm>
        </p:spPr>
        <p:txBody>
          <a:bodyPr/>
          <a:lstStyle/>
          <a:p>
            <a:endParaRPr lang="en-ID"/>
          </a:p>
        </p:txBody>
      </p:sp>
    </p:spTree>
    <p:extLst>
      <p:ext uri="{BB962C8B-B14F-4D97-AF65-F5344CB8AC3E}">
        <p14:creationId xmlns:p14="http://schemas.microsoft.com/office/powerpoint/2010/main" val="349341271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09795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62563CB-13C0-477F-B8AE-2EDD5DC2B636}"/>
              </a:ext>
            </a:extLst>
          </p:cNvPr>
          <p:cNvSpPr>
            <a:spLocks noGrp="1"/>
          </p:cNvSpPr>
          <p:nvPr>
            <p:ph type="pic" sz="quarter" idx="10"/>
          </p:nvPr>
        </p:nvSpPr>
        <p:spPr>
          <a:xfrm>
            <a:off x="3933787" y="1929930"/>
            <a:ext cx="4342551" cy="4342545"/>
          </a:xfrm>
          <a:custGeom>
            <a:avLst/>
            <a:gdLst>
              <a:gd name="connsiteX0" fmla="*/ 2171276 w 4342550"/>
              <a:gd name="connsiteY0" fmla="*/ 0 h 4342545"/>
              <a:gd name="connsiteX1" fmla="*/ 3046766 w 4342550"/>
              <a:gd name="connsiteY1" fmla="*/ 361092 h 4342545"/>
              <a:gd name="connsiteX2" fmla="*/ 3981458 w 4342550"/>
              <a:gd name="connsiteY2" fmla="*/ 1295783 h 4342545"/>
              <a:gd name="connsiteX3" fmla="*/ 3981458 w 4342550"/>
              <a:gd name="connsiteY3" fmla="*/ 3046763 h 4342545"/>
              <a:gd name="connsiteX4" fmla="*/ 3046766 w 4342550"/>
              <a:gd name="connsiteY4" fmla="*/ 3981453 h 4342545"/>
              <a:gd name="connsiteX5" fmla="*/ 1295784 w 4342550"/>
              <a:gd name="connsiteY5" fmla="*/ 3981453 h 4342545"/>
              <a:gd name="connsiteX6" fmla="*/ 361093 w 4342550"/>
              <a:gd name="connsiteY6" fmla="*/ 3046763 h 4342545"/>
              <a:gd name="connsiteX7" fmla="*/ 361093 w 4342550"/>
              <a:gd name="connsiteY7" fmla="*/ 1295783 h 4342545"/>
              <a:gd name="connsiteX8" fmla="*/ 1295784 w 4342550"/>
              <a:gd name="connsiteY8" fmla="*/ 361092 h 4342545"/>
              <a:gd name="connsiteX9" fmla="*/ 2171276 w 4342550"/>
              <a:gd name="connsiteY9" fmla="*/ 0 h 434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2550" h="4342545">
                <a:moveTo>
                  <a:pt x="2171276" y="0"/>
                </a:moveTo>
                <a:cubicBezTo>
                  <a:pt x="2488657" y="0"/>
                  <a:pt x="2806038" y="120364"/>
                  <a:pt x="3046766" y="361092"/>
                </a:cubicBezTo>
                <a:lnTo>
                  <a:pt x="3981458" y="1295783"/>
                </a:lnTo>
                <a:cubicBezTo>
                  <a:pt x="4462914" y="1777239"/>
                  <a:pt x="4462914" y="2565307"/>
                  <a:pt x="3981458" y="3046763"/>
                </a:cubicBezTo>
                <a:lnTo>
                  <a:pt x="3046766" y="3981453"/>
                </a:lnTo>
                <a:cubicBezTo>
                  <a:pt x="2565310" y="4462909"/>
                  <a:pt x="1777241" y="4462909"/>
                  <a:pt x="1295784" y="3981453"/>
                </a:cubicBezTo>
                <a:lnTo>
                  <a:pt x="361093" y="3046763"/>
                </a:lnTo>
                <a:cubicBezTo>
                  <a:pt x="-120364" y="2565307"/>
                  <a:pt x="-120364" y="1777239"/>
                  <a:pt x="361093" y="1295783"/>
                </a:cubicBezTo>
                <a:lnTo>
                  <a:pt x="1295784" y="361092"/>
                </a:lnTo>
                <a:cubicBezTo>
                  <a:pt x="1536513" y="120364"/>
                  <a:pt x="1853894" y="0"/>
                  <a:pt x="2171276" y="0"/>
                </a:cubicBezTo>
                <a:close/>
              </a:path>
            </a:pathLst>
          </a:custGeom>
        </p:spPr>
        <p:txBody>
          <a:bodyPr wrap="square">
            <a:noAutofit/>
          </a:bodyPr>
          <a:lstStyle/>
          <a:p>
            <a:endParaRPr lang="en-ID"/>
          </a:p>
        </p:txBody>
      </p:sp>
    </p:spTree>
    <p:extLst>
      <p:ext uri="{BB962C8B-B14F-4D97-AF65-F5344CB8AC3E}">
        <p14:creationId xmlns:p14="http://schemas.microsoft.com/office/powerpoint/2010/main" val="17266714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11" y="273058"/>
            <a:ext cx="4011084" cy="1162049"/>
          </a:xfrm>
        </p:spPr>
        <p:txBody>
          <a:bodyPr anchor="b"/>
          <a:lstStyle>
            <a:lvl1pPr algn="l">
              <a:defRPr sz="2007" b="1"/>
            </a:lvl1pPr>
          </a:lstStyle>
          <a:p>
            <a:r>
              <a:rPr lang="tr-TR" smtClean="0"/>
              <a:t>Asıl başlık stili için tıklatın</a:t>
            </a:r>
            <a:endParaRPr lang="tr-TR"/>
          </a:p>
        </p:txBody>
      </p:sp>
      <p:sp>
        <p:nvSpPr>
          <p:cNvPr id="3" name="2 İçerik Yer Tutucusu"/>
          <p:cNvSpPr>
            <a:spLocks noGrp="1"/>
          </p:cNvSpPr>
          <p:nvPr>
            <p:ph idx="1"/>
          </p:nvPr>
        </p:nvSpPr>
        <p:spPr>
          <a:xfrm>
            <a:off x="4766736" y="273148"/>
            <a:ext cx="6815667" cy="5853113"/>
          </a:xfrm>
        </p:spPr>
        <p:txBody>
          <a:bodyPr/>
          <a:lstStyle>
            <a:lvl1pPr>
              <a:defRPr sz="3111"/>
            </a:lvl1pPr>
            <a:lvl2pPr>
              <a:defRPr sz="2810"/>
            </a:lvl2pPr>
            <a:lvl3pPr>
              <a:defRPr sz="2409"/>
            </a:lvl3pPr>
            <a:lvl4pPr>
              <a:defRPr sz="2007"/>
            </a:lvl4pPr>
            <a:lvl5pPr>
              <a:defRPr sz="2007"/>
            </a:lvl5pPr>
            <a:lvl6pPr>
              <a:defRPr sz="2007"/>
            </a:lvl6pPr>
            <a:lvl7pPr>
              <a:defRPr sz="2007"/>
            </a:lvl7pPr>
            <a:lvl8pPr>
              <a:defRPr sz="2007"/>
            </a:lvl8pPr>
            <a:lvl9pPr>
              <a:defRPr sz="200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11" y="1435113"/>
            <a:ext cx="4011084" cy="4691061"/>
          </a:xfrm>
        </p:spPr>
        <p:txBody>
          <a:bodyPr/>
          <a:lstStyle>
            <a:lvl1pPr marL="0" indent="0">
              <a:buNone/>
              <a:defRPr sz="1405"/>
            </a:lvl1pPr>
            <a:lvl2pPr marL="458747" indent="0">
              <a:buNone/>
              <a:defRPr sz="1204"/>
            </a:lvl2pPr>
            <a:lvl3pPr marL="917496" indent="0">
              <a:buNone/>
              <a:defRPr sz="1004"/>
            </a:lvl3pPr>
            <a:lvl4pPr marL="1376244" indent="0">
              <a:buNone/>
              <a:defRPr sz="903"/>
            </a:lvl4pPr>
            <a:lvl5pPr marL="1834991" indent="0">
              <a:buNone/>
              <a:defRPr sz="903"/>
            </a:lvl5pPr>
            <a:lvl6pPr marL="2293740" indent="0">
              <a:buNone/>
              <a:defRPr sz="903"/>
            </a:lvl6pPr>
            <a:lvl7pPr marL="2752490" indent="0">
              <a:buNone/>
              <a:defRPr sz="903"/>
            </a:lvl7pPr>
            <a:lvl8pPr marL="3211236" indent="0">
              <a:buNone/>
              <a:defRPr sz="903"/>
            </a:lvl8pPr>
            <a:lvl9pPr marL="3669984" indent="0">
              <a:buNone/>
              <a:defRPr sz="903"/>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917783" fontAlgn="base">
              <a:spcBef>
                <a:spcPct val="0"/>
              </a:spcBef>
              <a:spcAft>
                <a:spcPct val="0"/>
              </a:spcAft>
              <a:defRPr/>
            </a:pPr>
            <a:fld id="{F6C622A3-9281-45BF-956D-40870106AE35}"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6" name="5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7" name="6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12847056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14857C-AD6D-4880-ABB6-A7C79C65006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
        <p:nvSpPr>
          <p:cNvPr id="3" name="Footer Placeholder 2">
            <a:extLst>
              <a:ext uri="{FF2B5EF4-FFF2-40B4-BE49-F238E27FC236}">
                <a16:creationId xmlns:a16="http://schemas.microsoft.com/office/drawing/2014/main" id="{5213197C-F5ED-4A3E-A508-18BCC9A1578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
        <p:nvSpPr>
          <p:cNvPr id="4" name="Slide Number Placeholder 3">
            <a:extLst>
              <a:ext uri="{FF2B5EF4-FFF2-40B4-BE49-F238E27FC236}">
                <a16:creationId xmlns:a16="http://schemas.microsoft.com/office/drawing/2014/main" id="{0EFF95F5-4BA2-4616-AF8B-69FAAA7DC9A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D8526C-9AE6-4005-878F-EFD71AB9C8A8}" type="slidenum">
              <a:rPr kumimoji="0" lang="en-ID" sz="1200" b="0" i="0" u="none" strike="noStrike" kern="1200" cap="none" spc="0" normalizeH="0" baseline="0" noProof="0" smtClean="0">
                <a:ln>
                  <a:noFill/>
                </a:ln>
                <a:solidFill>
                  <a:srgbClr val="445469">
                    <a:tint val="75000"/>
                  </a:srgb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D"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Tree>
    <p:extLst>
      <p:ext uri="{BB962C8B-B14F-4D97-AF65-F5344CB8AC3E}">
        <p14:creationId xmlns:p14="http://schemas.microsoft.com/office/powerpoint/2010/main" val="274871353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20E6350-6600-459F-AEFB-C275165318D5}"/>
              </a:ext>
            </a:extLst>
          </p:cNvPr>
          <p:cNvSpPr>
            <a:spLocks noGrp="1"/>
          </p:cNvSpPr>
          <p:nvPr>
            <p:ph type="pic" sz="quarter" idx="11"/>
          </p:nvPr>
        </p:nvSpPr>
        <p:spPr>
          <a:xfrm>
            <a:off x="4960039" y="1920688"/>
            <a:ext cx="2271927" cy="2271600"/>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
        <p:nvSpPr>
          <p:cNvPr id="10" name="Picture Placeholder 9">
            <a:extLst>
              <a:ext uri="{FF2B5EF4-FFF2-40B4-BE49-F238E27FC236}">
                <a16:creationId xmlns:a16="http://schemas.microsoft.com/office/drawing/2014/main" id="{2F5C5E5D-F61E-4D1E-B970-6FA53527F8A0}"/>
              </a:ext>
            </a:extLst>
          </p:cNvPr>
          <p:cNvSpPr>
            <a:spLocks noGrp="1"/>
          </p:cNvSpPr>
          <p:nvPr>
            <p:ph type="pic" sz="quarter" idx="12"/>
          </p:nvPr>
        </p:nvSpPr>
        <p:spPr>
          <a:xfrm>
            <a:off x="8339782" y="1920688"/>
            <a:ext cx="2271927" cy="2271600"/>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
        <p:nvSpPr>
          <p:cNvPr id="8" name="Picture Placeholder 7">
            <a:extLst>
              <a:ext uri="{FF2B5EF4-FFF2-40B4-BE49-F238E27FC236}">
                <a16:creationId xmlns:a16="http://schemas.microsoft.com/office/drawing/2014/main" id="{55C12A7B-4CB5-406E-A221-64B6790119C5}"/>
              </a:ext>
            </a:extLst>
          </p:cNvPr>
          <p:cNvSpPr>
            <a:spLocks noGrp="1"/>
          </p:cNvSpPr>
          <p:nvPr>
            <p:ph type="pic" sz="quarter" idx="10"/>
          </p:nvPr>
        </p:nvSpPr>
        <p:spPr>
          <a:xfrm>
            <a:off x="1435615" y="1920688"/>
            <a:ext cx="2271927" cy="2271600"/>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Tree>
    <p:extLst>
      <p:ext uri="{BB962C8B-B14F-4D97-AF65-F5344CB8AC3E}">
        <p14:creationId xmlns:p14="http://schemas.microsoft.com/office/powerpoint/2010/main" val="145370648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0_Пользовательский макет">
    <p:spTree>
      <p:nvGrpSpPr>
        <p:cNvPr id="1" name=""/>
        <p:cNvGrpSpPr/>
        <p:nvPr/>
      </p:nvGrpSpPr>
      <p:grpSpPr>
        <a:xfrm>
          <a:off x="0" y="0"/>
          <a:ext cx="0" cy="0"/>
          <a:chOff x="0" y="0"/>
          <a:chExt cx="0" cy="0"/>
        </a:xfrm>
      </p:grpSpPr>
      <p:sp>
        <p:nvSpPr>
          <p:cNvPr id="7" name="Рисунок 8"/>
          <p:cNvSpPr>
            <a:spLocks noGrp="1"/>
          </p:cNvSpPr>
          <p:nvPr>
            <p:ph type="pic" sz="quarter" idx="10"/>
          </p:nvPr>
        </p:nvSpPr>
        <p:spPr>
          <a:xfrm>
            <a:off x="6096000" y="0"/>
            <a:ext cx="6096000" cy="6858000"/>
          </a:xfrm>
          <a:prstGeom prst="rect">
            <a:avLst/>
          </a:prstGeom>
        </p:spPr>
        <p:txBody>
          <a:bodyPr/>
          <a:lstStyle/>
          <a:p>
            <a:endParaRPr lang="ru-RU"/>
          </a:p>
        </p:txBody>
      </p:sp>
    </p:spTree>
    <p:extLst>
      <p:ext uri="{BB962C8B-B14F-4D97-AF65-F5344CB8AC3E}">
        <p14:creationId xmlns:p14="http://schemas.microsoft.com/office/powerpoint/2010/main" val="434969456"/>
      </p:ext>
    </p:extLst>
  </p:cSld>
  <p:clrMapOvr>
    <a:masterClrMapping/>
  </p:clrMapOvr>
  <p:extLst mod="1">
    <p:ext uri="{DCECCB84-F9BA-43D5-87BE-67443E8EF086}">
      <p15:sldGuideLst xmlns:p15="http://schemas.microsoft.com/office/powerpoint/2012/main">
        <p15:guide id="2" pos="10681">
          <p15:clr>
            <a:srgbClr val="FBAE40"/>
          </p15:clr>
        </p15:guide>
        <p15:guide id="3" pos="384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Yalnızca Başlık">
    <p:spTree>
      <p:nvGrpSpPr>
        <p:cNvPr id="1" name=""/>
        <p:cNvGrpSpPr/>
        <p:nvPr/>
      </p:nvGrpSpPr>
      <p:grpSpPr>
        <a:xfrm>
          <a:off x="0" y="0"/>
          <a:ext cx="0" cy="0"/>
          <a:chOff x="0" y="0"/>
          <a:chExt cx="0" cy="0"/>
        </a:xfrm>
      </p:grpSpPr>
      <p:pic>
        <p:nvPicPr>
          <p:cNvPr id="7" name="Resim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Resim 7"/>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2" y="6280522"/>
            <a:ext cx="12202508" cy="191497"/>
          </a:xfrm>
          <a:prstGeom prst="rect">
            <a:avLst/>
          </a:prstGeom>
        </p:spPr>
      </p:pic>
      <p:pic>
        <p:nvPicPr>
          <p:cNvPr id="9" name="Resim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60331" y="301112"/>
            <a:ext cx="1224664" cy="723908"/>
          </a:xfrm>
          <a:prstGeom prst="rect">
            <a:avLst/>
          </a:prstGeom>
        </p:spPr>
      </p:pic>
      <p:sp>
        <p:nvSpPr>
          <p:cNvPr id="10" name="Başlık 1"/>
          <p:cNvSpPr>
            <a:spLocks noGrp="1"/>
          </p:cNvSpPr>
          <p:nvPr userDrawn="1">
            <p:ph type="title"/>
          </p:nvPr>
        </p:nvSpPr>
        <p:spPr>
          <a:xfrm>
            <a:off x="1760640" y="301112"/>
            <a:ext cx="9615949" cy="723908"/>
          </a:xfrm>
        </p:spPr>
        <p:txBody>
          <a:bodyPr anchor="ctr">
            <a:normAutofit/>
          </a:bodyPr>
          <a:lstStyle>
            <a:lvl1pPr algn="l">
              <a:defRPr sz="3100"/>
            </a:lvl1pPr>
          </a:lstStyle>
          <a:p>
            <a:r>
              <a:rPr lang="tr-TR" dirty="0"/>
              <a:t>Asıl başlık stili için tıklatın</a:t>
            </a:r>
          </a:p>
        </p:txBody>
      </p:sp>
      <p:sp>
        <p:nvSpPr>
          <p:cNvPr id="14" name="Veri Yer Tutucusu 3"/>
          <p:cNvSpPr>
            <a:spLocks noGrp="1"/>
          </p:cNvSpPr>
          <p:nvPr>
            <p:ph type="dt" sz="half" idx="10"/>
          </p:nvPr>
        </p:nvSpPr>
        <p:spPr>
          <a:xfrm>
            <a:off x="850933" y="6480202"/>
            <a:ext cx="284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srgbClr val="445469">
                  <a:tint val="75000"/>
                </a:srgbClr>
              </a:solidFill>
              <a:effectLst/>
              <a:uLnTx/>
              <a:uFillTx/>
              <a:latin typeface="Roboto Light"/>
              <a:ea typeface="+mn-ea"/>
              <a:cs typeface="+mn-cs"/>
            </a:endParaRPr>
          </a:p>
        </p:txBody>
      </p:sp>
      <p:sp>
        <p:nvSpPr>
          <p:cNvPr id="15" name="Altbilgi Yer Tutucusu 4"/>
          <p:cNvSpPr>
            <a:spLocks noGrp="1"/>
          </p:cNvSpPr>
          <p:nvPr>
            <p:ph type="ftr" sz="quarter" idx="11"/>
          </p:nvPr>
        </p:nvSpPr>
        <p:spPr>
          <a:xfrm>
            <a:off x="4165600" y="6480202"/>
            <a:ext cx="3860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
        <p:nvSpPr>
          <p:cNvPr id="16" name="Slayt Numarası Yer Tutucusu 5"/>
          <p:cNvSpPr>
            <a:spLocks noGrp="1"/>
          </p:cNvSpPr>
          <p:nvPr>
            <p:ph type="sldNum" sz="quarter" idx="12"/>
          </p:nvPr>
        </p:nvSpPr>
        <p:spPr>
          <a:xfrm>
            <a:off x="8496267" y="6480202"/>
            <a:ext cx="28448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1868C5-B491-42BF-9F5C-46095BC3F40A}" type="slidenum">
              <a:rPr kumimoji="0" lang="tr-TR" sz="1200" b="0" i="0" u="none" strike="noStrike" kern="1200" cap="none" spc="0" normalizeH="0" baseline="0" noProof="0" smtClean="0">
                <a:ln>
                  <a:noFill/>
                </a:ln>
                <a:solidFill>
                  <a:srgbClr val="445469">
                    <a:tint val="75000"/>
                  </a:srgb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r-TR" sz="1200" b="0" i="0" u="none" strike="noStrike" kern="1200" cap="none" spc="0" normalizeH="0" baseline="0" noProof="0" dirty="0">
              <a:ln>
                <a:noFill/>
              </a:ln>
              <a:solidFill>
                <a:srgbClr val="445469">
                  <a:tint val="75000"/>
                </a:srgbClr>
              </a:solidFill>
              <a:effectLst/>
              <a:uLnTx/>
              <a:uFillTx/>
              <a:latin typeface="Roboto Light"/>
              <a:ea typeface="+mn-ea"/>
              <a:cs typeface="+mn-cs"/>
            </a:endParaRPr>
          </a:p>
        </p:txBody>
      </p:sp>
    </p:spTree>
    <p:extLst>
      <p:ext uri="{BB962C8B-B14F-4D97-AF65-F5344CB8AC3E}">
        <p14:creationId xmlns:p14="http://schemas.microsoft.com/office/powerpoint/2010/main" val="1262697828"/>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461"/>
            <a:ext cx="10363200" cy="1470025"/>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0" y="3886202"/>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a:defRPr/>
            </a:pPr>
            <a:fld id="{40F3EB79-C942-47AF-9C40-466EA90BC3CD}"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2C88CDE6-2AB7-4793-B620-C963B5A07959}"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527195014"/>
      </p:ext>
    </p:extLst>
  </p:cSld>
  <p:clrMapOvr>
    <a:masterClrMapping/>
  </p:clrMapOvr>
  <p:transition spd="slow">
    <p:cove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47B4EDF6-763F-45BE-B275-4E9662A53AE9}"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3C7F8354-A1F7-4AE7-90D5-B3C2BAB3B60B}"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828420921"/>
      </p:ext>
    </p:extLst>
  </p:cSld>
  <p:clrMapOvr>
    <a:masterClrMapping/>
  </p:clrMapOvr>
  <p:transition spd="slow">
    <p:cove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03"/>
            <a:ext cx="10363200" cy="1362076"/>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719"/>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lvl1pPr>
              <a:defRPr/>
            </a:lvl1pPr>
          </a:lstStyle>
          <a:p>
            <a:pPr>
              <a:defRPr/>
            </a:pPr>
            <a:fld id="{B8B6CB9B-F590-43D3-8813-76C7D2FAD681}"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A390DFD7-845F-42FC-873C-B9CF24DCC97B}"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72338389"/>
      </p:ext>
    </p:extLst>
  </p:cSld>
  <p:clrMapOvr>
    <a:masterClrMapping/>
  </p:clrMapOvr>
  <p:transition spd="slow">
    <p:cove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333500"/>
            <a:ext cx="5384800" cy="3771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333500"/>
            <a:ext cx="5384800" cy="3771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3 Veri Yer Tutucusu"/>
          <p:cNvSpPr>
            <a:spLocks noGrp="1"/>
          </p:cNvSpPr>
          <p:nvPr>
            <p:ph type="dt" sz="half" idx="10"/>
          </p:nvPr>
        </p:nvSpPr>
        <p:spPr/>
        <p:txBody>
          <a:bodyPr/>
          <a:lstStyle>
            <a:lvl1pPr>
              <a:defRPr/>
            </a:lvl1pPr>
          </a:lstStyle>
          <a:p>
            <a:pPr>
              <a:defRPr/>
            </a:pPr>
            <a:fld id="{27F79A9E-49E9-4BEC-BF39-DB7CBA724584}"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F2FFB138-1BB2-484C-9B07-F212DFCCD470}"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615916899"/>
      </p:ext>
    </p:extLst>
  </p:cSld>
  <p:clrMapOvr>
    <a:masterClrMapping/>
  </p:clrMapOvr>
  <p:transition spd="slow">
    <p:cove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609600" y="274640"/>
            <a:ext cx="10972800" cy="1143000"/>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600" y="1535116"/>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78" y="1535116"/>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3 Veri Yer Tutucusu"/>
          <p:cNvSpPr>
            <a:spLocks noGrp="1"/>
          </p:cNvSpPr>
          <p:nvPr>
            <p:ph type="dt" sz="half" idx="10"/>
          </p:nvPr>
        </p:nvSpPr>
        <p:spPr/>
        <p:txBody>
          <a:bodyPr/>
          <a:lstStyle>
            <a:lvl1pPr>
              <a:defRPr/>
            </a:lvl1pPr>
          </a:lstStyle>
          <a:p>
            <a:pPr>
              <a:defRPr/>
            </a:pPr>
            <a:fld id="{5C3277F6-FBA1-42F5-AF31-BAF7D49D8E1C}"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8"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9" name="5 Slayt Numarası Yer Tutucusu"/>
          <p:cNvSpPr>
            <a:spLocks noGrp="1"/>
          </p:cNvSpPr>
          <p:nvPr>
            <p:ph type="sldNum" sz="quarter" idx="12"/>
          </p:nvPr>
        </p:nvSpPr>
        <p:spPr/>
        <p:txBody>
          <a:bodyPr/>
          <a:lstStyle>
            <a:lvl1pPr>
              <a:defRPr/>
            </a:lvl1pPr>
          </a:lstStyle>
          <a:p>
            <a:pPr>
              <a:defRPr/>
            </a:pPr>
            <a:fld id="{402686A9-2B2A-4D58-86CC-AA509BA3EC37}"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494665591"/>
      </p:ext>
    </p:extLst>
  </p:cSld>
  <p:clrMapOvr>
    <a:masterClrMapping/>
  </p:clrMapOvr>
  <p:transition spd="slow">
    <p:cove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3 Veri Yer Tutucusu"/>
          <p:cNvSpPr>
            <a:spLocks noGrp="1"/>
          </p:cNvSpPr>
          <p:nvPr>
            <p:ph type="dt" sz="half" idx="10"/>
          </p:nvPr>
        </p:nvSpPr>
        <p:spPr/>
        <p:txBody>
          <a:bodyPr/>
          <a:lstStyle>
            <a:lvl1pPr>
              <a:defRPr/>
            </a:lvl1pPr>
          </a:lstStyle>
          <a:p>
            <a:pPr>
              <a:defRPr/>
            </a:pPr>
            <a:fld id="{57132924-67AC-47F7-95DD-779F00F5C6EB}"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4"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5" name="5 Slayt Numarası Yer Tutucusu"/>
          <p:cNvSpPr>
            <a:spLocks noGrp="1"/>
          </p:cNvSpPr>
          <p:nvPr>
            <p:ph type="sldNum" sz="quarter" idx="12"/>
          </p:nvPr>
        </p:nvSpPr>
        <p:spPr/>
        <p:txBody>
          <a:bodyPr/>
          <a:lstStyle>
            <a:lvl1pPr>
              <a:defRPr/>
            </a:lvl1pPr>
          </a:lstStyle>
          <a:p>
            <a:pPr>
              <a:defRPr/>
            </a:pPr>
            <a:fld id="{09C5C199-7168-42B7-A3F6-A5455B87A6AF}"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531418043"/>
      </p:ext>
    </p:extLst>
  </p:cSld>
  <p:clrMapOvr>
    <a:masterClrMapping/>
  </p:clrMapOvr>
  <p:transition spd="slow">
    <p:cove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7783" fontAlgn="base">
              <a:spcBef>
                <a:spcPct val="0"/>
              </a:spcBef>
              <a:spcAft>
                <a:spcPct val="0"/>
              </a:spcAft>
              <a:defRPr/>
            </a:pPr>
            <a:fld id="{F17E314C-9BC2-4F28-909D-831E3BB0961E}"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1205437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7" y="4800698"/>
            <a:ext cx="7315200" cy="566739"/>
          </a:xfrm>
        </p:spPr>
        <p:txBody>
          <a:bodyPr anchor="b"/>
          <a:lstStyle>
            <a:lvl1pPr algn="l">
              <a:defRPr sz="2007" b="1"/>
            </a:lvl1pPr>
          </a:lstStyle>
          <a:p>
            <a:r>
              <a:rPr lang="tr-TR" smtClean="0"/>
              <a:t>Asıl başlık stili için tıklatın</a:t>
            </a:r>
            <a:endParaRPr lang="tr-TR"/>
          </a:p>
        </p:txBody>
      </p:sp>
      <p:sp>
        <p:nvSpPr>
          <p:cNvPr id="3" name="2 Resim Yer Tutucusu"/>
          <p:cNvSpPr>
            <a:spLocks noGrp="1"/>
          </p:cNvSpPr>
          <p:nvPr>
            <p:ph type="pic" idx="1"/>
          </p:nvPr>
        </p:nvSpPr>
        <p:spPr>
          <a:xfrm>
            <a:off x="2389717" y="612774"/>
            <a:ext cx="7315200" cy="4114800"/>
          </a:xfrm>
        </p:spPr>
        <p:txBody>
          <a:bodyPr/>
          <a:lstStyle>
            <a:lvl1pPr marL="0" indent="0">
              <a:buNone/>
              <a:defRPr sz="3111"/>
            </a:lvl1pPr>
            <a:lvl2pPr marL="458747" indent="0">
              <a:buNone/>
              <a:defRPr sz="2810"/>
            </a:lvl2pPr>
            <a:lvl3pPr marL="917496" indent="0">
              <a:buNone/>
              <a:defRPr sz="2409"/>
            </a:lvl3pPr>
            <a:lvl4pPr marL="1376244" indent="0">
              <a:buNone/>
              <a:defRPr sz="2007"/>
            </a:lvl4pPr>
            <a:lvl5pPr marL="1834991" indent="0">
              <a:buNone/>
              <a:defRPr sz="2007"/>
            </a:lvl5pPr>
            <a:lvl6pPr marL="2293740" indent="0">
              <a:buNone/>
              <a:defRPr sz="2007"/>
            </a:lvl6pPr>
            <a:lvl7pPr marL="2752490" indent="0">
              <a:buNone/>
              <a:defRPr sz="2007"/>
            </a:lvl7pPr>
            <a:lvl8pPr marL="3211236" indent="0">
              <a:buNone/>
              <a:defRPr sz="2007"/>
            </a:lvl8pPr>
            <a:lvl9pPr marL="3669984" indent="0">
              <a:buNone/>
              <a:defRPr sz="2007"/>
            </a:lvl9pPr>
          </a:lstStyle>
          <a:p>
            <a:endParaRPr lang="tr-TR"/>
          </a:p>
        </p:txBody>
      </p:sp>
      <p:sp>
        <p:nvSpPr>
          <p:cNvPr id="4" name="3 Metin Yer Tutucusu"/>
          <p:cNvSpPr>
            <a:spLocks noGrp="1"/>
          </p:cNvSpPr>
          <p:nvPr>
            <p:ph type="body" sz="half" idx="2"/>
          </p:nvPr>
        </p:nvSpPr>
        <p:spPr>
          <a:xfrm>
            <a:off x="2389717" y="5367437"/>
            <a:ext cx="7315200" cy="804861"/>
          </a:xfrm>
        </p:spPr>
        <p:txBody>
          <a:bodyPr/>
          <a:lstStyle>
            <a:lvl1pPr marL="0" indent="0">
              <a:buNone/>
              <a:defRPr sz="1405"/>
            </a:lvl1pPr>
            <a:lvl2pPr marL="458747" indent="0">
              <a:buNone/>
              <a:defRPr sz="1204"/>
            </a:lvl2pPr>
            <a:lvl3pPr marL="917496" indent="0">
              <a:buNone/>
              <a:defRPr sz="1004"/>
            </a:lvl3pPr>
            <a:lvl4pPr marL="1376244" indent="0">
              <a:buNone/>
              <a:defRPr sz="903"/>
            </a:lvl4pPr>
            <a:lvl5pPr marL="1834991" indent="0">
              <a:buNone/>
              <a:defRPr sz="903"/>
            </a:lvl5pPr>
            <a:lvl6pPr marL="2293740" indent="0">
              <a:buNone/>
              <a:defRPr sz="903"/>
            </a:lvl6pPr>
            <a:lvl7pPr marL="2752490" indent="0">
              <a:buNone/>
              <a:defRPr sz="903"/>
            </a:lvl7pPr>
            <a:lvl8pPr marL="3211236" indent="0">
              <a:buNone/>
              <a:defRPr sz="903"/>
            </a:lvl8pPr>
            <a:lvl9pPr marL="3669984" indent="0">
              <a:buNone/>
              <a:defRPr sz="903"/>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917783" fontAlgn="base">
              <a:spcBef>
                <a:spcPct val="0"/>
              </a:spcBef>
              <a:spcAft>
                <a:spcPct val="0"/>
              </a:spcAft>
              <a:defRPr/>
            </a:pPr>
            <a:fld id="{1334D00E-DBB9-459A-A80B-797B3FA881D9}"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6" name="5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7" name="6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95461604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3 Veri Yer Tutucusu"/>
          <p:cNvSpPr>
            <a:spLocks noGrp="1"/>
          </p:cNvSpPr>
          <p:nvPr>
            <p:ph type="dt" sz="half" idx="10"/>
          </p:nvPr>
        </p:nvSpPr>
        <p:spPr/>
        <p:txBody>
          <a:bodyPr/>
          <a:lstStyle>
            <a:lvl1pPr>
              <a:defRPr/>
            </a:lvl1pPr>
          </a:lstStyle>
          <a:p>
            <a:pPr>
              <a:defRPr/>
            </a:pPr>
            <a:fld id="{CBBE6559-4256-4EF2-8965-2A3C4039ACEB}"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3"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4" name="5 Slayt Numarası Yer Tutucusu"/>
          <p:cNvSpPr>
            <a:spLocks noGrp="1"/>
          </p:cNvSpPr>
          <p:nvPr>
            <p:ph type="sldNum" sz="quarter" idx="12"/>
          </p:nvPr>
        </p:nvSpPr>
        <p:spPr/>
        <p:txBody>
          <a:bodyPr/>
          <a:lstStyle>
            <a:lvl1pPr>
              <a:defRPr/>
            </a:lvl1pPr>
          </a:lstStyle>
          <a:p>
            <a:pPr>
              <a:defRPr/>
            </a:pPr>
            <a:fld id="{B08D93A5-FB99-46CF-BCD2-3E298B6F9D85}"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252050723"/>
      </p:ext>
    </p:extLst>
  </p:cSld>
  <p:clrMapOvr>
    <a:masterClrMapping/>
  </p:clrMapOvr>
  <p:transition spd="slow">
    <p:cove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26" y="273053"/>
            <a:ext cx="4011084" cy="1162050"/>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26"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211B178F-AC4A-4397-85C2-34D42FDC7206}"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D87A40A6-510B-4C67-9499-81C2DB9737C5}"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55866751"/>
      </p:ext>
    </p:extLst>
  </p:cSld>
  <p:clrMapOvr>
    <a:masterClrMapping/>
  </p:clrMapOvr>
  <p:transition spd="slow">
    <p:cove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7" y="4800600"/>
            <a:ext cx="7315200" cy="566738"/>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dirty="0" smtClean="0"/>
          </a:p>
        </p:txBody>
      </p:sp>
      <p:sp>
        <p:nvSpPr>
          <p:cNvPr id="4" name="3 Metin Yer Tutucusu"/>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9B690E96-924F-4854-861D-2F8B1DAAAD6F}"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a:defRPr/>
            </a:pPr>
            <a:fld id="{529E0649-6478-448D-B828-5BC015800B18}"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369713670"/>
      </p:ext>
    </p:extLst>
  </p:cSld>
  <p:clrMapOvr>
    <a:masterClrMapping/>
  </p:clrMapOvr>
  <p:transition spd="slow">
    <p:cove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CA151385-32CF-4C3D-A7A9-B8FA2D6C1212}"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F62210FA-35A0-43A7-9E85-9016D0B317D1}"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712016359"/>
      </p:ext>
    </p:extLst>
  </p:cSld>
  <p:clrMapOvr>
    <a:masterClrMapping/>
  </p:clrMapOvr>
  <p:transition spd="slow">
    <p:cove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0" y="228600"/>
            <a:ext cx="2743200" cy="4876800"/>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0" y="228600"/>
            <a:ext cx="8026400" cy="4876800"/>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E2E2A356-B6B0-4997-B042-CA1F6F434D34}"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a:defRPr/>
            </a:pPr>
            <a:fld id="{7D7FBABC-B7DB-4873-80DF-9EF2FB97B2AD}"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625162395"/>
      </p:ext>
    </p:extLst>
  </p:cSld>
  <p:clrMapOvr>
    <a:masterClrMapping/>
  </p:clrMapOvr>
  <p:transition spd="slow">
    <p:cove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as">
    <p:spTree>
      <p:nvGrpSpPr>
        <p:cNvPr id="1" name=""/>
        <p:cNvGrpSpPr/>
        <p:nvPr/>
      </p:nvGrpSpPr>
      <p:grpSpPr>
        <a:xfrm>
          <a:off x="0" y="0"/>
          <a:ext cx="0" cy="0"/>
          <a:chOff x="0" y="0"/>
          <a:chExt cx="0" cy="0"/>
        </a:xfrm>
      </p:grpSpPr>
      <p:grpSp>
        <p:nvGrpSpPr>
          <p:cNvPr id="2" name="Grup 17"/>
          <p:cNvGrpSpPr>
            <a:grpSpLocks/>
          </p:cNvGrpSpPr>
          <p:nvPr userDrawn="1"/>
        </p:nvGrpSpPr>
        <p:grpSpPr bwMode="auto">
          <a:xfrm>
            <a:off x="-86783" y="5"/>
            <a:ext cx="1576455" cy="6857548"/>
            <a:chOff x="-65517" y="0"/>
            <a:chExt cx="1181133" cy="6858000"/>
          </a:xfrm>
        </p:grpSpPr>
        <p:grpSp>
          <p:nvGrpSpPr>
            <p:cNvPr id="3" name="Grup 9"/>
            <p:cNvGrpSpPr>
              <a:grpSpLocks/>
            </p:cNvGrpSpPr>
            <p:nvPr userDrawn="1"/>
          </p:nvGrpSpPr>
          <p:grpSpPr bwMode="auto">
            <a:xfrm>
              <a:off x="0" y="0"/>
              <a:ext cx="1115616" cy="6858000"/>
              <a:chOff x="0" y="0"/>
              <a:chExt cx="1115616" cy="6858000"/>
            </a:xfrm>
          </p:grpSpPr>
          <p:sp>
            <p:nvSpPr>
              <p:cNvPr id="5" name="Dikdörtgen 10"/>
              <p:cNvSpPr/>
              <p:nvPr/>
            </p:nvSpPr>
            <p:spPr>
              <a:xfrm>
                <a:off x="0" y="0"/>
                <a:ext cx="1115616" cy="6858000"/>
              </a:xfrm>
              <a:prstGeom prst="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path path="circle">
                  <a:fillToRect l="50000" t="50000" r="50000" b="50000"/>
                </a:path>
                <a:tileRect/>
              </a:gradFill>
              <a:ln w="25400" cap="flat" cmpd="sng" algn="ctr">
                <a:solidFill>
                  <a:srgbClr val="4F81BD">
                    <a:shade val="50000"/>
                  </a:srgbClr>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ysClr val="window" lastClr="FFFFFF"/>
                  </a:solidFill>
                  <a:effectLst/>
                  <a:uLnTx/>
                  <a:uFillTx/>
                  <a:latin typeface="Calibri"/>
                  <a:ea typeface="+mn-ea"/>
                  <a:cs typeface="Arial" charset="0"/>
                </a:endParaRPr>
              </a:p>
            </p:txBody>
          </p:sp>
          <p:pic>
            <p:nvPicPr>
              <p:cNvPr id="6" name="Resim 11"/>
              <p:cNvPicPr>
                <a:picLocks noChangeAspect="1"/>
              </p:cNvPicPr>
              <p:nvPr/>
            </p:nvPicPr>
            <p:blipFill>
              <a:blip r:embed="rId2">
                <a:extLst>
                  <a:ext uri="{28A0092B-C50C-407E-A947-70E740481C1C}">
                    <a14:useLocalDpi xmlns:a14="http://schemas.microsoft.com/office/drawing/2010/main" val="0"/>
                  </a:ext>
                </a:extLst>
              </a:blip>
              <a:srcRect r="76555"/>
              <a:stretch>
                <a:fillRect/>
              </a:stretch>
            </p:blipFill>
            <p:spPr bwMode="auto">
              <a:xfrm>
                <a:off x="0" y="1"/>
                <a:ext cx="1115616" cy="840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Metin kutusu 16"/>
            <p:cNvSpPr txBox="1"/>
            <p:nvPr userDrawn="1"/>
          </p:nvSpPr>
          <p:spPr>
            <a:xfrm>
              <a:off x="-65517" y="6578401"/>
              <a:ext cx="934637" cy="253933"/>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prstClr val="white"/>
                  </a:solidFill>
                  <a:effectLst/>
                  <a:uLnTx/>
                  <a:uFillTx/>
                  <a:latin typeface="Calibri"/>
                  <a:ea typeface="+mn-ea"/>
                  <a:cs typeface="Arial" charset="0"/>
                </a:rPr>
                <a:t>www.kosgeb.gov.tr</a:t>
              </a:r>
            </a:p>
          </p:txBody>
        </p:sp>
      </p:grpSp>
      <p:pic>
        <p:nvPicPr>
          <p:cNvPr id="7" name="Picture 6"/>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 y="0"/>
            <a:ext cx="12799484" cy="6863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ayt Numarası Yer Tutucusu 5"/>
          <p:cNvSpPr>
            <a:spLocks noGrp="1"/>
          </p:cNvSpPr>
          <p:nvPr>
            <p:ph type="sldNum" sz="quarter" idx="10"/>
          </p:nvPr>
        </p:nvSpPr>
        <p:spPr>
          <a:xfrm>
            <a:off x="9952567" y="6442714"/>
            <a:ext cx="2844800" cy="415290"/>
          </a:xfrm>
        </p:spPr>
        <p:txBody>
          <a:bodyPr/>
          <a:lstStyle>
            <a:lvl1pPr>
              <a:defRPr/>
            </a:lvl1pPr>
          </a:lstStyle>
          <a:p>
            <a:pPr>
              <a:defRPr/>
            </a:pPr>
            <a:fld id="{A47FF00A-F329-49AC-B2A1-98DD75044DCB}" type="slidenum">
              <a:rPr lang="tr-TR" smtClean="0">
                <a:solidFill>
                  <a:prstClr val="black">
                    <a:tint val="75000"/>
                  </a:prstClr>
                </a:solidFill>
              </a:rPr>
              <a:pPr>
                <a:defRPr/>
              </a:pPr>
              <a:t>‹#›</a:t>
            </a:fld>
            <a:endParaRPr lang="tr-TR">
              <a:solidFill>
                <a:prstClr val="black">
                  <a:tint val="75000"/>
                </a:prstClr>
              </a:solidFill>
            </a:endParaRPr>
          </a:p>
        </p:txBody>
      </p:sp>
    </p:spTree>
    <p:extLst>
      <p:ext uri="{BB962C8B-B14F-4D97-AF65-F5344CB8AC3E}">
        <p14:creationId xmlns:p14="http://schemas.microsoft.com/office/powerpoint/2010/main" val="15611610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7783" fontAlgn="base">
              <a:spcBef>
                <a:spcPct val="0"/>
              </a:spcBef>
              <a:spcAft>
                <a:spcPct val="0"/>
              </a:spcAft>
              <a:defRPr/>
            </a:pPr>
            <a:fld id="{63869C1F-F44E-469F-8904-AAE3E20FCB2B}"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0505916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0" y="274787"/>
            <a:ext cx="2743200" cy="5851525"/>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0" y="274787"/>
            <a:ext cx="80264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7783" fontAlgn="base">
              <a:spcBef>
                <a:spcPct val="0"/>
              </a:spcBef>
              <a:spcAft>
                <a:spcPct val="0"/>
              </a:spcAft>
              <a:defRPr/>
            </a:pPr>
            <a:fld id="{AD8BB6A2-EFC7-4490-AF98-FC2DE4576DE7}"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33398285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497358C-44C6-42F9-BC7A-22F01539C146}"/>
              </a:ext>
            </a:extLst>
          </p:cNvPr>
          <p:cNvSpPr>
            <a:spLocks noGrp="1"/>
          </p:cNvSpPr>
          <p:nvPr>
            <p:ph type="pic" sz="quarter" idx="10"/>
          </p:nvPr>
        </p:nvSpPr>
        <p:spPr>
          <a:xfrm>
            <a:off x="0" y="0"/>
            <a:ext cx="12192000" cy="6858000"/>
          </a:xfrm>
        </p:spPr>
        <p:txBody>
          <a:bodyPr/>
          <a:lstStyle/>
          <a:p>
            <a:endParaRPr lang="en-ID"/>
          </a:p>
        </p:txBody>
      </p:sp>
    </p:spTree>
    <p:extLst>
      <p:ext uri="{BB962C8B-B14F-4D97-AF65-F5344CB8AC3E}">
        <p14:creationId xmlns:p14="http://schemas.microsoft.com/office/powerpoint/2010/main" val="13818920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1568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62563CB-13C0-477F-B8AE-2EDD5DC2B636}"/>
              </a:ext>
            </a:extLst>
          </p:cNvPr>
          <p:cNvSpPr>
            <a:spLocks noGrp="1"/>
          </p:cNvSpPr>
          <p:nvPr>
            <p:ph type="pic" sz="quarter" idx="10"/>
          </p:nvPr>
        </p:nvSpPr>
        <p:spPr>
          <a:xfrm>
            <a:off x="3933787" y="1929930"/>
            <a:ext cx="4342551" cy="4342545"/>
          </a:xfrm>
          <a:custGeom>
            <a:avLst/>
            <a:gdLst>
              <a:gd name="connsiteX0" fmla="*/ 2171276 w 4342550"/>
              <a:gd name="connsiteY0" fmla="*/ 0 h 4342545"/>
              <a:gd name="connsiteX1" fmla="*/ 3046766 w 4342550"/>
              <a:gd name="connsiteY1" fmla="*/ 361092 h 4342545"/>
              <a:gd name="connsiteX2" fmla="*/ 3981458 w 4342550"/>
              <a:gd name="connsiteY2" fmla="*/ 1295783 h 4342545"/>
              <a:gd name="connsiteX3" fmla="*/ 3981458 w 4342550"/>
              <a:gd name="connsiteY3" fmla="*/ 3046763 h 4342545"/>
              <a:gd name="connsiteX4" fmla="*/ 3046766 w 4342550"/>
              <a:gd name="connsiteY4" fmla="*/ 3981453 h 4342545"/>
              <a:gd name="connsiteX5" fmla="*/ 1295784 w 4342550"/>
              <a:gd name="connsiteY5" fmla="*/ 3981453 h 4342545"/>
              <a:gd name="connsiteX6" fmla="*/ 361093 w 4342550"/>
              <a:gd name="connsiteY6" fmla="*/ 3046763 h 4342545"/>
              <a:gd name="connsiteX7" fmla="*/ 361093 w 4342550"/>
              <a:gd name="connsiteY7" fmla="*/ 1295783 h 4342545"/>
              <a:gd name="connsiteX8" fmla="*/ 1295784 w 4342550"/>
              <a:gd name="connsiteY8" fmla="*/ 361092 h 4342545"/>
              <a:gd name="connsiteX9" fmla="*/ 2171276 w 4342550"/>
              <a:gd name="connsiteY9" fmla="*/ 0 h 434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2550" h="4342545">
                <a:moveTo>
                  <a:pt x="2171276" y="0"/>
                </a:moveTo>
                <a:cubicBezTo>
                  <a:pt x="2488657" y="0"/>
                  <a:pt x="2806038" y="120364"/>
                  <a:pt x="3046766" y="361092"/>
                </a:cubicBezTo>
                <a:lnTo>
                  <a:pt x="3981458" y="1295783"/>
                </a:lnTo>
                <a:cubicBezTo>
                  <a:pt x="4462914" y="1777239"/>
                  <a:pt x="4462914" y="2565307"/>
                  <a:pt x="3981458" y="3046763"/>
                </a:cubicBezTo>
                <a:lnTo>
                  <a:pt x="3046766" y="3981453"/>
                </a:lnTo>
                <a:cubicBezTo>
                  <a:pt x="2565310" y="4462909"/>
                  <a:pt x="1777241" y="4462909"/>
                  <a:pt x="1295784" y="3981453"/>
                </a:cubicBezTo>
                <a:lnTo>
                  <a:pt x="361093" y="3046763"/>
                </a:lnTo>
                <a:cubicBezTo>
                  <a:pt x="-120364" y="2565307"/>
                  <a:pt x="-120364" y="1777239"/>
                  <a:pt x="361093" y="1295783"/>
                </a:cubicBezTo>
                <a:lnTo>
                  <a:pt x="1295784" y="361092"/>
                </a:lnTo>
                <a:cubicBezTo>
                  <a:pt x="1536513" y="120364"/>
                  <a:pt x="1853894" y="0"/>
                  <a:pt x="2171276" y="0"/>
                </a:cubicBezTo>
                <a:close/>
              </a:path>
            </a:pathLst>
          </a:custGeom>
        </p:spPr>
        <p:txBody>
          <a:bodyPr wrap="square">
            <a:noAutofit/>
          </a:bodyPr>
          <a:lstStyle/>
          <a:p>
            <a:endParaRPr lang="en-ID"/>
          </a:p>
        </p:txBody>
      </p:sp>
    </p:spTree>
    <p:extLst>
      <p:ext uri="{BB962C8B-B14F-4D97-AF65-F5344CB8AC3E}">
        <p14:creationId xmlns:p14="http://schemas.microsoft.com/office/powerpoint/2010/main" val="4299516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14857C-AD6D-4880-ABB6-A7C79C65006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
        <p:nvSpPr>
          <p:cNvPr id="3" name="Footer Placeholder 2">
            <a:extLst>
              <a:ext uri="{FF2B5EF4-FFF2-40B4-BE49-F238E27FC236}">
                <a16:creationId xmlns:a16="http://schemas.microsoft.com/office/drawing/2014/main" id="{5213197C-F5ED-4A3E-A508-18BCC9A1578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
        <p:nvSpPr>
          <p:cNvPr id="4" name="Slide Number Placeholder 3">
            <a:extLst>
              <a:ext uri="{FF2B5EF4-FFF2-40B4-BE49-F238E27FC236}">
                <a16:creationId xmlns:a16="http://schemas.microsoft.com/office/drawing/2014/main" id="{0EFF95F5-4BA2-4616-AF8B-69FAAA7DC9A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D8526C-9AE6-4005-878F-EFD71AB9C8A8}" type="slidenum">
              <a:rPr kumimoji="0" lang="en-ID" sz="1200" b="0" i="0" u="none" strike="noStrike" kern="1200" cap="none" spc="0" normalizeH="0" baseline="0" noProof="0" smtClean="0">
                <a:ln>
                  <a:noFill/>
                </a:ln>
                <a:solidFill>
                  <a:srgbClr val="445469">
                    <a:tint val="75000"/>
                  </a:srgb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D"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Tree>
    <p:extLst>
      <p:ext uri="{BB962C8B-B14F-4D97-AF65-F5344CB8AC3E}">
        <p14:creationId xmlns:p14="http://schemas.microsoft.com/office/powerpoint/2010/main" val="8296762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20E6350-6600-459F-AEFB-C275165318D5}"/>
              </a:ext>
            </a:extLst>
          </p:cNvPr>
          <p:cNvSpPr>
            <a:spLocks noGrp="1"/>
          </p:cNvSpPr>
          <p:nvPr>
            <p:ph type="pic" sz="quarter" idx="11"/>
          </p:nvPr>
        </p:nvSpPr>
        <p:spPr>
          <a:xfrm>
            <a:off x="4960039" y="1920688"/>
            <a:ext cx="2271927" cy="2271600"/>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
        <p:nvSpPr>
          <p:cNvPr id="10" name="Picture Placeholder 9">
            <a:extLst>
              <a:ext uri="{FF2B5EF4-FFF2-40B4-BE49-F238E27FC236}">
                <a16:creationId xmlns:a16="http://schemas.microsoft.com/office/drawing/2014/main" id="{2F5C5E5D-F61E-4D1E-B970-6FA53527F8A0}"/>
              </a:ext>
            </a:extLst>
          </p:cNvPr>
          <p:cNvSpPr>
            <a:spLocks noGrp="1"/>
          </p:cNvSpPr>
          <p:nvPr>
            <p:ph type="pic" sz="quarter" idx="12"/>
          </p:nvPr>
        </p:nvSpPr>
        <p:spPr>
          <a:xfrm>
            <a:off x="8339782" y="1920688"/>
            <a:ext cx="2271927" cy="2271600"/>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
        <p:nvSpPr>
          <p:cNvPr id="8" name="Picture Placeholder 7">
            <a:extLst>
              <a:ext uri="{FF2B5EF4-FFF2-40B4-BE49-F238E27FC236}">
                <a16:creationId xmlns:a16="http://schemas.microsoft.com/office/drawing/2014/main" id="{55C12A7B-4CB5-406E-A221-64B6790119C5}"/>
              </a:ext>
            </a:extLst>
          </p:cNvPr>
          <p:cNvSpPr>
            <a:spLocks noGrp="1"/>
          </p:cNvSpPr>
          <p:nvPr>
            <p:ph type="pic" sz="quarter" idx="10"/>
          </p:nvPr>
        </p:nvSpPr>
        <p:spPr>
          <a:xfrm>
            <a:off x="1435615" y="1920688"/>
            <a:ext cx="2271927" cy="2271600"/>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Tree>
    <p:extLst>
      <p:ext uri="{BB962C8B-B14F-4D97-AF65-F5344CB8AC3E}">
        <p14:creationId xmlns:p14="http://schemas.microsoft.com/office/powerpoint/2010/main" val="13788959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0_Пользовательский макет">
    <p:spTree>
      <p:nvGrpSpPr>
        <p:cNvPr id="1" name=""/>
        <p:cNvGrpSpPr/>
        <p:nvPr/>
      </p:nvGrpSpPr>
      <p:grpSpPr>
        <a:xfrm>
          <a:off x="0" y="0"/>
          <a:ext cx="0" cy="0"/>
          <a:chOff x="0" y="0"/>
          <a:chExt cx="0" cy="0"/>
        </a:xfrm>
      </p:grpSpPr>
      <p:sp>
        <p:nvSpPr>
          <p:cNvPr id="7" name="Рисунок 8"/>
          <p:cNvSpPr>
            <a:spLocks noGrp="1"/>
          </p:cNvSpPr>
          <p:nvPr>
            <p:ph type="pic" sz="quarter" idx="10"/>
          </p:nvPr>
        </p:nvSpPr>
        <p:spPr>
          <a:xfrm>
            <a:off x="6096000" y="0"/>
            <a:ext cx="6096000" cy="6858000"/>
          </a:xfrm>
          <a:prstGeom prst="rect">
            <a:avLst/>
          </a:prstGeom>
        </p:spPr>
        <p:txBody>
          <a:bodyPr/>
          <a:lstStyle/>
          <a:p>
            <a:endParaRPr lang="ru-RU"/>
          </a:p>
        </p:txBody>
      </p:sp>
    </p:spTree>
    <p:extLst>
      <p:ext uri="{BB962C8B-B14F-4D97-AF65-F5344CB8AC3E}">
        <p14:creationId xmlns:p14="http://schemas.microsoft.com/office/powerpoint/2010/main" val="747452347"/>
      </p:ext>
    </p:extLst>
  </p:cSld>
  <p:clrMapOvr>
    <a:masterClrMapping/>
  </p:clrMapOvr>
  <p:extLst mod="1">
    <p:ext uri="{DCECCB84-F9BA-43D5-87BE-67443E8EF086}">
      <p15:sldGuideLst xmlns:p15="http://schemas.microsoft.com/office/powerpoint/2012/main">
        <p15:guide id="2" pos="10681">
          <p15:clr>
            <a:srgbClr val="FBAE40"/>
          </p15:clr>
        </p15:guide>
        <p15:guide id="3"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Yalnızca Başlık">
    <p:spTree>
      <p:nvGrpSpPr>
        <p:cNvPr id="1" name=""/>
        <p:cNvGrpSpPr/>
        <p:nvPr/>
      </p:nvGrpSpPr>
      <p:grpSpPr>
        <a:xfrm>
          <a:off x="0" y="0"/>
          <a:ext cx="0" cy="0"/>
          <a:chOff x="0" y="0"/>
          <a:chExt cx="0" cy="0"/>
        </a:xfrm>
      </p:grpSpPr>
      <p:pic>
        <p:nvPicPr>
          <p:cNvPr id="7" name="Resim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Resim 7"/>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2" y="6280522"/>
            <a:ext cx="12202508" cy="191497"/>
          </a:xfrm>
          <a:prstGeom prst="rect">
            <a:avLst/>
          </a:prstGeom>
        </p:spPr>
      </p:pic>
      <p:pic>
        <p:nvPicPr>
          <p:cNvPr id="9" name="Resim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60331" y="301112"/>
            <a:ext cx="1224664" cy="723908"/>
          </a:xfrm>
          <a:prstGeom prst="rect">
            <a:avLst/>
          </a:prstGeom>
        </p:spPr>
      </p:pic>
      <p:sp>
        <p:nvSpPr>
          <p:cNvPr id="10" name="Başlık 1"/>
          <p:cNvSpPr>
            <a:spLocks noGrp="1"/>
          </p:cNvSpPr>
          <p:nvPr userDrawn="1">
            <p:ph type="title"/>
          </p:nvPr>
        </p:nvSpPr>
        <p:spPr>
          <a:xfrm>
            <a:off x="1760640" y="301112"/>
            <a:ext cx="9615949" cy="723908"/>
          </a:xfrm>
        </p:spPr>
        <p:txBody>
          <a:bodyPr anchor="ctr">
            <a:normAutofit/>
          </a:bodyPr>
          <a:lstStyle>
            <a:lvl1pPr algn="l">
              <a:defRPr sz="3100"/>
            </a:lvl1pPr>
          </a:lstStyle>
          <a:p>
            <a:r>
              <a:rPr lang="tr-TR" dirty="0"/>
              <a:t>Asıl başlık stili için tıklatın</a:t>
            </a:r>
          </a:p>
        </p:txBody>
      </p:sp>
      <p:sp>
        <p:nvSpPr>
          <p:cNvPr id="14" name="Veri Yer Tutucusu 3"/>
          <p:cNvSpPr>
            <a:spLocks noGrp="1"/>
          </p:cNvSpPr>
          <p:nvPr>
            <p:ph type="dt" sz="half" idx="10"/>
          </p:nvPr>
        </p:nvSpPr>
        <p:spPr>
          <a:xfrm>
            <a:off x="850933" y="6480202"/>
            <a:ext cx="284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srgbClr val="445469">
                  <a:tint val="75000"/>
                </a:srgbClr>
              </a:solidFill>
              <a:effectLst/>
              <a:uLnTx/>
              <a:uFillTx/>
              <a:latin typeface="Roboto Light"/>
              <a:ea typeface="+mn-ea"/>
              <a:cs typeface="+mn-cs"/>
            </a:endParaRPr>
          </a:p>
        </p:txBody>
      </p:sp>
      <p:sp>
        <p:nvSpPr>
          <p:cNvPr id="15" name="Altbilgi Yer Tutucusu 4"/>
          <p:cNvSpPr>
            <a:spLocks noGrp="1"/>
          </p:cNvSpPr>
          <p:nvPr>
            <p:ph type="ftr" sz="quarter" idx="11"/>
          </p:nvPr>
        </p:nvSpPr>
        <p:spPr>
          <a:xfrm>
            <a:off x="4165600" y="6480202"/>
            <a:ext cx="3860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
        <p:nvSpPr>
          <p:cNvPr id="16" name="Slayt Numarası Yer Tutucusu 5"/>
          <p:cNvSpPr>
            <a:spLocks noGrp="1"/>
          </p:cNvSpPr>
          <p:nvPr>
            <p:ph type="sldNum" sz="quarter" idx="12"/>
          </p:nvPr>
        </p:nvSpPr>
        <p:spPr>
          <a:xfrm>
            <a:off x="8496267" y="6480202"/>
            <a:ext cx="28448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1868C5-B491-42BF-9F5C-46095BC3F40A}" type="slidenum">
              <a:rPr kumimoji="0" lang="tr-TR" sz="1200" b="0" i="0" u="none" strike="noStrike" kern="1200" cap="none" spc="0" normalizeH="0" baseline="0" noProof="0" smtClean="0">
                <a:ln>
                  <a:noFill/>
                </a:ln>
                <a:solidFill>
                  <a:srgbClr val="445469">
                    <a:tint val="75000"/>
                  </a:srgb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r-TR" sz="1200" b="0" i="0" u="none" strike="noStrike" kern="1200" cap="none" spc="0" normalizeH="0" baseline="0" noProof="0" dirty="0">
              <a:ln>
                <a:noFill/>
              </a:ln>
              <a:solidFill>
                <a:srgbClr val="445469">
                  <a:tint val="75000"/>
                </a:srgbClr>
              </a:solidFill>
              <a:effectLst/>
              <a:uLnTx/>
              <a:uFillTx/>
              <a:latin typeface="Roboto Light"/>
              <a:ea typeface="+mn-ea"/>
              <a:cs typeface="+mn-cs"/>
            </a:endParaRPr>
          </a:p>
        </p:txBody>
      </p:sp>
    </p:spTree>
    <p:extLst>
      <p:ext uri="{BB962C8B-B14F-4D97-AF65-F5344CB8AC3E}">
        <p14:creationId xmlns:p14="http://schemas.microsoft.com/office/powerpoint/2010/main" val="4214460050"/>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78"/>
            <a:ext cx="10363200" cy="1362075"/>
          </a:xfrm>
        </p:spPr>
        <p:txBody>
          <a:bodyPr anchor="t"/>
          <a:lstStyle>
            <a:lvl1pPr algn="l">
              <a:defRPr sz="4015"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807"/>
            <a:ext cx="10363200" cy="1500186"/>
          </a:xfrm>
        </p:spPr>
        <p:txBody>
          <a:bodyPr anchor="b"/>
          <a:lstStyle>
            <a:lvl1pPr marL="0" indent="0">
              <a:buNone/>
              <a:defRPr sz="2007">
                <a:solidFill>
                  <a:schemeClr val="tx1">
                    <a:tint val="75000"/>
                  </a:schemeClr>
                </a:solidFill>
              </a:defRPr>
            </a:lvl1pPr>
            <a:lvl2pPr marL="458747" indent="0">
              <a:buNone/>
              <a:defRPr sz="1807">
                <a:solidFill>
                  <a:schemeClr val="tx1">
                    <a:tint val="75000"/>
                  </a:schemeClr>
                </a:solidFill>
              </a:defRPr>
            </a:lvl2pPr>
            <a:lvl3pPr marL="917496" indent="0">
              <a:buNone/>
              <a:defRPr sz="1606">
                <a:solidFill>
                  <a:schemeClr val="tx1">
                    <a:tint val="75000"/>
                  </a:schemeClr>
                </a:solidFill>
              </a:defRPr>
            </a:lvl3pPr>
            <a:lvl4pPr marL="1376244" indent="0">
              <a:buNone/>
              <a:defRPr sz="1405">
                <a:solidFill>
                  <a:schemeClr val="tx1">
                    <a:tint val="75000"/>
                  </a:schemeClr>
                </a:solidFill>
              </a:defRPr>
            </a:lvl4pPr>
            <a:lvl5pPr marL="1834991" indent="0">
              <a:buNone/>
              <a:defRPr sz="1405">
                <a:solidFill>
                  <a:schemeClr val="tx1">
                    <a:tint val="75000"/>
                  </a:schemeClr>
                </a:solidFill>
              </a:defRPr>
            </a:lvl5pPr>
            <a:lvl6pPr marL="2293740" indent="0">
              <a:buNone/>
              <a:defRPr sz="1405">
                <a:solidFill>
                  <a:schemeClr val="tx1">
                    <a:tint val="75000"/>
                  </a:schemeClr>
                </a:solidFill>
              </a:defRPr>
            </a:lvl6pPr>
            <a:lvl7pPr marL="2752490" indent="0">
              <a:buNone/>
              <a:defRPr sz="1405">
                <a:solidFill>
                  <a:schemeClr val="tx1">
                    <a:tint val="75000"/>
                  </a:schemeClr>
                </a:solidFill>
              </a:defRPr>
            </a:lvl7pPr>
            <a:lvl8pPr marL="3211236" indent="0">
              <a:buNone/>
              <a:defRPr sz="1405">
                <a:solidFill>
                  <a:schemeClr val="tx1">
                    <a:tint val="75000"/>
                  </a:schemeClr>
                </a:solidFill>
              </a:defRPr>
            </a:lvl8pPr>
            <a:lvl9pPr marL="3669984" indent="0">
              <a:buNone/>
              <a:defRPr sz="1405">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defTabSz="917783" fontAlgn="base">
              <a:spcBef>
                <a:spcPct val="0"/>
              </a:spcBef>
              <a:spcAft>
                <a:spcPct val="0"/>
              </a:spcAft>
              <a:defRPr/>
            </a:pPr>
            <a:fld id="{20F3B380-B7E9-4FF7-BF52-D98C14B8110C}"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2883782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A5335B3-4D39-40B8-AFB3-290BDEA506C1}" type="datetime1">
              <a:rPr kumimoji="0" lang="en-US" sz="1200" b="0" i="0" u="none" strike="noStrike" kern="1200" cap="none" spc="0" normalizeH="0" baseline="0" noProof="0" smtClean="0">
                <a:ln>
                  <a:noFill/>
                </a:ln>
                <a:solidFill>
                  <a:prstClr val="black">
                    <a:tint val="75000"/>
                  </a:prstClr>
                </a:solidFill>
                <a:effectLst/>
                <a:uLnTx/>
                <a:uFillTx/>
                <a:latin typeface="Roboto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200" b="0" i="0" u="none" strike="noStrike" kern="1200" cap="none" spc="0" normalizeH="0" baseline="0" noProof="0">
              <a:ln>
                <a:noFill/>
              </a:ln>
              <a:solidFill>
                <a:prstClr val="black">
                  <a:tint val="75000"/>
                </a:prstClr>
              </a:solidFill>
              <a:effectLst/>
              <a:uLnTx/>
              <a:uFillTx/>
              <a:latin typeface="Roboto Light"/>
              <a:ea typeface="+mn-ea"/>
              <a:cs typeface="+mn-cs"/>
            </a:endParaRPr>
          </a:p>
        </p:txBody>
      </p:sp>
      <p:sp>
        <p:nvSpPr>
          <p:cNvPr id="5" name="4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tint val="75000"/>
                </a:prstClr>
              </a:solidFill>
              <a:effectLst/>
              <a:uLnTx/>
              <a:uFillTx/>
              <a:latin typeface="Roboto Light"/>
              <a:ea typeface="+mn-ea"/>
              <a:cs typeface="+mn-cs"/>
            </a:endParaRPr>
          </a:p>
        </p:txBody>
      </p:sp>
      <p:sp>
        <p:nvSpPr>
          <p:cNvPr id="6" name="5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0" b="0" i="0" u="none" strike="noStrike" kern="1200" cap="none" spc="0" normalizeH="0" baseline="0" noProof="0" smtClean="0">
                <a:ln>
                  <a:noFill/>
                </a:ln>
                <a:solidFill>
                  <a:prstClr val="black">
                    <a:tint val="75000"/>
                  </a:prst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200" b="0" i="0" u="none" strike="noStrike" kern="1200" cap="none" spc="0" normalizeH="0" baseline="0" noProof="0">
              <a:ln>
                <a:noFill/>
              </a:ln>
              <a:solidFill>
                <a:prstClr val="black">
                  <a:tint val="75000"/>
                </a:prstClr>
              </a:solidFill>
              <a:effectLst/>
              <a:uLnTx/>
              <a:uFillTx/>
              <a:latin typeface="Roboto Light"/>
              <a:ea typeface="+mn-ea"/>
              <a:cs typeface="+mn-cs"/>
            </a:endParaRPr>
          </a:p>
        </p:txBody>
      </p:sp>
    </p:spTree>
    <p:extLst>
      <p:ext uri="{BB962C8B-B14F-4D97-AF65-F5344CB8AC3E}">
        <p14:creationId xmlns:p14="http://schemas.microsoft.com/office/powerpoint/2010/main" val="21874066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cSld name="Başlıklı Resim">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a:t>Asıl başlık stili için tıklatın</a:t>
            </a:r>
            <a:endParaRPr lang="en-US"/>
          </a:p>
        </p:txBody>
      </p:sp>
      <p:sp>
        <p:nvSpPr>
          <p:cNvPr id="3" name="Resim Yer Tutucusu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a:t>Asıl metin stillerini düzenlemek için tıklatın</a:t>
            </a:r>
          </a:p>
        </p:txBody>
      </p:sp>
      <p:sp>
        <p:nvSpPr>
          <p:cNvPr id="5" name="Veri Yer Tutucusu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B56167-491E-4809-A907-3BF7AF06489A}" type="datetime1">
              <a:rPr kumimoji="0" lang="en-US" sz="1200" b="0" i="0" u="none" strike="noStrike" kern="1200" cap="none" spc="0" normalizeH="0" baseline="0" noProof="0" smtClean="0">
                <a:ln>
                  <a:noFill/>
                </a:ln>
                <a:solidFill>
                  <a:srgbClr val="445469">
                    <a:tint val="75000"/>
                  </a:srgbClr>
                </a:solidFill>
                <a:effectLst/>
                <a:uLnTx/>
                <a:uFillTx/>
                <a:latin typeface="Roboto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US"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
        <p:nvSpPr>
          <p:cNvPr id="6" name="Altbilgi Yer Tutucusu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
        <p:nvSpPr>
          <p:cNvPr id="7" name="Slayt Numarası Yer Tutucusu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17BAC-AD27-4367-93BC-03BF7B01E6B3}" type="slidenum">
              <a:rPr kumimoji="0" lang="en-US" sz="1200" b="0" i="0" u="none" strike="noStrike" kern="1200" cap="none" spc="0" normalizeH="0" baseline="0" noProof="0" smtClean="0">
                <a:ln>
                  <a:noFill/>
                </a:ln>
                <a:solidFill>
                  <a:srgbClr val="445469">
                    <a:tint val="75000"/>
                  </a:srgb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Tree>
    <p:extLst>
      <p:ext uri="{BB962C8B-B14F-4D97-AF65-F5344CB8AC3E}">
        <p14:creationId xmlns:p14="http://schemas.microsoft.com/office/powerpoint/2010/main" val="920180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477"/>
            <a:ext cx="10363200" cy="1470025"/>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0" y="3886231"/>
            <a:ext cx="8534400" cy="1752600"/>
          </a:xfrm>
        </p:spPr>
        <p:txBody>
          <a:bodyPr/>
          <a:lstStyle>
            <a:lvl1pPr marL="0" indent="0" algn="ctr">
              <a:buNone/>
              <a:defRPr>
                <a:solidFill>
                  <a:schemeClr val="tx1">
                    <a:tint val="75000"/>
                  </a:schemeClr>
                </a:solidFill>
              </a:defRPr>
            </a:lvl1pPr>
            <a:lvl2pPr marL="458892" indent="0" algn="ctr">
              <a:buNone/>
              <a:defRPr>
                <a:solidFill>
                  <a:schemeClr val="tx1">
                    <a:tint val="75000"/>
                  </a:schemeClr>
                </a:solidFill>
              </a:defRPr>
            </a:lvl2pPr>
            <a:lvl3pPr marL="917783" indent="0" algn="ctr">
              <a:buNone/>
              <a:defRPr>
                <a:solidFill>
                  <a:schemeClr val="tx1">
                    <a:tint val="75000"/>
                  </a:schemeClr>
                </a:solidFill>
              </a:defRPr>
            </a:lvl3pPr>
            <a:lvl4pPr marL="1376675" indent="0" algn="ctr">
              <a:buNone/>
              <a:defRPr>
                <a:solidFill>
                  <a:schemeClr val="tx1">
                    <a:tint val="75000"/>
                  </a:schemeClr>
                </a:solidFill>
              </a:defRPr>
            </a:lvl4pPr>
            <a:lvl5pPr marL="1835567" indent="0" algn="ctr">
              <a:buNone/>
              <a:defRPr>
                <a:solidFill>
                  <a:schemeClr val="tx1">
                    <a:tint val="75000"/>
                  </a:schemeClr>
                </a:solidFill>
              </a:defRPr>
            </a:lvl5pPr>
            <a:lvl6pPr marL="2294458" indent="0" algn="ctr">
              <a:buNone/>
              <a:defRPr>
                <a:solidFill>
                  <a:schemeClr val="tx1">
                    <a:tint val="75000"/>
                  </a:schemeClr>
                </a:solidFill>
              </a:defRPr>
            </a:lvl6pPr>
            <a:lvl7pPr marL="2753350" indent="0" algn="ctr">
              <a:buNone/>
              <a:defRPr>
                <a:solidFill>
                  <a:schemeClr val="tx1">
                    <a:tint val="75000"/>
                  </a:schemeClr>
                </a:solidFill>
              </a:defRPr>
            </a:lvl7pPr>
            <a:lvl8pPr marL="3212241" indent="0" algn="ctr">
              <a:buNone/>
              <a:defRPr>
                <a:solidFill>
                  <a:schemeClr val="tx1">
                    <a:tint val="75000"/>
                  </a:schemeClr>
                </a:solidFill>
              </a:defRPr>
            </a:lvl8pPr>
            <a:lvl9pPr marL="3671133"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a:defRPr/>
            </a:pPr>
            <a:fld id="{82F2A597-13CA-4EEE-8426-901B2EAE8666}" type="datetime1">
              <a:rPr lang="tr-TR" smtClean="0"/>
              <a:t>5.04.2021</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8A1BA4D1-3E9F-4CC0-99EF-71CDEED25309}" type="slidenum">
              <a:rPr lang="tr-TR"/>
              <a:pPr>
                <a:defRPr/>
              </a:pPr>
              <a:t>‹#›</a:t>
            </a:fld>
            <a:endParaRPr lang="tr-TR"/>
          </a:p>
        </p:txBody>
      </p:sp>
    </p:spTree>
    <p:extLst>
      <p:ext uri="{BB962C8B-B14F-4D97-AF65-F5344CB8AC3E}">
        <p14:creationId xmlns:p14="http://schemas.microsoft.com/office/powerpoint/2010/main" val="13636892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461"/>
            <a:ext cx="10363201" cy="1470024"/>
          </a:xfrm>
        </p:spPr>
        <p:txBody>
          <a:bodyPr/>
          <a:lstStyle/>
          <a:p>
            <a:r>
              <a:rPr lang="tr-TR"/>
              <a:t>Asıl başlık stili için tıklatın</a:t>
            </a:r>
          </a:p>
        </p:txBody>
      </p:sp>
      <p:sp>
        <p:nvSpPr>
          <p:cNvPr id="3" name="2 Alt Başlık"/>
          <p:cNvSpPr>
            <a:spLocks noGrp="1"/>
          </p:cNvSpPr>
          <p:nvPr>
            <p:ph type="subTitle" idx="1"/>
          </p:nvPr>
        </p:nvSpPr>
        <p:spPr>
          <a:xfrm>
            <a:off x="1828801" y="3886232"/>
            <a:ext cx="8534400" cy="1752600"/>
          </a:xfrm>
        </p:spPr>
        <p:txBody>
          <a:bodyPr/>
          <a:lstStyle>
            <a:lvl1pPr marL="0" indent="0" algn="ctr">
              <a:buNone/>
              <a:defRPr>
                <a:solidFill>
                  <a:schemeClr val="tx1">
                    <a:tint val="75000"/>
                  </a:schemeClr>
                </a:solidFill>
              </a:defRPr>
            </a:lvl1pPr>
            <a:lvl2pPr marL="609637" indent="0" algn="ctr">
              <a:buNone/>
              <a:defRPr>
                <a:solidFill>
                  <a:schemeClr val="tx1">
                    <a:tint val="75000"/>
                  </a:schemeClr>
                </a:solidFill>
              </a:defRPr>
            </a:lvl2pPr>
            <a:lvl3pPr marL="1219275" indent="0" algn="ctr">
              <a:buNone/>
              <a:defRPr>
                <a:solidFill>
                  <a:schemeClr val="tx1">
                    <a:tint val="75000"/>
                  </a:schemeClr>
                </a:solidFill>
              </a:defRPr>
            </a:lvl3pPr>
            <a:lvl4pPr marL="1828913" indent="0" algn="ctr">
              <a:buNone/>
              <a:defRPr>
                <a:solidFill>
                  <a:schemeClr val="tx1">
                    <a:tint val="75000"/>
                  </a:schemeClr>
                </a:solidFill>
              </a:defRPr>
            </a:lvl4pPr>
            <a:lvl5pPr marL="2438550" indent="0" algn="ctr">
              <a:buNone/>
              <a:defRPr>
                <a:solidFill>
                  <a:schemeClr val="tx1">
                    <a:tint val="75000"/>
                  </a:schemeClr>
                </a:solidFill>
              </a:defRPr>
            </a:lvl5pPr>
            <a:lvl6pPr marL="3048188" indent="0" algn="ctr">
              <a:buNone/>
              <a:defRPr>
                <a:solidFill>
                  <a:schemeClr val="tx1">
                    <a:tint val="75000"/>
                  </a:schemeClr>
                </a:solidFill>
              </a:defRPr>
            </a:lvl6pPr>
            <a:lvl7pPr marL="3657825" indent="0" algn="ctr">
              <a:buNone/>
              <a:defRPr>
                <a:solidFill>
                  <a:schemeClr val="tx1">
                    <a:tint val="75000"/>
                  </a:schemeClr>
                </a:solidFill>
              </a:defRPr>
            </a:lvl7pPr>
            <a:lvl8pPr marL="4267462" indent="0" algn="ctr">
              <a:buNone/>
              <a:defRPr>
                <a:solidFill>
                  <a:schemeClr val="tx1">
                    <a:tint val="75000"/>
                  </a:schemeClr>
                </a:solidFill>
              </a:defRPr>
            </a:lvl8pPr>
            <a:lvl9pPr marL="4877101" indent="0" algn="ctr">
              <a:buNone/>
              <a:defRPr>
                <a:solidFill>
                  <a:schemeClr val="tx1">
                    <a:tint val="75000"/>
                  </a:schemeClr>
                </a:solidFill>
              </a:defRPr>
            </a:lvl9pPr>
          </a:lstStyle>
          <a:p>
            <a:r>
              <a:rPr lang="tr-TR"/>
              <a:t>Asıl alt başlık stilini düzenlemek için tıklatın</a:t>
            </a:r>
          </a:p>
        </p:txBody>
      </p:sp>
      <p:sp>
        <p:nvSpPr>
          <p:cNvPr id="4" name="3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690766-043B-463C-BB6E-19010451B63D}" type="datetime1">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4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3582853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a:t>Asıl başlık stili için tıklatın</a:t>
            </a:r>
          </a:p>
        </p:txBody>
      </p:sp>
      <p:sp>
        <p:nvSpPr>
          <p:cNvPr id="3" name="2 İçerik Yer Tutucusu"/>
          <p:cNvSpPr>
            <a:spLocks noGrp="1"/>
          </p:cNvSpPr>
          <p:nvPr>
            <p:ph idx="1"/>
          </p:nvPr>
        </p:nvSpPr>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D37344-8ACB-46DF-B950-532A5C312C65}" type="datetime1">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4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178311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41"/>
            <a:ext cx="10363201" cy="1362075"/>
          </a:xfrm>
        </p:spPr>
        <p:txBody>
          <a:bodyPr anchor="t"/>
          <a:lstStyle>
            <a:lvl1pPr algn="l">
              <a:defRPr sz="5334" b="1" cap="all"/>
            </a:lvl1pPr>
          </a:lstStyle>
          <a:p>
            <a:r>
              <a:rPr lang="tr-TR"/>
              <a:t>Asıl başlık stili için tıklatın</a:t>
            </a:r>
          </a:p>
        </p:txBody>
      </p:sp>
      <p:sp>
        <p:nvSpPr>
          <p:cNvPr id="3" name="2 Metin Yer Tutucusu"/>
          <p:cNvSpPr>
            <a:spLocks noGrp="1"/>
          </p:cNvSpPr>
          <p:nvPr>
            <p:ph type="body" idx="1"/>
          </p:nvPr>
        </p:nvSpPr>
        <p:spPr>
          <a:xfrm>
            <a:off x="963084" y="2906754"/>
            <a:ext cx="10363201" cy="1500187"/>
          </a:xfrm>
        </p:spPr>
        <p:txBody>
          <a:bodyPr anchor="b"/>
          <a:lstStyle>
            <a:lvl1pPr marL="0" indent="0">
              <a:buNone/>
              <a:defRPr sz="2667">
                <a:solidFill>
                  <a:schemeClr val="tx1">
                    <a:tint val="75000"/>
                  </a:schemeClr>
                </a:solidFill>
              </a:defRPr>
            </a:lvl1pPr>
            <a:lvl2pPr marL="609637" indent="0">
              <a:buNone/>
              <a:defRPr sz="2400">
                <a:solidFill>
                  <a:schemeClr val="tx1">
                    <a:tint val="75000"/>
                  </a:schemeClr>
                </a:solidFill>
              </a:defRPr>
            </a:lvl2pPr>
            <a:lvl3pPr marL="1219275" indent="0">
              <a:buNone/>
              <a:defRPr sz="2134">
                <a:solidFill>
                  <a:schemeClr val="tx1">
                    <a:tint val="75000"/>
                  </a:schemeClr>
                </a:solidFill>
              </a:defRPr>
            </a:lvl3pPr>
            <a:lvl4pPr marL="1828913" indent="0">
              <a:buNone/>
              <a:defRPr sz="1867">
                <a:solidFill>
                  <a:schemeClr val="tx1">
                    <a:tint val="75000"/>
                  </a:schemeClr>
                </a:solidFill>
              </a:defRPr>
            </a:lvl4pPr>
            <a:lvl5pPr marL="2438550" indent="0">
              <a:buNone/>
              <a:defRPr sz="1867">
                <a:solidFill>
                  <a:schemeClr val="tx1">
                    <a:tint val="75000"/>
                  </a:schemeClr>
                </a:solidFill>
              </a:defRPr>
            </a:lvl5pPr>
            <a:lvl6pPr marL="3048188" indent="0">
              <a:buNone/>
              <a:defRPr sz="1867">
                <a:solidFill>
                  <a:schemeClr val="tx1">
                    <a:tint val="75000"/>
                  </a:schemeClr>
                </a:solidFill>
              </a:defRPr>
            </a:lvl6pPr>
            <a:lvl7pPr marL="3657825" indent="0">
              <a:buNone/>
              <a:defRPr sz="1867">
                <a:solidFill>
                  <a:schemeClr val="tx1">
                    <a:tint val="75000"/>
                  </a:schemeClr>
                </a:solidFill>
              </a:defRPr>
            </a:lvl7pPr>
            <a:lvl8pPr marL="4267462" indent="0">
              <a:buNone/>
              <a:defRPr sz="1867">
                <a:solidFill>
                  <a:schemeClr val="tx1">
                    <a:tint val="75000"/>
                  </a:schemeClr>
                </a:solidFill>
              </a:defRPr>
            </a:lvl8pPr>
            <a:lvl9pPr marL="4877101" indent="0">
              <a:buNone/>
              <a:defRPr sz="1867">
                <a:solidFill>
                  <a:schemeClr val="tx1">
                    <a:tint val="75000"/>
                  </a:schemeClr>
                </a:solidFill>
              </a:defRPr>
            </a:lvl9pPr>
          </a:lstStyle>
          <a:p>
            <a:pPr lvl="0"/>
            <a:r>
              <a:rPr lang="tr-TR"/>
              <a:t>Asıl metin stillerini düzenlemek için tıklatın</a:t>
            </a:r>
          </a:p>
        </p:txBody>
      </p:sp>
      <p:sp>
        <p:nvSpPr>
          <p:cNvPr id="4" name="3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823B51B-D9F2-450E-B550-EA6567BC049A}" type="datetime1">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4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649085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a:t>Asıl başlık stili için tıklatın</a:t>
            </a:r>
          </a:p>
        </p:txBody>
      </p:sp>
      <p:sp>
        <p:nvSpPr>
          <p:cNvPr id="3" name="2 İçerik Yer Tutucusu"/>
          <p:cNvSpPr>
            <a:spLocks noGrp="1"/>
          </p:cNvSpPr>
          <p:nvPr>
            <p:ph sz="half" idx="1"/>
          </p:nvPr>
        </p:nvSpPr>
        <p:spPr>
          <a:xfrm>
            <a:off x="609600" y="1600241"/>
            <a:ext cx="5384800" cy="4525963"/>
          </a:xfrm>
        </p:spPr>
        <p:txBody>
          <a:bodyPr/>
          <a:lstStyle>
            <a:lvl1pPr>
              <a:defRPr sz="3734"/>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İçerik Yer Tutucusu"/>
          <p:cNvSpPr>
            <a:spLocks noGrp="1"/>
          </p:cNvSpPr>
          <p:nvPr>
            <p:ph sz="half" idx="2"/>
          </p:nvPr>
        </p:nvSpPr>
        <p:spPr>
          <a:xfrm>
            <a:off x="6197600" y="1600241"/>
            <a:ext cx="5384800" cy="4525963"/>
          </a:xfrm>
        </p:spPr>
        <p:txBody>
          <a:bodyPr/>
          <a:lstStyle>
            <a:lvl1pPr>
              <a:defRPr sz="3734"/>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4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C900B7-7AE5-4293-A8F7-D6FE9FC3E294}" type="datetime1">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6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9514632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a:t>Asıl başlık stili için tıklatın</a:t>
            </a:r>
          </a:p>
        </p:txBody>
      </p:sp>
      <p:sp>
        <p:nvSpPr>
          <p:cNvPr id="3" name="2 Metin Yer Tutucusu"/>
          <p:cNvSpPr>
            <a:spLocks noGrp="1"/>
          </p:cNvSpPr>
          <p:nvPr>
            <p:ph type="body" idx="1"/>
          </p:nvPr>
        </p:nvSpPr>
        <p:spPr>
          <a:xfrm>
            <a:off x="609599" y="1535197"/>
            <a:ext cx="5386918" cy="639762"/>
          </a:xfrm>
        </p:spPr>
        <p:txBody>
          <a:bodyPr anchor="b"/>
          <a:lstStyle>
            <a:lvl1pPr marL="0" indent="0">
              <a:buNone/>
              <a:defRPr sz="3200" b="1"/>
            </a:lvl1pPr>
            <a:lvl2pPr marL="609637" indent="0">
              <a:buNone/>
              <a:defRPr sz="2667" b="1"/>
            </a:lvl2pPr>
            <a:lvl3pPr marL="1219275" indent="0">
              <a:buNone/>
              <a:defRPr sz="2400" b="1"/>
            </a:lvl3pPr>
            <a:lvl4pPr marL="1828913" indent="0">
              <a:buNone/>
              <a:defRPr sz="2134" b="1"/>
            </a:lvl4pPr>
            <a:lvl5pPr marL="2438550" indent="0">
              <a:buNone/>
              <a:defRPr sz="2134" b="1"/>
            </a:lvl5pPr>
            <a:lvl6pPr marL="3048188" indent="0">
              <a:buNone/>
              <a:defRPr sz="2134" b="1"/>
            </a:lvl6pPr>
            <a:lvl7pPr marL="3657825" indent="0">
              <a:buNone/>
              <a:defRPr sz="2134" b="1"/>
            </a:lvl7pPr>
            <a:lvl8pPr marL="4267462" indent="0">
              <a:buNone/>
              <a:defRPr sz="2134" b="1"/>
            </a:lvl8pPr>
            <a:lvl9pPr marL="4877101" indent="0">
              <a:buNone/>
              <a:defRPr sz="2134" b="1"/>
            </a:lvl9pPr>
          </a:lstStyle>
          <a:p>
            <a:pPr lvl="0"/>
            <a:r>
              <a:rPr lang="tr-TR"/>
              <a:t>Asıl metin stillerini düzenlemek için tıklatın</a:t>
            </a:r>
          </a:p>
        </p:txBody>
      </p:sp>
      <p:sp>
        <p:nvSpPr>
          <p:cNvPr id="4" name="3 İçerik Yer Tutucusu"/>
          <p:cNvSpPr>
            <a:spLocks noGrp="1"/>
          </p:cNvSpPr>
          <p:nvPr>
            <p:ph sz="half" idx="2"/>
          </p:nvPr>
        </p:nvSpPr>
        <p:spPr>
          <a:xfrm>
            <a:off x="609599" y="2174875"/>
            <a:ext cx="5386918" cy="3951288"/>
          </a:xfrm>
        </p:spPr>
        <p:txBody>
          <a:bodyPr/>
          <a:lstStyle>
            <a:lvl1pPr>
              <a:defRPr sz="3200"/>
            </a:lvl1pPr>
            <a:lvl2pPr>
              <a:defRPr sz="2667"/>
            </a:lvl2pPr>
            <a:lvl3pPr>
              <a:defRPr sz="2400"/>
            </a:lvl3pPr>
            <a:lvl4pPr>
              <a:defRPr sz="2134"/>
            </a:lvl4pPr>
            <a:lvl5pPr>
              <a:defRPr sz="2134"/>
            </a:lvl5pPr>
            <a:lvl6pPr>
              <a:defRPr sz="2134"/>
            </a:lvl6pPr>
            <a:lvl7pPr>
              <a:defRPr sz="2134"/>
            </a:lvl7pPr>
            <a:lvl8pPr>
              <a:defRPr sz="2134"/>
            </a:lvl8pPr>
            <a:lvl9pPr>
              <a:defRPr sz="2134"/>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4 Metin Yer Tutucusu"/>
          <p:cNvSpPr>
            <a:spLocks noGrp="1"/>
          </p:cNvSpPr>
          <p:nvPr>
            <p:ph type="body" sz="quarter" idx="3"/>
          </p:nvPr>
        </p:nvSpPr>
        <p:spPr>
          <a:xfrm>
            <a:off x="6193378" y="1535197"/>
            <a:ext cx="5389034" cy="639762"/>
          </a:xfrm>
        </p:spPr>
        <p:txBody>
          <a:bodyPr anchor="b"/>
          <a:lstStyle>
            <a:lvl1pPr marL="0" indent="0">
              <a:buNone/>
              <a:defRPr sz="3200" b="1"/>
            </a:lvl1pPr>
            <a:lvl2pPr marL="609637" indent="0">
              <a:buNone/>
              <a:defRPr sz="2667" b="1"/>
            </a:lvl2pPr>
            <a:lvl3pPr marL="1219275" indent="0">
              <a:buNone/>
              <a:defRPr sz="2400" b="1"/>
            </a:lvl3pPr>
            <a:lvl4pPr marL="1828913" indent="0">
              <a:buNone/>
              <a:defRPr sz="2134" b="1"/>
            </a:lvl4pPr>
            <a:lvl5pPr marL="2438550" indent="0">
              <a:buNone/>
              <a:defRPr sz="2134" b="1"/>
            </a:lvl5pPr>
            <a:lvl6pPr marL="3048188" indent="0">
              <a:buNone/>
              <a:defRPr sz="2134" b="1"/>
            </a:lvl6pPr>
            <a:lvl7pPr marL="3657825" indent="0">
              <a:buNone/>
              <a:defRPr sz="2134" b="1"/>
            </a:lvl7pPr>
            <a:lvl8pPr marL="4267462" indent="0">
              <a:buNone/>
              <a:defRPr sz="2134" b="1"/>
            </a:lvl8pPr>
            <a:lvl9pPr marL="4877101" indent="0">
              <a:buNone/>
              <a:defRPr sz="2134" b="1"/>
            </a:lvl9pPr>
          </a:lstStyle>
          <a:p>
            <a:pPr lvl="0"/>
            <a:r>
              <a:rPr lang="tr-TR"/>
              <a:t>Asıl metin stillerini düzenlemek için tıklatın</a:t>
            </a:r>
          </a:p>
        </p:txBody>
      </p:sp>
      <p:sp>
        <p:nvSpPr>
          <p:cNvPr id="6" name="5 İçerik Yer Tutucusu"/>
          <p:cNvSpPr>
            <a:spLocks noGrp="1"/>
          </p:cNvSpPr>
          <p:nvPr>
            <p:ph sz="quarter" idx="4"/>
          </p:nvPr>
        </p:nvSpPr>
        <p:spPr>
          <a:xfrm>
            <a:off x="6193378" y="2174875"/>
            <a:ext cx="5389034" cy="3951288"/>
          </a:xfrm>
        </p:spPr>
        <p:txBody>
          <a:bodyPr/>
          <a:lstStyle>
            <a:lvl1pPr>
              <a:defRPr sz="3200"/>
            </a:lvl1pPr>
            <a:lvl2pPr>
              <a:defRPr sz="2667"/>
            </a:lvl2pPr>
            <a:lvl3pPr>
              <a:defRPr sz="2400"/>
            </a:lvl3pPr>
            <a:lvl4pPr>
              <a:defRPr sz="2134"/>
            </a:lvl4pPr>
            <a:lvl5pPr>
              <a:defRPr sz="2134"/>
            </a:lvl5pPr>
            <a:lvl6pPr>
              <a:defRPr sz="2134"/>
            </a:lvl6pPr>
            <a:lvl7pPr>
              <a:defRPr sz="2134"/>
            </a:lvl7pPr>
            <a:lvl8pPr>
              <a:defRPr sz="2134"/>
            </a:lvl8pPr>
            <a:lvl9pPr>
              <a:defRPr sz="2134"/>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7" name="6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D8AC939-A4D6-4BF0-807F-B4A4AFCDE751}" type="datetime1">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7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8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204020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a:t>Asıl başlık stili için tıklatın</a:t>
            </a:r>
          </a:p>
        </p:txBody>
      </p:sp>
      <p:sp>
        <p:nvSpPr>
          <p:cNvPr id="3" name="2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B9DBC1-3AF8-4A1B-BF8B-194F78644F7C}" type="datetime1">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3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4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1267595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1FA61AF-35A6-4A30-8053-F4E4FA1CFD1C}" type="datetime1">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2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3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335586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600293"/>
            <a:ext cx="5384800" cy="4525963"/>
          </a:xfrm>
        </p:spPr>
        <p:txBody>
          <a:bodyPr/>
          <a:lstStyle>
            <a:lvl1pPr>
              <a:defRPr sz="2810"/>
            </a:lvl1pPr>
            <a:lvl2pPr>
              <a:defRPr sz="2409"/>
            </a:lvl2pPr>
            <a:lvl3pPr>
              <a:defRPr sz="2007"/>
            </a:lvl3pPr>
            <a:lvl4pPr>
              <a:defRPr sz="1807"/>
            </a:lvl4pPr>
            <a:lvl5pPr>
              <a:defRPr sz="1807"/>
            </a:lvl5pPr>
            <a:lvl6pPr>
              <a:defRPr sz="1807"/>
            </a:lvl6pPr>
            <a:lvl7pPr>
              <a:defRPr sz="1807"/>
            </a:lvl7pPr>
            <a:lvl8pPr>
              <a:defRPr sz="1807"/>
            </a:lvl8pPr>
            <a:lvl9pPr>
              <a:defRPr sz="180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600293"/>
            <a:ext cx="5384800" cy="4525963"/>
          </a:xfrm>
        </p:spPr>
        <p:txBody>
          <a:bodyPr/>
          <a:lstStyle>
            <a:lvl1pPr>
              <a:defRPr sz="2810"/>
            </a:lvl1pPr>
            <a:lvl2pPr>
              <a:defRPr sz="2409"/>
            </a:lvl2pPr>
            <a:lvl3pPr>
              <a:defRPr sz="2007"/>
            </a:lvl3pPr>
            <a:lvl4pPr>
              <a:defRPr sz="1807"/>
            </a:lvl4pPr>
            <a:lvl5pPr>
              <a:defRPr sz="1807"/>
            </a:lvl5pPr>
            <a:lvl6pPr>
              <a:defRPr sz="1807"/>
            </a:lvl6pPr>
            <a:lvl7pPr>
              <a:defRPr sz="1807"/>
            </a:lvl7pPr>
            <a:lvl8pPr>
              <a:defRPr sz="1807"/>
            </a:lvl8pPr>
            <a:lvl9pPr>
              <a:defRPr sz="180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defTabSz="917783" fontAlgn="base">
              <a:spcBef>
                <a:spcPct val="0"/>
              </a:spcBef>
              <a:spcAft>
                <a:spcPct val="0"/>
              </a:spcAft>
              <a:defRPr/>
            </a:pPr>
            <a:fld id="{0D9E6DD9-8F81-425C-BBDE-474E60075AAB}"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6" name="5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7" name="6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1271762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26" y="273053"/>
            <a:ext cx="4011084" cy="1162050"/>
          </a:xfrm>
        </p:spPr>
        <p:txBody>
          <a:bodyPr anchor="b"/>
          <a:lstStyle>
            <a:lvl1pPr algn="l">
              <a:defRPr sz="2667" b="1"/>
            </a:lvl1pPr>
          </a:lstStyle>
          <a:p>
            <a:r>
              <a:rPr lang="tr-TR"/>
              <a:t>Asıl başlık stili için tıklatın</a:t>
            </a:r>
          </a:p>
        </p:txBody>
      </p:sp>
      <p:sp>
        <p:nvSpPr>
          <p:cNvPr id="3" name="2 İçerik Yer Tutucusu"/>
          <p:cNvSpPr>
            <a:spLocks noGrp="1"/>
          </p:cNvSpPr>
          <p:nvPr>
            <p:ph idx="1"/>
          </p:nvPr>
        </p:nvSpPr>
        <p:spPr>
          <a:xfrm>
            <a:off x="4766734" y="273092"/>
            <a:ext cx="6815667" cy="5853113"/>
          </a:xfrm>
        </p:spPr>
        <p:txBody>
          <a:bodyPr/>
          <a:lstStyle>
            <a:lvl1pPr>
              <a:defRPr sz="4267"/>
            </a:lvl1pPr>
            <a:lvl2pPr>
              <a:defRPr sz="3734"/>
            </a:lvl2pPr>
            <a:lvl3pPr>
              <a:defRPr sz="3200"/>
            </a:lvl3pPr>
            <a:lvl4pPr>
              <a:defRPr sz="2667"/>
            </a:lvl4pPr>
            <a:lvl5pPr>
              <a:defRPr sz="2667"/>
            </a:lvl5pPr>
            <a:lvl6pPr>
              <a:defRPr sz="2667"/>
            </a:lvl6pPr>
            <a:lvl7pPr>
              <a:defRPr sz="2667"/>
            </a:lvl7pPr>
            <a:lvl8pPr>
              <a:defRPr sz="2667"/>
            </a:lvl8pPr>
            <a:lvl9pPr>
              <a:defRPr sz="2667"/>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Metin Yer Tutucusu"/>
          <p:cNvSpPr>
            <a:spLocks noGrp="1"/>
          </p:cNvSpPr>
          <p:nvPr>
            <p:ph type="body" sz="half" idx="2"/>
          </p:nvPr>
        </p:nvSpPr>
        <p:spPr>
          <a:xfrm>
            <a:off x="609626" y="1435109"/>
            <a:ext cx="4011084" cy="4691062"/>
          </a:xfrm>
        </p:spPr>
        <p:txBody>
          <a:bodyPr/>
          <a:lstStyle>
            <a:lvl1pPr marL="0" indent="0">
              <a:buNone/>
              <a:defRPr sz="1867"/>
            </a:lvl1pPr>
            <a:lvl2pPr marL="609637" indent="0">
              <a:buNone/>
              <a:defRPr sz="1600"/>
            </a:lvl2pPr>
            <a:lvl3pPr marL="1219275" indent="0">
              <a:buNone/>
              <a:defRPr sz="1334"/>
            </a:lvl3pPr>
            <a:lvl4pPr marL="1828913" indent="0">
              <a:buNone/>
              <a:defRPr sz="1200"/>
            </a:lvl4pPr>
            <a:lvl5pPr marL="2438550" indent="0">
              <a:buNone/>
              <a:defRPr sz="1200"/>
            </a:lvl5pPr>
            <a:lvl6pPr marL="3048188" indent="0">
              <a:buNone/>
              <a:defRPr sz="1200"/>
            </a:lvl6pPr>
            <a:lvl7pPr marL="3657825" indent="0">
              <a:buNone/>
              <a:defRPr sz="1200"/>
            </a:lvl7pPr>
            <a:lvl8pPr marL="4267462" indent="0">
              <a:buNone/>
              <a:defRPr sz="1200"/>
            </a:lvl8pPr>
            <a:lvl9pPr marL="4877101" indent="0">
              <a:buNone/>
              <a:defRPr sz="1200"/>
            </a:lvl9pPr>
          </a:lstStyle>
          <a:p>
            <a:pPr lvl="0"/>
            <a:r>
              <a:rPr lang="tr-TR"/>
              <a:t>Asıl metin stillerini düzenlemek için tıklatın</a:t>
            </a:r>
          </a:p>
        </p:txBody>
      </p:sp>
      <p:sp>
        <p:nvSpPr>
          <p:cNvPr id="5" name="4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104BAA5-BA30-490F-9AD6-10AF77BEDDFB}" type="datetime1">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6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9854744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8" y="4800645"/>
            <a:ext cx="7315200" cy="566738"/>
          </a:xfrm>
        </p:spPr>
        <p:txBody>
          <a:bodyPr anchor="b"/>
          <a:lstStyle>
            <a:lvl1pPr algn="l">
              <a:defRPr sz="2667" b="1"/>
            </a:lvl1pPr>
          </a:lstStyle>
          <a:p>
            <a:r>
              <a:rPr lang="tr-TR"/>
              <a:t>Asıl başlık stili için tıklatın</a:t>
            </a:r>
          </a:p>
        </p:txBody>
      </p:sp>
      <p:sp>
        <p:nvSpPr>
          <p:cNvPr id="3" name="2 Resim Yer Tutucusu"/>
          <p:cNvSpPr>
            <a:spLocks noGrp="1"/>
          </p:cNvSpPr>
          <p:nvPr>
            <p:ph type="pic" idx="1"/>
          </p:nvPr>
        </p:nvSpPr>
        <p:spPr>
          <a:xfrm>
            <a:off x="2389718" y="612774"/>
            <a:ext cx="7315200" cy="4114800"/>
          </a:xfrm>
        </p:spPr>
        <p:txBody>
          <a:bodyPr/>
          <a:lstStyle>
            <a:lvl1pPr marL="0" indent="0">
              <a:buNone/>
              <a:defRPr sz="4267"/>
            </a:lvl1pPr>
            <a:lvl2pPr marL="609637" indent="0">
              <a:buNone/>
              <a:defRPr sz="3734"/>
            </a:lvl2pPr>
            <a:lvl3pPr marL="1219275" indent="0">
              <a:buNone/>
              <a:defRPr sz="3200"/>
            </a:lvl3pPr>
            <a:lvl4pPr marL="1828913" indent="0">
              <a:buNone/>
              <a:defRPr sz="2667"/>
            </a:lvl4pPr>
            <a:lvl5pPr marL="2438550" indent="0">
              <a:buNone/>
              <a:defRPr sz="2667"/>
            </a:lvl5pPr>
            <a:lvl6pPr marL="3048188" indent="0">
              <a:buNone/>
              <a:defRPr sz="2667"/>
            </a:lvl6pPr>
            <a:lvl7pPr marL="3657825" indent="0">
              <a:buNone/>
              <a:defRPr sz="2667"/>
            </a:lvl7pPr>
            <a:lvl8pPr marL="4267462" indent="0">
              <a:buNone/>
              <a:defRPr sz="2667"/>
            </a:lvl8pPr>
            <a:lvl9pPr marL="4877101" indent="0">
              <a:buNone/>
              <a:defRPr sz="2667"/>
            </a:lvl9pPr>
          </a:lstStyle>
          <a:p>
            <a:endParaRPr lang="tr-TR"/>
          </a:p>
        </p:txBody>
      </p:sp>
      <p:sp>
        <p:nvSpPr>
          <p:cNvPr id="4" name="3 Metin Yer Tutucusu"/>
          <p:cNvSpPr>
            <a:spLocks noGrp="1"/>
          </p:cNvSpPr>
          <p:nvPr>
            <p:ph type="body" sz="half" idx="2"/>
          </p:nvPr>
        </p:nvSpPr>
        <p:spPr>
          <a:xfrm>
            <a:off x="2389718" y="5367383"/>
            <a:ext cx="7315200" cy="804862"/>
          </a:xfrm>
        </p:spPr>
        <p:txBody>
          <a:bodyPr/>
          <a:lstStyle>
            <a:lvl1pPr marL="0" indent="0">
              <a:buNone/>
              <a:defRPr sz="1867"/>
            </a:lvl1pPr>
            <a:lvl2pPr marL="609637" indent="0">
              <a:buNone/>
              <a:defRPr sz="1600"/>
            </a:lvl2pPr>
            <a:lvl3pPr marL="1219275" indent="0">
              <a:buNone/>
              <a:defRPr sz="1334"/>
            </a:lvl3pPr>
            <a:lvl4pPr marL="1828913" indent="0">
              <a:buNone/>
              <a:defRPr sz="1200"/>
            </a:lvl4pPr>
            <a:lvl5pPr marL="2438550" indent="0">
              <a:buNone/>
              <a:defRPr sz="1200"/>
            </a:lvl5pPr>
            <a:lvl6pPr marL="3048188" indent="0">
              <a:buNone/>
              <a:defRPr sz="1200"/>
            </a:lvl6pPr>
            <a:lvl7pPr marL="3657825" indent="0">
              <a:buNone/>
              <a:defRPr sz="1200"/>
            </a:lvl7pPr>
            <a:lvl8pPr marL="4267462" indent="0">
              <a:buNone/>
              <a:defRPr sz="1200"/>
            </a:lvl8pPr>
            <a:lvl9pPr marL="4877101" indent="0">
              <a:buNone/>
              <a:defRPr sz="1200"/>
            </a:lvl9pPr>
          </a:lstStyle>
          <a:p>
            <a:pPr lvl="0"/>
            <a:r>
              <a:rPr lang="tr-TR"/>
              <a:t>Asıl metin stillerini düzenlemek için tıklatın</a:t>
            </a:r>
          </a:p>
        </p:txBody>
      </p:sp>
      <p:sp>
        <p:nvSpPr>
          <p:cNvPr id="5" name="4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3CA89C3-34AC-445C-AF0A-DC892B699DDF}" type="datetime1">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6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4519976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a:t>Asıl başlık stili için tıklatın</a:t>
            </a:r>
          </a:p>
        </p:txBody>
      </p:sp>
      <p:sp>
        <p:nvSpPr>
          <p:cNvPr id="3" name="2 Dikey Metin Yer Tutucusu"/>
          <p:cNvSpPr>
            <a:spLocks noGrp="1"/>
          </p:cNvSpPr>
          <p:nvPr>
            <p:ph type="body" orient="vert" idx="1"/>
          </p:nvPr>
        </p:nvSpPr>
        <p:spPr/>
        <p:txBody>
          <a:bodyPr vert="eaVert"/>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9DBA3BA-532C-4F39-954B-834DF18567CA}" type="datetime1">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4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3902183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1" y="274731"/>
            <a:ext cx="2743200" cy="5851525"/>
          </a:xfrm>
        </p:spPr>
        <p:txBody>
          <a:bodyPr vert="eaVert"/>
          <a:lstStyle/>
          <a:p>
            <a:r>
              <a:rPr lang="tr-TR"/>
              <a:t>Asıl başlık stili için tıklatın</a:t>
            </a:r>
          </a:p>
        </p:txBody>
      </p:sp>
      <p:sp>
        <p:nvSpPr>
          <p:cNvPr id="3" name="2 Dikey Metin Yer Tutucusu"/>
          <p:cNvSpPr>
            <a:spLocks noGrp="1"/>
          </p:cNvSpPr>
          <p:nvPr>
            <p:ph type="body" orient="vert" idx="1"/>
          </p:nvPr>
        </p:nvSpPr>
        <p:spPr>
          <a:xfrm>
            <a:off x="609601" y="274731"/>
            <a:ext cx="8026400" cy="5851525"/>
          </a:xfrm>
        </p:spPr>
        <p:txBody>
          <a:bodyPr vert="eaVert"/>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F814D3A-0A39-43C1-93A2-A999AB187CC0}" type="datetime1">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4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932060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173D3A6-0CA0-43E8-8D1A-D3B07699143F}" type="datetime1">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fr-FR"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854BEA-D865-4B20-9659-51FC551EF132}" type="slidenum">
              <a:rPr kumimoji="0" lang="fr-FR"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Title 1"/>
          <p:cNvSpPr>
            <a:spLocks noGrp="1"/>
          </p:cNvSpPr>
          <p:nvPr>
            <p:ph type="title"/>
          </p:nvPr>
        </p:nvSpPr>
        <p:spPr>
          <a:xfrm>
            <a:off x="609600" y="274638"/>
            <a:ext cx="10972800" cy="706090"/>
          </a:xfrm>
          <a:noFill/>
          <a:ln>
            <a:noFill/>
          </a:ln>
        </p:spPr>
        <p:txBody>
          <a:bodyPr>
            <a:normAutofit/>
          </a:bodyPr>
          <a:lstStyle>
            <a:lvl1pPr algn="l">
              <a:defRPr sz="3200">
                <a:solidFill>
                  <a:srgbClr val="FF0000"/>
                </a:solidFill>
              </a:defRPr>
            </a:lvl1pPr>
          </a:lstStyle>
          <a:p>
            <a:r>
              <a:rPr lang="en-US" dirty="0"/>
              <a:t>Click to edit Master title style</a:t>
            </a:r>
            <a:endParaRPr lang="fr-FR" dirty="0"/>
          </a:p>
        </p:txBody>
      </p:sp>
    </p:spTree>
    <p:extLst>
      <p:ext uri="{BB962C8B-B14F-4D97-AF65-F5344CB8AC3E}">
        <p14:creationId xmlns:p14="http://schemas.microsoft.com/office/powerpoint/2010/main" val="14487455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500"/>
            <a:ext cx="10363201" cy="1470024"/>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1" y="3886232"/>
            <a:ext cx="8534400" cy="1752600"/>
          </a:xfrm>
        </p:spPr>
        <p:txBody>
          <a:bodyPr/>
          <a:lstStyle>
            <a:lvl1pPr marL="0" indent="0" algn="ctr">
              <a:buNone/>
              <a:defRPr>
                <a:solidFill>
                  <a:schemeClr val="tx1">
                    <a:tint val="75000"/>
                  </a:schemeClr>
                </a:solidFill>
              </a:defRPr>
            </a:lvl1pPr>
            <a:lvl2pPr marL="458892" indent="0" algn="ctr">
              <a:buNone/>
              <a:defRPr>
                <a:solidFill>
                  <a:schemeClr val="tx1">
                    <a:tint val="75000"/>
                  </a:schemeClr>
                </a:solidFill>
              </a:defRPr>
            </a:lvl2pPr>
            <a:lvl3pPr marL="917783" indent="0" algn="ctr">
              <a:buNone/>
              <a:defRPr>
                <a:solidFill>
                  <a:schemeClr val="tx1">
                    <a:tint val="75000"/>
                  </a:schemeClr>
                </a:solidFill>
              </a:defRPr>
            </a:lvl3pPr>
            <a:lvl4pPr marL="1376675" indent="0" algn="ctr">
              <a:buNone/>
              <a:defRPr>
                <a:solidFill>
                  <a:schemeClr val="tx1">
                    <a:tint val="75000"/>
                  </a:schemeClr>
                </a:solidFill>
              </a:defRPr>
            </a:lvl4pPr>
            <a:lvl5pPr marL="1835567" indent="0" algn="ctr">
              <a:buNone/>
              <a:defRPr>
                <a:solidFill>
                  <a:schemeClr val="tx1">
                    <a:tint val="75000"/>
                  </a:schemeClr>
                </a:solidFill>
              </a:defRPr>
            </a:lvl5pPr>
            <a:lvl6pPr marL="2294458" indent="0" algn="ctr">
              <a:buNone/>
              <a:defRPr>
                <a:solidFill>
                  <a:schemeClr val="tx1">
                    <a:tint val="75000"/>
                  </a:schemeClr>
                </a:solidFill>
              </a:defRPr>
            </a:lvl6pPr>
            <a:lvl7pPr marL="2753350" indent="0" algn="ctr">
              <a:buNone/>
              <a:defRPr>
                <a:solidFill>
                  <a:schemeClr val="tx1">
                    <a:tint val="75000"/>
                  </a:schemeClr>
                </a:solidFill>
              </a:defRPr>
            </a:lvl7pPr>
            <a:lvl8pPr marL="3212241" indent="0" algn="ctr">
              <a:buNone/>
              <a:defRPr>
                <a:solidFill>
                  <a:schemeClr val="tx1">
                    <a:tint val="75000"/>
                  </a:schemeClr>
                </a:solidFill>
              </a:defRPr>
            </a:lvl8pPr>
            <a:lvl9pPr marL="3671133"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marL="0" marR="0" lvl="0" indent="0" algn="l" defTabSz="917783" rtl="0" eaLnBrk="1" fontAlgn="base" latinLnBrk="0" hangingPunct="1">
              <a:lnSpc>
                <a:spcPct val="100000"/>
              </a:lnSpc>
              <a:spcBef>
                <a:spcPct val="0"/>
              </a:spcBef>
              <a:spcAft>
                <a:spcPct val="0"/>
              </a:spcAft>
              <a:buClrTx/>
              <a:buSzTx/>
              <a:buFontTx/>
              <a:buNone/>
              <a:tabLst/>
              <a:defRPr/>
            </a:pPr>
            <a:fld id="{9397C878-986E-4647-BB7B-A1306F28B721}"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7783"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23433255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7783" rtl="0" eaLnBrk="1" fontAlgn="base" latinLnBrk="0" hangingPunct="1">
              <a:lnSpc>
                <a:spcPct val="100000"/>
              </a:lnSpc>
              <a:spcBef>
                <a:spcPct val="0"/>
              </a:spcBef>
              <a:spcAft>
                <a:spcPct val="0"/>
              </a:spcAft>
              <a:buClrTx/>
              <a:buSzTx/>
              <a:buFontTx/>
              <a:buNone/>
              <a:tabLst/>
              <a:defRPr/>
            </a:pPr>
            <a:fld id="{63AD9817-0BE6-4352-8F28-A44CC3C272C6}"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7783"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9996036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78"/>
            <a:ext cx="10363201" cy="1362075"/>
          </a:xfrm>
        </p:spPr>
        <p:txBody>
          <a:bodyPr anchor="t"/>
          <a:lstStyle>
            <a:lvl1pPr algn="l">
              <a:defRPr sz="4015"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808"/>
            <a:ext cx="10363201" cy="1500187"/>
          </a:xfrm>
        </p:spPr>
        <p:txBody>
          <a:bodyPr anchor="b"/>
          <a:lstStyle>
            <a:lvl1pPr marL="0" indent="0">
              <a:buNone/>
              <a:defRPr sz="2007">
                <a:solidFill>
                  <a:schemeClr val="tx1">
                    <a:tint val="75000"/>
                  </a:schemeClr>
                </a:solidFill>
              </a:defRPr>
            </a:lvl1pPr>
            <a:lvl2pPr marL="458892" indent="0">
              <a:buNone/>
              <a:defRPr sz="1807">
                <a:solidFill>
                  <a:schemeClr val="tx1">
                    <a:tint val="75000"/>
                  </a:schemeClr>
                </a:solidFill>
              </a:defRPr>
            </a:lvl2pPr>
            <a:lvl3pPr marL="917783" indent="0">
              <a:buNone/>
              <a:defRPr sz="1606">
                <a:solidFill>
                  <a:schemeClr val="tx1">
                    <a:tint val="75000"/>
                  </a:schemeClr>
                </a:solidFill>
              </a:defRPr>
            </a:lvl3pPr>
            <a:lvl4pPr marL="1376675" indent="0">
              <a:buNone/>
              <a:defRPr sz="1405">
                <a:solidFill>
                  <a:schemeClr val="tx1">
                    <a:tint val="75000"/>
                  </a:schemeClr>
                </a:solidFill>
              </a:defRPr>
            </a:lvl4pPr>
            <a:lvl5pPr marL="1835567" indent="0">
              <a:buNone/>
              <a:defRPr sz="1405">
                <a:solidFill>
                  <a:schemeClr val="tx1">
                    <a:tint val="75000"/>
                  </a:schemeClr>
                </a:solidFill>
              </a:defRPr>
            </a:lvl5pPr>
            <a:lvl6pPr marL="2294458" indent="0">
              <a:buNone/>
              <a:defRPr sz="1405">
                <a:solidFill>
                  <a:schemeClr val="tx1">
                    <a:tint val="75000"/>
                  </a:schemeClr>
                </a:solidFill>
              </a:defRPr>
            </a:lvl6pPr>
            <a:lvl7pPr marL="2753350" indent="0">
              <a:buNone/>
              <a:defRPr sz="1405">
                <a:solidFill>
                  <a:schemeClr val="tx1">
                    <a:tint val="75000"/>
                  </a:schemeClr>
                </a:solidFill>
              </a:defRPr>
            </a:lvl7pPr>
            <a:lvl8pPr marL="3212241" indent="0">
              <a:buNone/>
              <a:defRPr sz="1405">
                <a:solidFill>
                  <a:schemeClr val="tx1">
                    <a:tint val="75000"/>
                  </a:schemeClr>
                </a:solidFill>
              </a:defRPr>
            </a:lvl8pPr>
            <a:lvl9pPr marL="3671133" indent="0">
              <a:buNone/>
              <a:defRPr sz="1405">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marL="0" marR="0" lvl="0" indent="0" algn="l" defTabSz="917783" rtl="0" eaLnBrk="1" fontAlgn="base" latinLnBrk="0" hangingPunct="1">
              <a:lnSpc>
                <a:spcPct val="100000"/>
              </a:lnSpc>
              <a:spcBef>
                <a:spcPct val="0"/>
              </a:spcBef>
              <a:spcAft>
                <a:spcPct val="0"/>
              </a:spcAft>
              <a:buClrTx/>
              <a:buSzTx/>
              <a:buFontTx/>
              <a:buNone/>
              <a:tabLst/>
              <a:defRPr/>
            </a:pPr>
            <a:fld id="{6FB5736C-253A-4739-AAF7-6484F01B10EF}"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7783"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5071476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600293"/>
            <a:ext cx="5384800" cy="4525963"/>
          </a:xfrm>
        </p:spPr>
        <p:txBody>
          <a:bodyPr/>
          <a:lstStyle>
            <a:lvl1pPr>
              <a:defRPr sz="2810"/>
            </a:lvl1pPr>
            <a:lvl2pPr>
              <a:defRPr sz="2409"/>
            </a:lvl2pPr>
            <a:lvl3pPr>
              <a:defRPr sz="2007"/>
            </a:lvl3pPr>
            <a:lvl4pPr>
              <a:defRPr sz="1807"/>
            </a:lvl4pPr>
            <a:lvl5pPr>
              <a:defRPr sz="1807"/>
            </a:lvl5pPr>
            <a:lvl6pPr>
              <a:defRPr sz="1807"/>
            </a:lvl6pPr>
            <a:lvl7pPr>
              <a:defRPr sz="1807"/>
            </a:lvl7pPr>
            <a:lvl8pPr>
              <a:defRPr sz="1807"/>
            </a:lvl8pPr>
            <a:lvl9pPr>
              <a:defRPr sz="180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600293"/>
            <a:ext cx="5384800" cy="4525963"/>
          </a:xfrm>
        </p:spPr>
        <p:txBody>
          <a:bodyPr/>
          <a:lstStyle>
            <a:lvl1pPr>
              <a:defRPr sz="2810"/>
            </a:lvl1pPr>
            <a:lvl2pPr>
              <a:defRPr sz="2409"/>
            </a:lvl2pPr>
            <a:lvl3pPr>
              <a:defRPr sz="2007"/>
            </a:lvl3pPr>
            <a:lvl4pPr>
              <a:defRPr sz="1807"/>
            </a:lvl4pPr>
            <a:lvl5pPr>
              <a:defRPr sz="1807"/>
            </a:lvl5pPr>
            <a:lvl6pPr>
              <a:defRPr sz="1807"/>
            </a:lvl6pPr>
            <a:lvl7pPr>
              <a:defRPr sz="1807"/>
            </a:lvl7pPr>
            <a:lvl8pPr>
              <a:defRPr sz="1807"/>
            </a:lvl8pPr>
            <a:lvl9pPr>
              <a:defRPr sz="180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marL="0" marR="0" lvl="0" indent="0" algn="l" defTabSz="917783" rtl="0" eaLnBrk="1" fontAlgn="base" latinLnBrk="0" hangingPunct="1">
              <a:lnSpc>
                <a:spcPct val="100000"/>
              </a:lnSpc>
              <a:spcBef>
                <a:spcPct val="0"/>
              </a:spcBef>
              <a:spcAft>
                <a:spcPct val="0"/>
              </a:spcAft>
              <a:buClrTx/>
              <a:buSzTx/>
              <a:buFontTx/>
              <a:buNone/>
              <a:tabLst/>
              <a:defRPr/>
            </a:pPr>
            <a:fld id="{6D9EABB8-EF6C-49C8-92BD-B6B1C5601F77}"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7783"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Altbilgi Yer Tutucusu"/>
          <p:cNvSpPr>
            <a:spLocks noGrp="1"/>
          </p:cNvSpPr>
          <p:nvPr>
            <p:ph type="ftr" sz="quarter" idx="11"/>
          </p:nvPr>
        </p:nvSpPr>
        <p:spPr/>
        <p:txBody>
          <a:body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7" name="6 Slayt Numarası Yer Tutucusu"/>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4998195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599" y="1535250"/>
            <a:ext cx="5386918" cy="639762"/>
          </a:xfrm>
        </p:spPr>
        <p:txBody>
          <a:bodyPr anchor="b"/>
          <a:lstStyle>
            <a:lvl1pPr marL="0" indent="0">
              <a:buNone/>
              <a:defRPr sz="2409" b="1"/>
            </a:lvl1pPr>
            <a:lvl2pPr marL="458892" indent="0">
              <a:buNone/>
              <a:defRPr sz="2007" b="1"/>
            </a:lvl2pPr>
            <a:lvl3pPr marL="917783" indent="0">
              <a:buNone/>
              <a:defRPr sz="1807" b="1"/>
            </a:lvl3pPr>
            <a:lvl4pPr marL="1376675" indent="0">
              <a:buNone/>
              <a:defRPr sz="1606" b="1"/>
            </a:lvl4pPr>
            <a:lvl5pPr marL="1835567" indent="0">
              <a:buNone/>
              <a:defRPr sz="1606" b="1"/>
            </a:lvl5pPr>
            <a:lvl6pPr marL="2294458" indent="0">
              <a:buNone/>
              <a:defRPr sz="1606" b="1"/>
            </a:lvl6pPr>
            <a:lvl7pPr marL="2753350" indent="0">
              <a:buNone/>
              <a:defRPr sz="1606" b="1"/>
            </a:lvl7pPr>
            <a:lvl8pPr marL="3212241" indent="0">
              <a:buNone/>
              <a:defRPr sz="1606" b="1"/>
            </a:lvl8pPr>
            <a:lvl9pPr marL="3671133" indent="0">
              <a:buNone/>
              <a:defRPr sz="1606" b="1"/>
            </a:lvl9pPr>
          </a:lstStyle>
          <a:p>
            <a:pPr lvl="0"/>
            <a:r>
              <a:rPr lang="tr-TR" smtClean="0"/>
              <a:t>Asıl metin stillerini düzenlemek için tıklatın</a:t>
            </a:r>
          </a:p>
        </p:txBody>
      </p:sp>
      <p:sp>
        <p:nvSpPr>
          <p:cNvPr id="4" name="3 İçerik Yer Tutucusu"/>
          <p:cNvSpPr>
            <a:spLocks noGrp="1"/>
          </p:cNvSpPr>
          <p:nvPr>
            <p:ph sz="half" idx="2"/>
          </p:nvPr>
        </p:nvSpPr>
        <p:spPr>
          <a:xfrm>
            <a:off x="609599" y="2174875"/>
            <a:ext cx="5386918" cy="3951288"/>
          </a:xfrm>
        </p:spPr>
        <p:txBody>
          <a:bodyPr/>
          <a:lstStyle>
            <a:lvl1pPr>
              <a:defRPr sz="2409"/>
            </a:lvl1pPr>
            <a:lvl2pPr>
              <a:defRPr sz="2007"/>
            </a:lvl2pPr>
            <a:lvl3pPr>
              <a:defRPr sz="1807"/>
            </a:lvl3pPr>
            <a:lvl4pPr>
              <a:defRPr sz="1606"/>
            </a:lvl4pPr>
            <a:lvl5pPr>
              <a:defRPr sz="1606"/>
            </a:lvl5pPr>
            <a:lvl6pPr>
              <a:defRPr sz="1606"/>
            </a:lvl6pPr>
            <a:lvl7pPr>
              <a:defRPr sz="1606"/>
            </a:lvl7pPr>
            <a:lvl8pPr>
              <a:defRPr sz="1606"/>
            </a:lvl8pPr>
            <a:lvl9pPr>
              <a:defRPr sz="1606"/>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78" y="1535250"/>
            <a:ext cx="5389034" cy="639762"/>
          </a:xfrm>
        </p:spPr>
        <p:txBody>
          <a:bodyPr anchor="b"/>
          <a:lstStyle>
            <a:lvl1pPr marL="0" indent="0">
              <a:buNone/>
              <a:defRPr sz="2409" b="1"/>
            </a:lvl1pPr>
            <a:lvl2pPr marL="458892" indent="0">
              <a:buNone/>
              <a:defRPr sz="2007" b="1"/>
            </a:lvl2pPr>
            <a:lvl3pPr marL="917783" indent="0">
              <a:buNone/>
              <a:defRPr sz="1807" b="1"/>
            </a:lvl3pPr>
            <a:lvl4pPr marL="1376675" indent="0">
              <a:buNone/>
              <a:defRPr sz="1606" b="1"/>
            </a:lvl4pPr>
            <a:lvl5pPr marL="1835567" indent="0">
              <a:buNone/>
              <a:defRPr sz="1606" b="1"/>
            </a:lvl5pPr>
            <a:lvl6pPr marL="2294458" indent="0">
              <a:buNone/>
              <a:defRPr sz="1606" b="1"/>
            </a:lvl6pPr>
            <a:lvl7pPr marL="2753350" indent="0">
              <a:buNone/>
              <a:defRPr sz="1606" b="1"/>
            </a:lvl7pPr>
            <a:lvl8pPr marL="3212241" indent="0">
              <a:buNone/>
              <a:defRPr sz="1606" b="1"/>
            </a:lvl8pPr>
            <a:lvl9pPr marL="3671133" indent="0">
              <a:buNone/>
              <a:defRPr sz="1606"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78" y="2174875"/>
            <a:ext cx="5389034" cy="3951288"/>
          </a:xfrm>
        </p:spPr>
        <p:txBody>
          <a:bodyPr/>
          <a:lstStyle>
            <a:lvl1pPr>
              <a:defRPr sz="2409"/>
            </a:lvl1pPr>
            <a:lvl2pPr>
              <a:defRPr sz="2007"/>
            </a:lvl2pPr>
            <a:lvl3pPr>
              <a:defRPr sz="1807"/>
            </a:lvl3pPr>
            <a:lvl4pPr>
              <a:defRPr sz="1606"/>
            </a:lvl4pPr>
            <a:lvl5pPr>
              <a:defRPr sz="1606"/>
            </a:lvl5pPr>
            <a:lvl6pPr>
              <a:defRPr sz="1606"/>
            </a:lvl6pPr>
            <a:lvl7pPr>
              <a:defRPr sz="1606"/>
            </a:lvl7pPr>
            <a:lvl8pPr>
              <a:defRPr sz="1606"/>
            </a:lvl8pPr>
            <a:lvl9pPr>
              <a:defRPr sz="1606"/>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marL="0" marR="0" lvl="0" indent="0" algn="l" defTabSz="917783" rtl="0" eaLnBrk="1" fontAlgn="base" latinLnBrk="0" hangingPunct="1">
              <a:lnSpc>
                <a:spcPct val="100000"/>
              </a:lnSpc>
              <a:spcBef>
                <a:spcPct val="0"/>
              </a:spcBef>
              <a:spcAft>
                <a:spcPct val="0"/>
              </a:spcAft>
              <a:buClrTx/>
              <a:buSzTx/>
              <a:buFontTx/>
              <a:buNone/>
              <a:tabLst/>
              <a:defRPr/>
            </a:pPr>
            <a:fld id="{54F46111-32CC-4D85-813E-D43E61526ABC}"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7783"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8" name="7 Altbilgi Yer Tutucusu"/>
          <p:cNvSpPr>
            <a:spLocks noGrp="1"/>
          </p:cNvSpPr>
          <p:nvPr>
            <p:ph type="ftr" sz="quarter" idx="11"/>
          </p:nvPr>
        </p:nvSpPr>
        <p:spPr/>
        <p:txBody>
          <a:body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9" name="8 Slayt Numarası Yer Tutucusu"/>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423608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600" y="1535252"/>
            <a:ext cx="5386917" cy="639762"/>
          </a:xfrm>
        </p:spPr>
        <p:txBody>
          <a:bodyPr anchor="b"/>
          <a:lstStyle>
            <a:lvl1pPr marL="0" indent="0">
              <a:buNone/>
              <a:defRPr sz="2409" b="1"/>
            </a:lvl1pPr>
            <a:lvl2pPr marL="458747" indent="0">
              <a:buNone/>
              <a:defRPr sz="2007" b="1"/>
            </a:lvl2pPr>
            <a:lvl3pPr marL="917496" indent="0">
              <a:buNone/>
              <a:defRPr sz="1807" b="1"/>
            </a:lvl3pPr>
            <a:lvl4pPr marL="1376244" indent="0">
              <a:buNone/>
              <a:defRPr sz="1606" b="1"/>
            </a:lvl4pPr>
            <a:lvl5pPr marL="1834991" indent="0">
              <a:buNone/>
              <a:defRPr sz="1606" b="1"/>
            </a:lvl5pPr>
            <a:lvl6pPr marL="2293740" indent="0">
              <a:buNone/>
              <a:defRPr sz="1606" b="1"/>
            </a:lvl6pPr>
            <a:lvl7pPr marL="2752490" indent="0">
              <a:buNone/>
              <a:defRPr sz="1606" b="1"/>
            </a:lvl7pPr>
            <a:lvl8pPr marL="3211236" indent="0">
              <a:buNone/>
              <a:defRPr sz="1606" b="1"/>
            </a:lvl8pPr>
            <a:lvl9pPr marL="3669984" indent="0">
              <a:buNone/>
              <a:defRPr sz="1606" b="1"/>
            </a:lvl9pPr>
          </a:lstStyle>
          <a:p>
            <a:pPr lvl="0"/>
            <a:r>
              <a:rPr lang="tr-TR" smtClean="0"/>
              <a:t>Asıl metin stillerini düzenlemek için tıklatın</a:t>
            </a:r>
          </a:p>
        </p:txBody>
      </p:sp>
      <p:sp>
        <p:nvSpPr>
          <p:cNvPr id="4" name="3 İçerik Yer Tutucusu"/>
          <p:cNvSpPr>
            <a:spLocks noGrp="1"/>
          </p:cNvSpPr>
          <p:nvPr>
            <p:ph sz="half" idx="2"/>
          </p:nvPr>
        </p:nvSpPr>
        <p:spPr>
          <a:xfrm>
            <a:off x="609600" y="2174877"/>
            <a:ext cx="5386917" cy="3951288"/>
          </a:xfrm>
        </p:spPr>
        <p:txBody>
          <a:bodyPr/>
          <a:lstStyle>
            <a:lvl1pPr>
              <a:defRPr sz="2409"/>
            </a:lvl1pPr>
            <a:lvl2pPr>
              <a:defRPr sz="2007"/>
            </a:lvl2pPr>
            <a:lvl3pPr>
              <a:defRPr sz="1807"/>
            </a:lvl3pPr>
            <a:lvl4pPr>
              <a:defRPr sz="1606"/>
            </a:lvl4pPr>
            <a:lvl5pPr>
              <a:defRPr sz="1606"/>
            </a:lvl5pPr>
            <a:lvl6pPr>
              <a:defRPr sz="1606"/>
            </a:lvl6pPr>
            <a:lvl7pPr>
              <a:defRPr sz="1606"/>
            </a:lvl7pPr>
            <a:lvl8pPr>
              <a:defRPr sz="1606"/>
            </a:lvl8pPr>
            <a:lvl9pPr>
              <a:defRPr sz="1606"/>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78" y="1535252"/>
            <a:ext cx="5389033" cy="639762"/>
          </a:xfrm>
        </p:spPr>
        <p:txBody>
          <a:bodyPr anchor="b"/>
          <a:lstStyle>
            <a:lvl1pPr marL="0" indent="0">
              <a:buNone/>
              <a:defRPr sz="2409" b="1"/>
            </a:lvl1pPr>
            <a:lvl2pPr marL="458747" indent="0">
              <a:buNone/>
              <a:defRPr sz="2007" b="1"/>
            </a:lvl2pPr>
            <a:lvl3pPr marL="917496" indent="0">
              <a:buNone/>
              <a:defRPr sz="1807" b="1"/>
            </a:lvl3pPr>
            <a:lvl4pPr marL="1376244" indent="0">
              <a:buNone/>
              <a:defRPr sz="1606" b="1"/>
            </a:lvl4pPr>
            <a:lvl5pPr marL="1834991" indent="0">
              <a:buNone/>
              <a:defRPr sz="1606" b="1"/>
            </a:lvl5pPr>
            <a:lvl6pPr marL="2293740" indent="0">
              <a:buNone/>
              <a:defRPr sz="1606" b="1"/>
            </a:lvl6pPr>
            <a:lvl7pPr marL="2752490" indent="0">
              <a:buNone/>
              <a:defRPr sz="1606" b="1"/>
            </a:lvl7pPr>
            <a:lvl8pPr marL="3211236" indent="0">
              <a:buNone/>
              <a:defRPr sz="1606" b="1"/>
            </a:lvl8pPr>
            <a:lvl9pPr marL="3669984" indent="0">
              <a:buNone/>
              <a:defRPr sz="1606"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78" y="2174877"/>
            <a:ext cx="5389033" cy="3951288"/>
          </a:xfrm>
        </p:spPr>
        <p:txBody>
          <a:bodyPr/>
          <a:lstStyle>
            <a:lvl1pPr>
              <a:defRPr sz="2409"/>
            </a:lvl1pPr>
            <a:lvl2pPr>
              <a:defRPr sz="2007"/>
            </a:lvl2pPr>
            <a:lvl3pPr>
              <a:defRPr sz="1807"/>
            </a:lvl3pPr>
            <a:lvl4pPr>
              <a:defRPr sz="1606"/>
            </a:lvl4pPr>
            <a:lvl5pPr>
              <a:defRPr sz="1606"/>
            </a:lvl5pPr>
            <a:lvl6pPr>
              <a:defRPr sz="1606"/>
            </a:lvl6pPr>
            <a:lvl7pPr>
              <a:defRPr sz="1606"/>
            </a:lvl7pPr>
            <a:lvl8pPr>
              <a:defRPr sz="1606"/>
            </a:lvl8pPr>
            <a:lvl9pPr>
              <a:defRPr sz="1606"/>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defTabSz="917783" fontAlgn="base">
              <a:spcBef>
                <a:spcPct val="0"/>
              </a:spcBef>
              <a:spcAft>
                <a:spcPct val="0"/>
              </a:spcAft>
              <a:defRPr/>
            </a:pPr>
            <a:fld id="{E1D928EC-6291-4E38-9AC1-C0219A7AFEB2}"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8" name="7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9" name="8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4477206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marL="0" marR="0" lvl="0" indent="0" algn="l" defTabSz="917783" rtl="0" eaLnBrk="1" fontAlgn="base" latinLnBrk="0" hangingPunct="1">
              <a:lnSpc>
                <a:spcPct val="100000"/>
              </a:lnSpc>
              <a:spcBef>
                <a:spcPct val="0"/>
              </a:spcBef>
              <a:spcAft>
                <a:spcPct val="0"/>
              </a:spcAft>
              <a:buClrTx/>
              <a:buSzTx/>
              <a:buFontTx/>
              <a:buNone/>
              <a:tabLst/>
              <a:defRPr/>
            </a:pPr>
            <a:fld id="{C1BDAA59-8136-4BE2-A8BA-C6B03EBA60B6}"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7783"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4" name="3 Altbilgi Yer Tutucusu"/>
          <p:cNvSpPr>
            <a:spLocks noGrp="1"/>
          </p:cNvSpPr>
          <p:nvPr>
            <p:ph type="ftr" sz="quarter" idx="11"/>
          </p:nvPr>
        </p:nvSpPr>
        <p:spPr/>
        <p:txBody>
          <a:body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Slayt Numarası Yer Tutucusu"/>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2223052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marL="0" marR="0" lvl="0" indent="0" algn="l" defTabSz="917783" rtl="0" eaLnBrk="1" fontAlgn="base" latinLnBrk="0" hangingPunct="1">
              <a:lnSpc>
                <a:spcPct val="100000"/>
              </a:lnSpc>
              <a:spcBef>
                <a:spcPct val="0"/>
              </a:spcBef>
              <a:spcAft>
                <a:spcPct val="0"/>
              </a:spcAft>
              <a:buClrTx/>
              <a:buSzTx/>
              <a:buFontTx/>
              <a:buNone/>
              <a:tabLst/>
              <a:defRPr/>
            </a:pPr>
            <a:fld id="{27EFEDE8-E975-4522-BAF1-C3745E0D5F47}"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7783"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3" name="2 Altbilgi Yer Tutucusu"/>
          <p:cNvSpPr>
            <a:spLocks noGrp="1"/>
          </p:cNvSpPr>
          <p:nvPr>
            <p:ph type="ftr" sz="quarter" idx="11"/>
          </p:nvPr>
        </p:nvSpPr>
        <p:spPr/>
        <p:txBody>
          <a:body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4" name="3 Slayt Numarası Yer Tutucusu"/>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11770202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07" y="273053"/>
            <a:ext cx="4011084" cy="1162050"/>
          </a:xfrm>
        </p:spPr>
        <p:txBody>
          <a:bodyPr anchor="b"/>
          <a:lstStyle>
            <a:lvl1pPr algn="l">
              <a:defRPr sz="2007" b="1"/>
            </a:lvl1pPr>
          </a:lstStyle>
          <a:p>
            <a:r>
              <a:rPr lang="tr-TR" smtClean="0"/>
              <a:t>Asıl başlık stili için tıklatın</a:t>
            </a:r>
            <a:endParaRPr lang="tr-TR"/>
          </a:p>
        </p:txBody>
      </p:sp>
      <p:sp>
        <p:nvSpPr>
          <p:cNvPr id="3" name="2 İçerik Yer Tutucusu"/>
          <p:cNvSpPr>
            <a:spLocks noGrp="1"/>
          </p:cNvSpPr>
          <p:nvPr>
            <p:ph idx="1"/>
          </p:nvPr>
        </p:nvSpPr>
        <p:spPr>
          <a:xfrm>
            <a:off x="4766734" y="273143"/>
            <a:ext cx="6815667" cy="5853113"/>
          </a:xfrm>
        </p:spPr>
        <p:txBody>
          <a:bodyPr/>
          <a:lstStyle>
            <a:lvl1pPr>
              <a:defRPr sz="3212"/>
            </a:lvl1pPr>
            <a:lvl2pPr>
              <a:defRPr sz="2810"/>
            </a:lvl2pPr>
            <a:lvl3pPr>
              <a:defRPr sz="2409"/>
            </a:lvl3pPr>
            <a:lvl4pPr>
              <a:defRPr sz="2007"/>
            </a:lvl4pPr>
            <a:lvl5pPr>
              <a:defRPr sz="2007"/>
            </a:lvl5pPr>
            <a:lvl6pPr>
              <a:defRPr sz="2007"/>
            </a:lvl6pPr>
            <a:lvl7pPr>
              <a:defRPr sz="2007"/>
            </a:lvl7pPr>
            <a:lvl8pPr>
              <a:defRPr sz="2007"/>
            </a:lvl8pPr>
            <a:lvl9pPr>
              <a:defRPr sz="200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07" y="1435109"/>
            <a:ext cx="4011084" cy="4691062"/>
          </a:xfrm>
        </p:spPr>
        <p:txBody>
          <a:bodyPr/>
          <a:lstStyle>
            <a:lvl1pPr marL="0" indent="0">
              <a:buNone/>
              <a:defRPr sz="1405"/>
            </a:lvl1pPr>
            <a:lvl2pPr marL="458892" indent="0">
              <a:buNone/>
              <a:defRPr sz="1204"/>
            </a:lvl2pPr>
            <a:lvl3pPr marL="917783" indent="0">
              <a:buNone/>
              <a:defRPr sz="1004"/>
            </a:lvl3pPr>
            <a:lvl4pPr marL="1376675" indent="0">
              <a:buNone/>
              <a:defRPr sz="903"/>
            </a:lvl4pPr>
            <a:lvl5pPr marL="1835567" indent="0">
              <a:buNone/>
              <a:defRPr sz="903"/>
            </a:lvl5pPr>
            <a:lvl6pPr marL="2294458" indent="0">
              <a:buNone/>
              <a:defRPr sz="903"/>
            </a:lvl6pPr>
            <a:lvl7pPr marL="2753350" indent="0">
              <a:buNone/>
              <a:defRPr sz="903"/>
            </a:lvl7pPr>
            <a:lvl8pPr marL="3212241" indent="0">
              <a:buNone/>
              <a:defRPr sz="903"/>
            </a:lvl8pPr>
            <a:lvl9pPr marL="3671133" indent="0">
              <a:buNone/>
              <a:defRPr sz="903"/>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marL="0" marR="0" lvl="0" indent="0" algn="l" defTabSz="917783" rtl="0" eaLnBrk="1" fontAlgn="base" latinLnBrk="0" hangingPunct="1">
              <a:lnSpc>
                <a:spcPct val="100000"/>
              </a:lnSpc>
              <a:spcBef>
                <a:spcPct val="0"/>
              </a:spcBef>
              <a:spcAft>
                <a:spcPct val="0"/>
              </a:spcAft>
              <a:buClrTx/>
              <a:buSzTx/>
              <a:buFontTx/>
              <a:buNone/>
              <a:tabLst/>
              <a:defRPr/>
            </a:pPr>
            <a:fld id="{8BE184C3-6B68-4916-B440-CEA7F2AAF049}"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7783"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Altbilgi Yer Tutucusu"/>
          <p:cNvSpPr>
            <a:spLocks noGrp="1"/>
          </p:cNvSpPr>
          <p:nvPr>
            <p:ph type="ftr" sz="quarter" idx="11"/>
          </p:nvPr>
        </p:nvSpPr>
        <p:spPr/>
        <p:txBody>
          <a:body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7" name="6 Slayt Numarası Yer Tutucusu"/>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4315969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8" y="4800697"/>
            <a:ext cx="7315200" cy="566738"/>
          </a:xfrm>
        </p:spPr>
        <p:txBody>
          <a:bodyPr anchor="b"/>
          <a:lstStyle>
            <a:lvl1pPr algn="l">
              <a:defRPr sz="2007" b="1"/>
            </a:lvl1pPr>
          </a:lstStyle>
          <a:p>
            <a:r>
              <a:rPr lang="tr-TR" smtClean="0"/>
              <a:t>Asıl başlık stili için tıklatın</a:t>
            </a:r>
            <a:endParaRPr lang="tr-TR"/>
          </a:p>
        </p:txBody>
      </p:sp>
      <p:sp>
        <p:nvSpPr>
          <p:cNvPr id="3" name="2 Resim Yer Tutucusu"/>
          <p:cNvSpPr>
            <a:spLocks noGrp="1"/>
          </p:cNvSpPr>
          <p:nvPr>
            <p:ph type="pic" idx="1"/>
          </p:nvPr>
        </p:nvSpPr>
        <p:spPr>
          <a:xfrm>
            <a:off x="2389718" y="612774"/>
            <a:ext cx="7315200" cy="4114800"/>
          </a:xfrm>
        </p:spPr>
        <p:txBody>
          <a:bodyPr/>
          <a:lstStyle>
            <a:lvl1pPr marL="0" indent="0">
              <a:buNone/>
              <a:defRPr sz="3212"/>
            </a:lvl1pPr>
            <a:lvl2pPr marL="458892" indent="0">
              <a:buNone/>
              <a:defRPr sz="2810"/>
            </a:lvl2pPr>
            <a:lvl3pPr marL="917783" indent="0">
              <a:buNone/>
              <a:defRPr sz="2409"/>
            </a:lvl3pPr>
            <a:lvl4pPr marL="1376675" indent="0">
              <a:buNone/>
              <a:defRPr sz="2007"/>
            </a:lvl4pPr>
            <a:lvl5pPr marL="1835567" indent="0">
              <a:buNone/>
              <a:defRPr sz="2007"/>
            </a:lvl5pPr>
            <a:lvl6pPr marL="2294458" indent="0">
              <a:buNone/>
              <a:defRPr sz="2007"/>
            </a:lvl6pPr>
            <a:lvl7pPr marL="2753350" indent="0">
              <a:buNone/>
              <a:defRPr sz="2007"/>
            </a:lvl7pPr>
            <a:lvl8pPr marL="3212241" indent="0">
              <a:buNone/>
              <a:defRPr sz="2007"/>
            </a:lvl8pPr>
            <a:lvl9pPr marL="3671133" indent="0">
              <a:buNone/>
              <a:defRPr sz="2007"/>
            </a:lvl9pPr>
          </a:lstStyle>
          <a:p>
            <a:endParaRPr lang="tr-TR"/>
          </a:p>
        </p:txBody>
      </p:sp>
      <p:sp>
        <p:nvSpPr>
          <p:cNvPr id="4" name="3 Metin Yer Tutucusu"/>
          <p:cNvSpPr>
            <a:spLocks noGrp="1"/>
          </p:cNvSpPr>
          <p:nvPr>
            <p:ph type="body" sz="half" idx="2"/>
          </p:nvPr>
        </p:nvSpPr>
        <p:spPr>
          <a:xfrm>
            <a:off x="2389718" y="5367435"/>
            <a:ext cx="7315200" cy="804862"/>
          </a:xfrm>
        </p:spPr>
        <p:txBody>
          <a:bodyPr/>
          <a:lstStyle>
            <a:lvl1pPr marL="0" indent="0">
              <a:buNone/>
              <a:defRPr sz="1405"/>
            </a:lvl1pPr>
            <a:lvl2pPr marL="458892" indent="0">
              <a:buNone/>
              <a:defRPr sz="1204"/>
            </a:lvl2pPr>
            <a:lvl3pPr marL="917783" indent="0">
              <a:buNone/>
              <a:defRPr sz="1004"/>
            </a:lvl3pPr>
            <a:lvl4pPr marL="1376675" indent="0">
              <a:buNone/>
              <a:defRPr sz="903"/>
            </a:lvl4pPr>
            <a:lvl5pPr marL="1835567" indent="0">
              <a:buNone/>
              <a:defRPr sz="903"/>
            </a:lvl5pPr>
            <a:lvl6pPr marL="2294458" indent="0">
              <a:buNone/>
              <a:defRPr sz="903"/>
            </a:lvl6pPr>
            <a:lvl7pPr marL="2753350" indent="0">
              <a:buNone/>
              <a:defRPr sz="903"/>
            </a:lvl7pPr>
            <a:lvl8pPr marL="3212241" indent="0">
              <a:buNone/>
              <a:defRPr sz="903"/>
            </a:lvl8pPr>
            <a:lvl9pPr marL="3671133" indent="0">
              <a:buNone/>
              <a:defRPr sz="903"/>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marL="0" marR="0" lvl="0" indent="0" algn="l" defTabSz="917783" rtl="0" eaLnBrk="1" fontAlgn="base" latinLnBrk="0" hangingPunct="1">
              <a:lnSpc>
                <a:spcPct val="100000"/>
              </a:lnSpc>
              <a:spcBef>
                <a:spcPct val="0"/>
              </a:spcBef>
              <a:spcAft>
                <a:spcPct val="0"/>
              </a:spcAft>
              <a:buClrTx/>
              <a:buSzTx/>
              <a:buFontTx/>
              <a:buNone/>
              <a:tabLst/>
              <a:defRPr/>
            </a:pPr>
            <a:fld id="{C0016612-FD20-4E3C-AFB3-F770C5C7D0D3}"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7783"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Altbilgi Yer Tutucusu"/>
          <p:cNvSpPr>
            <a:spLocks noGrp="1"/>
          </p:cNvSpPr>
          <p:nvPr>
            <p:ph type="ftr" sz="quarter" idx="11"/>
          </p:nvPr>
        </p:nvSpPr>
        <p:spPr/>
        <p:txBody>
          <a:body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7" name="6 Slayt Numarası Yer Tutucusu"/>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2454179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7783" rtl="0" eaLnBrk="1" fontAlgn="base" latinLnBrk="0" hangingPunct="1">
              <a:lnSpc>
                <a:spcPct val="100000"/>
              </a:lnSpc>
              <a:spcBef>
                <a:spcPct val="0"/>
              </a:spcBef>
              <a:spcAft>
                <a:spcPct val="0"/>
              </a:spcAft>
              <a:buClrTx/>
              <a:buSzTx/>
              <a:buFontTx/>
              <a:buNone/>
              <a:tabLst/>
              <a:defRPr/>
            </a:pPr>
            <a:fld id="{AA7DA84E-660A-46C2-B3E6-3CF781CB1A97}"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7783"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4489848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1" y="274782"/>
            <a:ext cx="2743200" cy="5851525"/>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1" y="274782"/>
            <a:ext cx="80264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7783" rtl="0" eaLnBrk="1" fontAlgn="base" latinLnBrk="0" hangingPunct="1">
              <a:lnSpc>
                <a:spcPct val="100000"/>
              </a:lnSpc>
              <a:spcBef>
                <a:spcPct val="0"/>
              </a:spcBef>
              <a:spcAft>
                <a:spcPct val="0"/>
              </a:spcAft>
              <a:buClrTx/>
              <a:buSzTx/>
              <a:buFontTx/>
              <a:buNone/>
              <a:tabLst/>
              <a:defRPr/>
            </a:pPr>
            <a:fld id="{6542328D-D22D-41DB-B9E6-467742A61C9E}"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7783"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9828863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1" y="2130462"/>
            <a:ext cx="10363201" cy="1470024"/>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1" y="3886232"/>
            <a:ext cx="8534400" cy="1752600"/>
          </a:xfrm>
        </p:spPr>
        <p:txBody>
          <a:bodyPr/>
          <a:lstStyle>
            <a:lvl1pPr marL="0" indent="0" algn="ctr">
              <a:buNone/>
              <a:defRPr>
                <a:solidFill>
                  <a:schemeClr val="tx1">
                    <a:tint val="75000"/>
                  </a:schemeClr>
                </a:solidFill>
              </a:defRPr>
            </a:lvl1pPr>
            <a:lvl2pPr marL="609628" indent="0" algn="ctr">
              <a:buNone/>
              <a:defRPr>
                <a:solidFill>
                  <a:schemeClr val="tx1">
                    <a:tint val="75000"/>
                  </a:schemeClr>
                </a:solidFill>
              </a:defRPr>
            </a:lvl2pPr>
            <a:lvl3pPr marL="1219259" indent="0" algn="ctr">
              <a:buNone/>
              <a:defRPr>
                <a:solidFill>
                  <a:schemeClr val="tx1">
                    <a:tint val="75000"/>
                  </a:schemeClr>
                </a:solidFill>
              </a:defRPr>
            </a:lvl3pPr>
            <a:lvl4pPr marL="1828888" indent="0" algn="ctr">
              <a:buNone/>
              <a:defRPr>
                <a:solidFill>
                  <a:schemeClr val="tx1">
                    <a:tint val="75000"/>
                  </a:schemeClr>
                </a:solidFill>
              </a:defRPr>
            </a:lvl4pPr>
            <a:lvl5pPr marL="2438516" indent="0" algn="ctr">
              <a:buNone/>
              <a:defRPr>
                <a:solidFill>
                  <a:schemeClr val="tx1">
                    <a:tint val="75000"/>
                  </a:schemeClr>
                </a:solidFill>
              </a:defRPr>
            </a:lvl5pPr>
            <a:lvl6pPr marL="3048147" indent="0" algn="ctr">
              <a:buNone/>
              <a:defRPr>
                <a:solidFill>
                  <a:schemeClr val="tx1">
                    <a:tint val="75000"/>
                  </a:schemeClr>
                </a:solidFill>
              </a:defRPr>
            </a:lvl6pPr>
            <a:lvl7pPr marL="3657775" indent="0" algn="ctr">
              <a:buNone/>
              <a:defRPr>
                <a:solidFill>
                  <a:schemeClr val="tx1">
                    <a:tint val="75000"/>
                  </a:schemeClr>
                </a:solidFill>
              </a:defRPr>
            </a:lvl7pPr>
            <a:lvl8pPr marL="4267403" indent="0" algn="ctr">
              <a:buNone/>
              <a:defRPr>
                <a:solidFill>
                  <a:schemeClr val="tx1">
                    <a:tint val="75000"/>
                  </a:schemeClr>
                </a:solidFill>
              </a:defRPr>
            </a:lvl8pPr>
            <a:lvl9pPr marL="4877035"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marL="0" marR="0" lvl="0" indent="0" algn="l" defTabSz="914388" rtl="0" eaLnBrk="1" fontAlgn="auto" latinLnBrk="0" hangingPunct="1">
              <a:lnSpc>
                <a:spcPct val="100000"/>
              </a:lnSpc>
              <a:spcBef>
                <a:spcPts val="0"/>
              </a:spcBef>
              <a:spcAft>
                <a:spcPts val="0"/>
              </a:spcAft>
              <a:buClrTx/>
              <a:buSzTx/>
              <a:buFontTx/>
              <a:buNone/>
              <a:tabLst/>
              <a:defRPr/>
            </a:pPr>
            <a:fld id="{146E62BA-BCF8-4827-BBEE-18B3907631C8}"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388"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13052382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4388" rtl="0" eaLnBrk="1" fontAlgn="auto" latinLnBrk="0" hangingPunct="1">
              <a:lnSpc>
                <a:spcPct val="100000"/>
              </a:lnSpc>
              <a:spcBef>
                <a:spcPts val="0"/>
              </a:spcBef>
              <a:spcAft>
                <a:spcPts val="0"/>
              </a:spcAft>
              <a:buClrTx/>
              <a:buSzTx/>
              <a:buFontTx/>
              <a:buNone/>
              <a:tabLst/>
              <a:defRPr/>
            </a:pPr>
            <a:fld id="{DF96E367-3219-4DD4-9BFC-8231AB318053}"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388"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29877725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5" y="4406942"/>
            <a:ext cx="10363201" cy="1362075"/>
          </a:xfrm>
        </p:spPr>
        <p:txBody>
          <a:bodyPr anchor="t"/>
          <a:lstStyle>
            <a:lvl1pPr algn="l">
              <a:defRPr sz="5334"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5" y="2906755"/>
            <a:ext cx="10363201" cy="1500187"/>
          </a:xfrm>
        </p:spPr>
        <p:txBody>
          <a:bodyPr anchor="b"/>
          <a:lstStyle>
            <a:lvl1pPr marL="0" indent="0">
              <a:buNone/>
              <a:defRPr sz="2667">
                <a:solidFill>
                  <a:schemeClr val="tx1">
                    <a:tint val="75000"/>
                  </a:schemeClr>
                </a:solidFill>
              </a:defRPr>
            </a:lvl1pPr>
            <a:lvl2pPr marL="609628" indent="0">
              <a:buNone/>
              <a:defRPr sz="2400">
                <a:solidFill>
                  <a:schemeClr val="tx1">
                    <a:tint val="75000"/>
                  </a:schemeClr>
                </a:solidFill>
              </a:defRPr>
            </a:lvl2pPr>
            <a:lvl3pPr marL="1219259" indent="0">
              <a:buNone/>
              <a:defRPr sz="2134">
                <a:solidFill>
                  <a:schemeClr val="tx1">
                    <a:tint val="75000"/>
                  </a:schemeClr>
                </a:solidFill>
              </a:defRPr>
            </a:lvl3pPr>
            <a:lvl4pPr marL="1828888" indent="0">
              <a:buNone/>
              <a:defRPr sz="1867">
                <a:solidFill>
                  <a:schemeClr val="tx1">
                    <a:tint val="75000"/>
                  </a:schemeClr>
                </a:solidFill>
              </a:defRPr>
            </a:lvl4pPr>
            <a:lvl5pPr marL="2438516" indent="0">
              <a:buNone/>
              <a:defRPr sz="1867">
                <a:solidFill>
                  <a:schemeClr val="tx1">
                    <a:tint val="75000"/>
                  </a:schemeClr>
                </a:solidFill>
              </a:defRPr>
            </a:lvl5pPr>
            <a:lvl6pPr marL="3048147" indent="0">
              <a:buNone/>
              <a:defRPr sz="1867">
                <a:solidFill>
                  <a:schemeClr val="tx1">
                    <a:tint val="75000"/>
                  </a:schemeClr>
                </a:solidFill>
              </a:defRPr>
            </a:lvl6pPr>
            <a:lvl7pPr marL="3657775" indent="0">
              <a:buNone/>
              <a:defRPr sz="1867">
                <a:solidFill>
                  <a:schemeClr val="tx1">
                    <a:tint val="75000"/>
                  </a:schemeClr>
                </a:solidFill>
              </a:defRPr>
            </a:lvl7pPr>
            <a:lvl8pPr marL="4267403" indent="0">
              <a:buNone/>
              <a:defRPr sz="1867">
                <a:solidFill>
                  <a:schemeClr val="tx1">
                    <a:tint val="75000"/>
                  </a:schemeClr>
                </a:solidFill>
              </a:defRPr>
            </a:lvl8pPr>
            <a:lvl9pPr marL="4877035" indent="0">
              <a:buNone/>
              <a:defRPr sz="1867">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marL="0" marR="0" lvl="0" indent="0" algn="l" defTabSz="914388" rtl="0" eaLnBrk="1" fontAlgn="auto" latinLnBrk="0" hangingPunct="1">
              <a:lnSpc>
                <a:spcPct val="100000"/>
              </a:lnSpc>
              <a:spcBef>
                <a:spcPts val="0"/>
              </a:spcBef>
              <a:spcAft>
                <a:spcPts val="0"/>
              </a:spcAft>
              <a:buClrTx/>
              <a:buSzTx/>
              <a:buFontTx/>
              <a:buNone/>
              <a:tabLst/>
              <a:defRPr/>
            </a:pPr>
            <a:fld id="{5D1D183F-F4C5-46D1-B151-FEAC0B80B985}"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388"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1687749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600242"/>
            <a:ext cx="5384800" cy="4525963"/>
          </a:xfrm>
        </p:spPr>
        <p:txBody>
          <a:bodyPr/>
          <a:lstStyle>
            <a:lvl1pPr>
              <a:defRPr sz="3734"/>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600242"/>
            <a:ext cx="5384800" cy="4525963"/>
          </a:xfrm>
        </p:spPr>
        <p:txBody>
          <a:bodyPr/>
          <a:lstStyle>
            <a:lvl1pPr>
              <a:defRPr sz="3734"/>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marL="0" marR="0" lvl="0" indent="0" algn="l" defTabSz="914388" rtl="0" eaLnBrk="1" fontAlgn="auto" latinLnBrk="0" hangingPunct="1">
              <a:lnSpc>
                <a:spcPct val="100000"/>
              </a:lnSpc>
              <a:spcBef>
                <a:spcPts val="0"/>
              </a:spcBef>
              <a:spcAft>
                <a:spcPts val="0"/>
              </a:spcAft>
              <a:buClrTx/>
              <a:buSzTx/>
              <a:buFontTx/>
              <a:buNone/>
              <a:tabLst/>
              <a:defRPr/>
            </a:pPr>
            <a:fld id="{656EB391-B54C-4421-AF23-7A889345BC61}"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388"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Altbilgi Yer Tutucusu"/>
          <p:cNvSpPr>
            <a:spLocks noGrp="1"/>
          </p:cNvSpPr>
          <p:nvPr>
            <p:ph type="ftr" sz="quarter" idx="11"/>
          </p:nvPr>
        </p:nvSpPr>
        <p:spPr/>
        <p: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7" name="6 Slayt Numarası Yer Tutucusu"/>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6657090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defTabSz="917783" fontAlgn="base">
              <a:spcBef>
                <a:spcPct val="0"/>
              </a:spcBef>
              <a:spcAft>
                <a:spcPct val="0"/>
              </a:spcAft>
              <a:defRPr/>
            </a:pPr>
            <a:fld id="{217F4B28-0C0E-4157-BF62-99AF079E40E0}"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4" name="3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5" name="4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38032387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599" y="1535198"/>
            <a:ext cx="5386918" cy="639762"/>
          </a:xfrm>
        </p:spPr>
        <p:txBody>
          <a:bodyPr anchor="b"/>
          <a:lstStyle>
            <a:lvl1pPr marL="0" indent="0">
              <a:buNone/>
              <a:defRPr sz="3200" b="1"/>
            </a:lvl1pPr>
            <a:lvl2pPr marL="609628" indent="0">
              <a:buNone/>
              <a:defRPr sz="2667" b="1"/>
            </a:lvl2pPr>
            <a:lvl3pPr marL="1219259" indent="0">
              <a:buNone/>
              <a:defRPr sz="2400" b="1"/>
            </a:lvl3pPr>
            <a:lvl4pPr marL="1828888" indent="0">
              <a:buNone/>
              <a:defRPr sz="2134" b="1"/>
            </a:lvl4pPr>
            <a:lvl5pPr marL="2438516" indent="0">
              <a:buNone/>
              <a:defRPr sz="2134" b="1"/>
            </a:lvl5pPr>
            <a:lvl6pPr marL="3048147" indent="0">
              <a:buNone/>
              <a:defRPr sz="2134" b="1"/>
            </a:lvl6pPr>
            <a:lvl7pPr marL="3657775" indent="0">
              <a:buNone/>
              <a:defRPr sz="2134" b="1"/>
            </a:lvl7pPr>
            <a:lvl8pPr marL="4267403" indent="0">
              <a:buNone/>
              <a:defRPr sz="2134" b="1"/>
            </a:lvl8pPr>
            <a:lvl9pPr marL="4877035" indent="0">
              <a:buNone/>
              <a:defRPr sz="2134" b="1"/>
            </a:lvl9pPr>
          </a:lstStyle>
          <a:p>
            <a:pPr lvl="0"/>
            <a:r>
              <a:rPr lang="tr-TR" smtClean="0"/>
              <a:t>Asıl metin stillerini düzenlemek için tıklatın</a:t>
            </a:r>
          </a:p>
        </p:txBody>
      </p:sp>
      <p:sp>
        <p:nvSpPr>
          <p:cNvPr id="4" name="3 İçerik Yer Tutucusu"/>
          <p:cNvSpPr>
            <a:spLocks noGrp="1"/>
          </p:cNvSpPr>
          <p:nvPr>
            <p:ph sz="half" idx="2"/>
          </p:nvPr>
        </p:nvSpPr>
        <p:spPr>
          <a:xfrm>
            <a:off x="609599" y="2174875"/>
            <a:ext cx="5386918" cy="3951288"/>
          </a:xfrm>
        </p:spPr>
        <p:txBody>
          <a:bodyPr/>
          <a:lstStyle>
            <a:lvl1pPr>
              <a:defRPr sz="3200"/>
            </a:lvl1pPr>
            <a:lvl2pPr>
              <a:defRPr sz="2667"/>
            </a:lvl2pPr>
            <a:lvl3pPr>
              <a:defRPr sz="2400"/>
            </a:lvl3pPr>
            <a:lvl4pPr>
              <a:defRPr sz="2134"/>
            </a:lvl4pPr>
            <a:lvl5pPr>
              <a:defRPr sz="2134"/>
            </a:lvl5pPr>
            <a:lvl6pPr>
              <a:defRPr sz="2134"/>
            </a:lvl6pPr>
            <a:lvl7pPr>
              <a:defRPr sz="2134"/>
            </a:lvl7pPr>
            <a:lvl8pPr>
              <a:defRPr sz="2134"/>
            </a:lvl8pPr>
            <a:lvl9pPr>
              <a:defRPr sz="2134"/>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78" y="1535198"/>
            <a:ext cx="5389034" cy="639762"/>
          </a:xfrm>
        </p:spPr>
        <p:txBody>
          <a:bodyPr anchor="b"/>
          <a:lstStyle>
            <a:lvl1pPr marL="0" indent="0">
              <a:buNone/>
              <a:defRPr sz="3200" b="1"/>
            </a:lvl1pPr>
            <a:lvl2pPr marL="609628" indent="0">
              <a:buNone/>
              <a:defRPr sz="2667" b="1"/>
            </a:lvl2pPr>
            <a:lvl3pPr marL="1219259" indent="0">
              <a:buNone/>
              <a:defRPr sz="2400" b="1"/>
            </a:lvl3pPr>
            <a:lvl4pPr marL="1828888" indent="0">
              <a:buNone/>
              <a:defRPr sz="2134" b="1"/>
            </a:lvl4pPr>
            <a:lvl5pPr marL="2438516" indent="0">
              <a:buNone/>
              <a:defRPr sz="2134" b="1"/>
            </a:lvl5pPr>
            <a:lvl6pPr marL="3048147" indent="0">
              <a:buNone/>
              <a:defRPr sz="2134" b="1"/>
            </a:lvl6pPr>
            <a:lvl7pPr marL="3657775" indent="0">
              <a:buNone/>
              <a:defRPr sz="2134" b="1"/>
            </a:lvl7pPr>
            <a:lvl8pPr marL="4267403" indent="0">
              <a:buNone/>
              <a:defRPr sz="2134" b="1"/>
            </a:lvl8pPr>
            <a:lvl9pPr marL="4877035" indent="0">
              <a:buNone/>
              <a:defRPr sz="2134"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78" y="2174875"/>
            <a:ext cx="5389034" cy="3951288"/>
          </a:xfrm>
        </p:spPr>
        <p:txBody>
          <a:bodyPr/>
          <a:lstStyle>
            <a:lvl1pPr>
              <a:defRPr sz="3200"/>
            </a:lvl1pPr>
            <a:lvl2pPr>
              <a:defRPr sz="2667"/>
            </a:lvl2pPr>
            <a:lvl3pPr>
              <a:defRPr sz="2400"/>
            </a:lvl3pPr>
            <a:lvl4pPr>
              <a:defRPr sz="2134"/>
            </a:lvl4pPr>
            <a:lvl5pPr>
              <a:defRPr sz="2134"/>
            </a:lvl5pPr>
            <a:lvl6pPr>
              <a:defRPr sz="2134"/>
            </a:lvl6pPr>
            <a:lvl7pPr>
              <a:defRPr sz="2134"/>
            </a:lvl7pPr>
            <a:lvl8pPr>
              <a:defRPr sz="2134"/>
            </a:lvl8pPr>
            <a:lvl9pPr>
              <a:defRPr sz="2134"/>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marL="0" marR="0" lvl="0" indent="0" algn="l" defTabSz="914388" rtl="0" eaLnBrk="1" fontAlgn="auto" latinLnBrk="0" hangingPunct="1">
              <a:lnSpc>
                <a:spcPct val="100000"/>
              </a:lnSpc>
              <a:spcBef>
                <a:spcPts val="0"/>
              </a:spcBef>
              <a:spcAft>
                <a:spcPts val="0"/>
              </a:spcAft>
              <a:buClrTx/>
              <a:buSzTx/>
              <a:buFontTx/>
              <a:buNone/>
              <a:tabLst/>
              <a:defRPr/>
            </a:pPr>
            <a:fld id="{F04FE50D-F07E-4F4B-983C-20FDAA55A552}"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388"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8" name="7 Altbilgi Yer Tutucusu"/>
          <p:cNvSpPr>
            <a:spLocks noGrp="1"/>
          </p:cNvSpPr>
          <p:nvPr>
            <p:ph type="ftr" sz="quarter" idx="11"/>
          </p:nvPr>
        </p:nvSpPr>
        <p:spPr/>
        <p: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9" name="8 Slayt Numarası Yer Tutucusu"/>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17217054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marL="0" marR="0" lvl="0" indent="0" algn="l" defTabSz="914388" rtl="0" eaLnBrk="1" fontAlgn="auto" latinLnBrk="0" hangingPunct="1">
              <a:lnSpc>
                <a:spcPct val="100000"/>
              </a:lnSpc>
              <a:spcBef>
                <a:spcPts val="0"/>
              </a:spcBef>
              <a:spcAft>
                <a:spcPts val="0"/>
              </a:spcAft>
              <a:buClrTx/>
              <a:buSzTx/>
              <a:buFontTx/>
              <a:buNone/>
              <a:tabLst/>
              <a:defRPr/>
            </a:pPr>
            <a:fld id="{7FD2AC6D-3857-4BA8-99E4-0A4AC2529EB5}"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388"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4" name="3 Altbilgi Yer Tutucusu"/>
          <p:cNvSpPr>
            <a:spLocks noGrp="1"/>
          </p:cNvSpPr>
          <p:nvPr>
            <p:ph type="ftr" sz="quarter" idx="11"/>
          </p:nvPr>
        </p:nvSpPr>
        <p:spPr/>
        <p: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Slayt Numarası Yer Tutucusu"/>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29655650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marL="0" marR="0" lvl="0" indent="0" algn="l" defTabSz="914388" rtl="0" eaLnBrk="1" fontAlgn="auto" latinLnBrk="0" hangingPunct="1">
              <a:lnSpc>
                <a:spcPct val="100000"/>
              </a:lnSpc>
              <a:spcBef>
                <a:spcPts val="0"/>
              </a:spcBef>
              <a:spcAft>
                <a:spcPts val="0"/>
              </a:spcAft>
              <a:buClrTx/>
              <a:buSzTx/>
              <a:buFontTx/>
              <a:buNone/>
              <a:tabLst/>
              <a:defRPr/>
            </a:pPr>
            <a:fld id="{8B0B795C-B19C-43BF-87CB-FEF03AAEE5D8}"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388"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3" name="2 Altbilgi Yer Tutucusu"/>
          <p:cNvSpPr>
            <a:spLocks noGrp="1"/>
          </p:cNvSpPr>
          <p:nvPr>
            <p:ph type="ftr" sz="quarter" idx="11"/>
          </p:nvPr>
        </p:nvSpPr>
        <p:spPr/>
        <p: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4" name="3 Slayt Numarası Yer Tutucusu"/>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9042449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26" y="273053"/>
            <a:ext cx="4011084" cy="1162050"/>
          </a:xfrm>
        </p:spPr>
        <p:txBody>
          <a:bodyPr anchor="b"/>
          <a:lstStyle>
            <a:lvl1pPr algn="l">
              <a:defRPr sz="2667" b="1"/>
            </a:lvl1pPr>
          </a:lstStyle>
          <a:p>
            <a:r>
              <a:rPr lang="tr-TR" smtClean="0"/>
              <a:t>Asıl başlık stili için tıklatın</a:t>
            </a:r>
            <a:endParaRPr lang="tr-TR"/>
          </a:p>
        </p:txBody>
      </p:sp>
      <p:sp>
        <p:nvSpPr>
          <p:cNvPr id="3" name="2 İçerik Yer Tutucusu"/>
          <p:cNvSpPr>
            <a:spLocks noGrp="1"/>
          </p:cNvSpPr>
          <p:nvPr>
            <p:ph idx="1"/>
          </p:nvPr>
        </p:nvSpPr>
        <p:spPr>
          <a:xfrm>
            <a:off x="4766735" y="273093"/>
            <a:ext cx="6815667" cy="5853113"/>
          </a:xfrm>
        </p:spPr>
        <p:txBody>
          <a:bodyPr/>
          <a:lstStyle>
            <a:lvl1pPr>
              <a:defRPr sz="4267"/>
            </a:lvl1pPr>
            <a:lvl2pPr>
              <a:defRPr sz="3734"/>
            </a:lvl2pPr>
            <a:lvl3pPr>
              <a:defRPr sz="3200"/>
            </a:lvl3pPr>
            <a:lvl4pPr>
              <a:defRPr sz="2667"/>
            </a:lvl4pPr>
            <a:lvl5pPr>
              <a:defRPr sz="2667"/>
            </a:lvl5pPr>
            <a:lvl6pPr>
              <a:defRPr sz="2667"/>
            </a:lvl6pPr>
            <a:lvl7pPr>
              <a:defRPr sz="2667"/>
            </a:lvl7pPr>
            <a:lvl8pPr>
              <a:defRPr sz="2667"/>
            </a:lvl8pPr>
            <a:lvl9pPr>
              <a:defRPr sz="266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26" y="1435109"/>
            <a:ext cx="4011084" cy="4691062"/>
          </a:xfrm>
        </p:spPr>
        <p:txBody>
          <a:bodyPr/>
          <a:lstStyle>
            <a:lvl1pPr marL="0" indent="0">
              <a:buNone/>
              <a:defRPr sz="1867"/>
            </a:lvl1pPr>
            <a:lvl2pPr marL="609628" indent="0">
              <a:buNone/>
              <a:defRPr sz="1600"/>
            </a:lvl2pPr>
            <a:lvl3pPr marL="1219259" indent="0">
              <a:buNone/>
              <a:defRPr sz="1334"/>
            </a:lvl3pPr>
            <a:lvl4pPr marL="1828888" indent="0">
              <a:buNone/>
              <a:defRPr sz="1200"/>
            </a:lvl4pPr>
            <a:lvl5pPr marL="2438516" indent="0">
              <a:buNone/>
              <a:defRPr sz="1200"/>
            </a:lvl5pPr>
            <a:lvl6pPr marL="3048147" indent="0">
              <a:buNone/>
              <a:defRPr sz="1200"/>
            </a:lvl6pPr>
            <a:lvl7pPr marL="3657775" indent="0">
              <a:buNone/>
              <a:defRPr sz="1200"/>
            </a:lvl7pPr>
            <a:lvl8pPr marL="4267403" indent="0">
              <a:buNone/>
              <a:defRPr sz="1200"/>
            </a:lvl8pPr>
            <a:lvl9pPr marL="4877035" indent="0">
              <a:buNone/>
              <a:defRPr sz="12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marL="0" marR="0" lvl="0" indent="0" algn="l" defTabSz="914388" rtl="0" eaLnBrk="1" fontAlgn="auto" latinLnBrk="0" hangingPunct="1">
              <a:lnSpc>
                <a:spcPct val="100000"/>
              </a:lnSpc>
              <a:spcBef>
                <a:spcPts val="0"/>
              </a:spcBef>
              <a:spcAft>
                <a:spcPts val="0"/>
              </a:spcAft>
              <a:buClrTx/>
              <a:buSzTx/>
              <a:buFontTx/>
              <a:buNone/>
              <a:tabLst/>
              <a:defRPr/>
            </a:pPr>
            <a:fld id="{29098BFD-683B-48CA-ABBD-86E70A5C83DA}"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388"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Altbilgi Yer Tutucusu"/>
          <p:cNvSpPr>
            <a:spLocks noGrp="1"/>
          </p:cNvSpPr>
          <p:nvPr>
            <p:ph type="ftr" sz="quarter" idx="11"/>
          </p:nvPr>
        </p:nvSpPr>
        <p:spPr/>
        <p: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7" name="6 Slayt Numarası Yer Tutucusu"/>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7679833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8" y="4800646"/>
            <a:ext cx="7315200" cy="566738"/>
          </a:xfrm>
        </p:spPr>
        <p:txBody>
          <a:bodyPr anchor="b"/>
          <a:lstStyle>
            <a:lvl1pPr algn="l">
              <a:defRPr sz="2667" b="1"/>
            </a:lvl1pPr>
          </a:lstStyle>
          <a:p>
            <a:r>
              <a:rPr lang="tr-TR" smtClean="0"/>
              <a:t>Asıl başlık stili için tıklatın</a:t>
            </a:r>
            <a:endParaRPr lang="tr-TR"/>
          </a:p>
        </p:txBody>
      </p:sp>
      <p:sp>
        <p:nvSpPr>
          <p:cNvPr id="3" name="2 Resim Yer Tutucusu"/>
          <p:cNvSpPr>
            <a:spLocks noGrp="1"/>
          </p:cNvSpPr>
          <p:nvPr>
            <p:ph type="pic" idx="1"/>
          </p:nvPr>
        </p:nvSpPr>
        <p:spPr>
          <a:xfrm>
            <a:off x="2389718" y="612774"/>
            <a:ext cx="7315200" cy="4114800"/>
          </a:xfrm>
        </p:spPr>
        <p:txBody>
          <a:bodyPr/>
          <a:lstStyle>
            <a:lvl1pPr marL="0" indent="0">
              <a:buNone/>
              <a:defRPr sz="4267"/>
            </a:lvl1pPr>
            <a:lvl2pPr marL="609628" indent="0">
              <a:buNone/>
              <a:defRPr sz="3734"/>
            </a:lvl2pPr>
            <a:lvl3pPr marL="1219259" indent="0">
              <a:buNone/>
              <a:defRPr sz="3200"/>
            </a:lvl3pPr>
            <a:lvl4pPr marL="1828888" indent="0">
              <a:buNone/>
              <a:defRPr sz="2667"/>
            </a:lvl4pPr>
            <a:lvl5pPr marL="2438516" indent="0">
              <a:buNone/>
              <a:defRPr sz="2667"/>
            </a:lvl5pPr>
            <a:lvl6pPr marL="3048147" indent="0">
              <a:buNone/>
              <a:defRPr sz="2667"/>
            </a:lvl6pPr>
            <a:lvl7pPr marL="3657775" indent="0">
              <a:buNone/>
              <a:defRPr sz="2667"/>
            </a:lvl7pPr>
            <a:lvl8pPr marL="4267403" indent="0">
              <a:buNone/>
              <a:defRPr sz="2667"/>
            </a:lvl8pPr>
            <a:lvl9pPr marL="4877035" indent="0">
              <a:buNone/>
              <a:defRPr sz="2667"/>
            </a:lvl9pPr>
          </a:lstStyle>
          <a:p>
            <a:endParaRPr lang="tr-TR"/>
          </a:p>
        </p:txBody>
      </p:sp>
      <p:sp>
        <p:nvSpPr>
          <p:cNvPr id="4" name="3 Metin Yer Tutucusu"/>
          <p:cNvSpPr>
            <a:spLocks noGrp="1"/>
          </p:cNvSpPr>
          <p:nvPr>
            <p:ph type="body" sz="half" idx="2"/>
          </p:nvPr>
        </p:nvSpPr>
        <p:spPr>
          <a:xfrm>
            <a:off x="2389718" y="5367384"/>
            <a:ext cx="7315200" cy="804862"/>
          </a:xfrm>
        </p:spPr>
        <p:txBody>
          <a:bodyPr/>
          <a:lstStyle>
            <a:lvl1pPr marL="0" indent="0">
              <a:buNone/>
              <a:defRPr sz="1867"/>
            </a:lvl1pPr>
            <a:lvl2pPr marL="609628" indent="0">
              <a:buNone/>
              <a:defRPr sz="1600"/>
            </a:lvl2pPr>
            <a:lvl3pPr marL="1219259" indent="0">
              <a:buNone/>
              <a:defRPr sz="1334"/>
            </a:lvl3pPr>
            <a:lvl4pPr marL="1828888" indent="0">
              <a:buNone/>
              <a:defRPr sz="1200"/>
            </a:lvl4pPr>
            <a:lvl5pPr marL="2438516" indent="0">
              <a:buNone/>
              <a:defRPr sz="1200"/>
            </a:lvl5pPr>
            <a:lvl6pPr marL="3048147" indent="0">
              <a:buNone/>
              <a:defRPr sz="1200"/>
            </a:lvl6pPr>
            <a:lvl7pPr marL="3657775" indent="0">
              <a:buNone/>
              <a:defRPr sz="1200"/>
            </a:lvl7pPr>
            <a:lvl8pPr marL="4267403" indent="0">
              <a:buNone/>
              <a:defRPr sz="1200"/>
            </a:lvl8pPr>
            <a:lvl9pPr marL="4877035" indent="0">
              <a:buNone/>
              <a:defRPr sz="12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marL="0" marR="0" lvl="0" indent="0" algn="l" defTabSz="914388" rtl="0" eaLnBrk="1" fontAlgn="auto" latinLnBrk="0" hangingPunct="1">
              <a:lnSpc>
                <a:spcPct val="100000"/>
              </a:lnSpc>
              <a:spcBef>
                <a:spcPts val="0"/>
              </a:spcBef>
              <a:spcAft>
                <a:spcPts val="0"/>
              </a:spcAft>
              <a:buClrTx/>
              <a:buSzTx/>
              <a:buFontTx/>
              <a:buNone/>
              <a:tabLst/>
              <a:defRPr/>
            </a:pPr>
            <a:fld id="{F850555F-9797-4C91-A38D-B19C3BBF256F}"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388"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Altbilgi Yer Tutucusu"/>
          <p:cNvSpPr>
            <a:spLocks noGrp="1"/>
          </p:cNvSpPr>
          <p:nvPr>
            <p:ph type="ftr" sz="quarter" idx="11"/>
          </p:nvPr>
        </p:nvSpPr>
        <p:spPr/>
        <p: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7" name="6 Slayt Numarası Yer Tutucusu"/>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8069541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4388" rtl="0" eaLnBrk="1" fontAlgn="auto" latinLnBrk="0" hangingPunct="1">
              <a:lnSpc>
                <a:spcPct val="100000"/>
              </a:lnSpc>
              <a:spcBef>
                <a:spcPts val="0"/>
              </a:spcBef>
              <a:spcAft>
                <a:spcPts val="0"/>
              </a:spcAft>
              <a:buClrTx/>
              <a:buSzTx/>
              <a:buFontTx/>
              <a:buNone/>
              <a:tabLst/>
              <a:defRPr/>
            </a:pPr>
            <a:fld id="{93DD4A09-83BF-4A11-9242-FC4DD3722786}"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388"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23526703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2" y="274732"/>
            <a:ext cx="2743200" cy="5851525"/>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2" y="274732"/>
            <a:ext cx="80264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4388" rtl="0" eaLnBrk="1" fontAlgn="auto" latinLnBrk="0" hangingPunct="1">
              <a:lnSpc>
                <a:spcPct val="100000"/>
              </a:lnSpc>
              <a:spcBef>
                <a:spcPts val="0"/>
              </a:spcBef>
              <a:spcAft>
                <a:spcPts val="0"/>
              </a:spcAft>
              <a:buClrTx/>
              <a:buSzTx/>
              <a:buFontTx/>
              <a:buNone/>
              <a:tabLst/>
              <a:defRPr/>
            </a:pPr>
            <a:fld id="{8449B082-CF22-48D5-8384-E1D397152BC4}"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388" rtl="0" eaLnBrk="1" fontAlgn="auto" latinLnBrk="0" hangingPunct="1">
                <a:lnSpc>
                  <a:spcPct val="100000"/>
                </a:lnSpc>
                <a:spcBef>
                  <a:spcPts val="0"/>
                </a:spcBef>
                <a:spcAft>
                  <a:spcPts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0515493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435"/>
            <a:ext cx="10363200" cy="1470024"/>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0" y="3886216"/>
            <a:ext cx="8534400" cy="1752600"/>
          </a:xfrm>
        </p:spPr>
        <p:txBody>
          <a:bodyPr/>
          <a:lstStyle>
            <a:lvl1pPr marL="0" indent="0" algn="ctr">
              <a:buNone/>
              <a:defRPr>
                <a:solidFill>
                  <a:schemeClr val="tx1">
                    <a:tint val="75000"/>
                  </a:schemeClr>
                </a:solidFill>
              </a:defRPr>
            </a:lvl1pPr>
            <a:lvl2pPr marL="458892" indent="0" algn="ctr">
              <a:buNone/>
              <a:defRPr>
                <a:solidFill>
                  <a:schemeClr val="tx1">
                    <a:tint val="75000"/>
                  </a:schemeClr>
                </a:solidFill>
              </a:defRPr>
            </a:lvl2pPr>
            <a:lvl3pPr marL="917783" indent="0" algn="ctr">
              <a:buNone/>
              <a:defRPr>
                <a:solidFill>
                  <a:schemeClr val="tx1">
                    <a:tint val="75000"/>
                  </a:schemeClr>
                </a:solidFill>
              </a:defRPr>
            </a:lvl3pPr>
            <a:lvl4pPr marL="1376675" indent="0" algn="ctr">
              <a:buNone/>
              <a:defRPr>
                <a:solidFill>
                  <a:schemeClr val="tx1">
                    <a:tint val="75000"/>
                  </a:schemeClr>
                </a:solidFill>
              </a:defRPr>
            </a:lvl4pPr>
            <a:lvl5pPr marL="1835567" indent="0" algn="ctr">
              <a:buNone/>
              <a:defRPr>
                <a:solidFill>
                  <a:schemeClr val="tx1">
                    <a:tint val="75000"/>
                  </a:schemeClr>
                </a:solidFill>
              </a:defRPr>
            </a:lvl5pPr>
            <a:lvl6pPr marL="2294458" indent="0" algn="ctr">
              <a:buNone/>
              <a:defRPr>
                <a:solidFill>
                  <a:schemeClr val="tx1">
                    <a:tint val="75000"/>
                  </a:schemeClr>
                </a:solidFill>
              </a:defRPr>
            </a:lvl6pPr>
            <a:lvl7pPr marL="2753350" indent="0" algn="ctr">
              <a:buNone/>
              <a:defRPr>
                <a:solidFill>
                  <a:schemeClr val="tx1">
                    <a:tint val="75000"/>
                  </a:schemeClr>
                </a:solidFill>
              </a:defRPr>
            </a:lvl7pPr>
            <a:lvl8pPr marL="3212241" indent="0" algn="ctr">
              <a:buNone/>
              <a:defRPr>
                <a:solidFill>
                  <a:schemeClr val="tx1">
                    <a:tint val="75000"/>
                  </a:schemeClr>
                </a:solidFill>
              </a:defRPr>
            </a:lvl8pPr>
            <a:lvl9pPr marL="3671133"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A90EB5-EBC3-4450-90C1-96B6160FBD98}" type="datetime1">
              <a:rPr kumimoji="0" lang="en-US"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4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942356339"/>
      </p:ext>
    </p:extLst>
  </p:cSld>
  <p:clrMapOvr>
    <a:masterClrMapping/>
  </p:clrMapOvr>
  <p:transition spd="slow">
    <p:push dir="u"/>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1A26528-C145-409F-AEAC-AB578C3A15AA}" type="datetime1">
              <a:rPr kumimoji="0" lang="en-US"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4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4860064"/>
      </p:ext>
    </p:extLst>
  </p:cSld>
  <p:clrMapOvr>
    <a:masterClrMapping/>
  </p:clrMapOvr>
  <p:transition spd="slow">
    <p:push dir="u"/>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16"/>
            <a:ext cx="10363200" cy="1362075"/>
          </a:xfrm>
        </p:spPr>
        <p:txBody>
          <a:bodyPr anchor="t"/>
          <a:lstStyle>
            <a:lvl1pPr algn="l">
              <a:defRPr sz="4015"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729"/>
            <a:ext cx="10363200" cy="1500187"/>
          </a:xfrm>
        </p:spPr>
        <p:txBody>
          <a:bodyPr anchor="b"/>
          <a:lstStyle>
            <a:lvl1pPr marL="0" indent="0">
              <a:buNone/>
              <a:defRPr sz="2007">
                <a:solidFill>
                  <a:schemeClr val="tx1">
                    <a:tint val="75000"/>
                  </a:schemeClr>
                </a:solidFill>
              </a:defRPr>
            </a:lvl1pPr>
            <a:lvl2pPr marL="458892" indent="0">
              <a:buNone/>
              <a:defRPr sz="1807">
                <a:solidFill>
                  <a:schemeClr val="tx1">
                    <a:tint val="75000"/>
                  </a:schemeClr>
                </a:solidFill>
              </a:defRPr>
            </a:lvl2pPr>
            <a:lvl3pPr marL="917783" indent="0">
              <a:buNone/>
              <a:defRPr sz="1606">
                <a:solidFill>
                  <a:schemeClr val="tx1">
                    <a:tint val="75000"/>
                  </a:schemeClr>
                </a:solidFill>
              </a:defRPr>
            </a:lvl3pPr>
            <a:lvl4pPr marL="1376675" indent="0">
              <a:buNone/>
              <a:defRPr sz="1405">
                <a:solidFill>
                  <a:schemeClr val="tx1">
                    <a:tint val="75000"/>
                  </a:schemeClr>
                </a:solidFill>
              </a:defRPr>
            </a:lvl4pPr>
            <a:lvl5pPr marL="1835567" indent="0">
              <a:buNone/>
              <a:defRPr sz="1405">
                <a:solidFill>
                  <a:schemeClr val="tx1">
                    <a:tint val="75000"/>
                  </a:schemeClr>
                </a:solidFill>
              </a:defRPr>
            </a:lvl5pPr>
            <a:lvl6pPr marL="2294458" indent="0">
              <a:buNone/>
              <a:defRPr sz="1405">
                <a:solidFill>
                  <a:schemeClr val="tx1">
                    <a:tint val="75000"/>
                  </a:schemeClr>
                </a:solidFill>
              </a:defRPr>
            </a:lvl6pPr>
            <a:lvl7pPr marL="2753350" indent="0">
              <a:buNone/>
              <a:defRPr sz="1405">
                <a:solidFill>
                  <a:schemeClr val="tx1">
                    <a:tint val="75000"/>
                  </a:schemeClr>
                </a:solidFill>
              </a:defRPr>
            </a:lvl7pPr>
            <a:lvl8pPr marL="3212241" indent="0">
              <a:buNone/>
              <a:defRPr sz="1405">
                <a:solidFill>
                  <a:schemeClr val="tx1">
                    <a:tint val="75000"/>
                  </a:schemeClr>
                </a:solidFill>
              </a:defRPr>
            </a:lvl8pPr>
            <a:lvl9pPr marL="3671133" indent="0">
              <a:buNone/>
              <a:defRPr sz="1405">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5A6D070-A83B-427A-B4E9-4FC0ADD917E9}" type="datetime1">
              <a:rPr kumimoji="0" lang="en-US"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4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923136750"/>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defTabSz="917783" fontAlgn="base">
              <a:spcBef>
                <a:spcPct val="0"/>
              </a:spcBef>
              <a:spcAft>
                <a:spcPct val="0"/>
              </a:spcAft>
              <a:defRPr/>
            </a:pPr>
            <a:fld id="{2DF42E69-52F2-4806-855F-7935B5F44710}"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3" name="2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4" name="3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6455370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600216"/>
            <a:ext cx="5384800" cy="4525963"/>
          </a:xfrm>
        </p:spPr>
        <p:txBody>
          <a:bodyPr/>
          <a:lstStyle>
            <a:lvl1pPr>
              <a:defRPr sz="2810"/>
            </a:lvl1pPr>
            <a:lvl2pPr>
              <a:defRPr sz="2409"/>
            </a:lvl2pPr>
            <a:lvl3pPr>
              <a:defRPr sz="2007"/>
            </a:lvl3pPr>
            <a:lvl4pPr>
              <a:defRPr sz="1807"/>
            </a:lvl4pPr>
            <a:lvl5pPr>
              <a:defRPr sz="1807"/>
            </a:lvl5pPr>
            <a:lvl6pPr>
              <a:defRPr sz="1807"/>
            </a:lvl6pPr>
            <a:lvl7pPr>
              <a:defRPr sz="1807"/>
            </a:lvl7pPr>
            <a:lvl8pPr>
              <a:defRPr sz="1807"/>
            </a:lvl8pPr>
            <a:lvl9pPr>
              <a:defRPr sz="180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600216"/>
            <a:ext cx="5384800" cy="4525963"/>
          </a:xfrm>
        </p:spPr>
        <p:txBody>
          <a:bodyPr/>
          <a:lstStyle>
            <a:lvl1pPr>
              <a:defRPr sz="2810"/>
            </a:lvl1pPr>
            <a:lvl2pPr>
              <a:defRPr sz="2409"/>
            </a:lvl2pPr>
            <a:lvl3pPr>
              <a:defRPr sz="2007"/>
            </a:lvl3pPr>
            <a:lvl4pPr>
              <a:defRPr sz="1807"/>
            </a:lvl4pPr>
            <a:lvl5pPr>
              <a:defRPr sz="1807"/>
            </a:lvl5pPr>
            <a:lvl6pPr>
              <a:defRPr sz="1807"/>
            </a:lvl6pPr>
            <a:lvl7pPr>
              <a:defRPr sz="1807"/>
            </a:lvl7pPr>
            <a:lvl8pPr>
              <a:defRPr sz="1807"/>
            </a:lvl8pPr>
            <a:lvl9pPr>
              <a:defRPr sz="180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40EAF6-2C32-4DCF-AECA-8461CC6D4844}" type="datetime1">
              <a:rPr kumimoji="0" lang="en-US"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6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894050036"/>
      </p:ext>
    </p:extLst>
  </p:cSld>
  <p:clrMapOvr>
    <a:masterClrMapping/>
  </p:clrMapOvr>
  <p:transition spd="slow">
    <p:push dir="u"/>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600" y="1535172"/>
            <a:ext cx="5386917" cy="639762"/>
          </a:xfrm>
        </p:spPr>
        <p:txBody>
          <a:bodyPr anchor="b"/>
          <a:lstStyle>
            <a:lvl1pPr marL="0" indent="0">
              <a:buNone/>
              <a:defRPr sz="2409" b="1"/>
            </a:lvl1pPr>
            <a:lvl2pPr marL="458892" indent="0">
              <a:buNone/>
              <a:defRPr sz="2007" b="1"/>
            </a:lvl2pPr>
            <a:lvl3pPr marL="917783" indent="0">
              <a:buNone/>
              <a:defRPr sz="1807" b="1"/>
            </a:lvl3pPr>
            <a:lvl4pPr marL="1376675" indent="0">
              <a:buNone/>
              <a:defRPr sz="1606" b="1"/>
            </a:lvl4pPr>
            <a:lvl5pPr marL="1835567" indent="0">
              <a:buNone/>
              <a:defRPr sz="1606" b="1"/>
            </a:lvl5pPr>
            <a:lvl6pPr marL="2294458" indent="0">
              <a:buNone/>
              <a:defRPr sz="1606" b="1"/>
            </a:lvl6pPr>
            <a:lvl7pPr marL="2753350" indent="0">
              <a:buNone/>
              <a:defRPr sz="1606" b="1"/>
            </a:lvl7pPr>
            <a:lvl8pPr marL="3212241" indent="0">
              <a:buNone/>
              <a:defRPr sz="1606" b="1"/>
            </a:lvl8pPr>
            <a:lvl9pPr marL="3671133" indent="0">
              <a:buNone/>
              <a:defRPr sz="1606" b="1"/>
            </a:lvl9pPr>
          </a:lstStyle>
          <a:p>
            <a:pPr lvl="0"/>
            <a:r>
              <a:rPr lang="tr-TR" smtClean="0"/>
              <a:t>Asıl metin stillerini düzenlemek için tıklatın</a:t>
            </a:r>
          </a:p>
        </p:txBody>
      </p:sp>
      <p:sp>
        <p:nvSpPr>
          <p:cNvPr id="4" name="3 İçerik Yer Tutucusu"/>
          <p:cNvSpPr>
            <a:spLocks noGrp="1"/>
          </p:cNvSpPr>
          <p:nvPr>
            <p:ph sz="half" idx="2"/>
          </p:nvPr>
        </p:nvSpPr>
        <p:spPr>
          <a:xfrm>
            <a:off x="609600" y="2174875"/>
            <a:ext cx="5386917" cy="3951288"/>
          </a:xfrm>
        </p:spPr>
        <p:txBody>
          <a:bodyPr/>
          <a:lstStyle>
            <a:lvl1pPr>
              <a:defRPr sz="2409"/>
            </a:lvl1pPr>
            <a:lvl2pPr>
              <a:defRPr sz="2007"/>
            </a:lvl2pPr>
            <a:lvl3pPr>
              <a:defRPr sz="1807"/>
            </a:lvl3pPr>
            <a:lvl4pPr>
              <a:defRPr sz="1606"/>
            </a:lvl4pPr>
            <a:lvl5pPr>
              <a:defRPr sz="1606"/>
            </a:lvl5pPr>
            <a:lvl6pPr>
              <a:defRPr sz="1606"/>
            </a:lvl6pPr>
            <a:lvl7pPr>
              <a:defRPr sz="1606"/>
            </a:lvl7pPr>
            <a:lvl8pPr>
              <a:defRPr sz="1606"/>
            </a:lvl8pPr>
            <a:lvl9pPr>
              <a:defRPr sz="1606"/>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78" y="1535172"/>
            <a:ext cx="5389033" cy="639762"/>
          </a:xfrm>
        </p:spPr>
        <p:txBody>
          <a:bodyPr anchor="b"/>
          <a:lstStyle>
            <a:lvl1pPr marL="0" indent="0">
              <a:buNone/>
              <a:defRPr sz="2409" b="1"/>
            </a:lvl1pPr>
            <a:lvl2pPr marL="458892" indent="0">
              <a:buNone/>
              <a:defRPr sz="2007" b="1"/>
            </a:lvl2pPr>
            <a:lvl3pPr marL="917783" indent="0">
              <a:buNone/>
              <a:defRPr sz="1807" b="1"/>
            </a:lvl3pPr>
            <a:lvl4pPr marL="1376675" indent="0">
              <a:buNone/>
              <a:defRPr sz="1606" b="1"/>
            </a:lvl4pPr>
            <a:lvl5pPr marL="1835567" indent="0">
              <a:buNone/>
              <a:defRPr sz="1606" b="1"/>
            </a:lvl5pPr>
            <a:lvl6pPr marL="2294458" indent="0">
              <a:buNone/>
              <a:defRPr sz="1606" b="1"/>
            </a:lvl6pPr>
            <a:lvl7pPr marL="2753350" indent="0">
              <a:buNone/>
              <a:defRPr sz="1606" b="1"/>
            </a:lvl7pPr>
            <a:lvl8pPr marL="3212241" indent="0">
              <a:buNone/>
              <a:defRPr sz="1606" b="1"/>
            </a:lvl8pPr>
            <a:lvl9pPr marL="3671133" indent="0">
              <a:buNone/>
              <a:defRPr sz="1606"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78" y="2174875"/>
            <a:ext cx="5389033" cy="3951288"/>
          </a:xfrm>
        </p:spPr>
        <p:txBody>
          <a:bodyPr/>
          <a:lstStyle>
            <a:lvl1pPr>
              <a:defRPr sz="2409"/>
            </a:lvl1pPr>
            <a:lvl2pPr>
              <a:defRPr sz="2007"/>
            </a:lvl2pPr>
            <a:lvl3pPr>
              <a:defRPr sz="1807"/>
            </a:lvl3pPr>
            <a:lvl4pPr>
              <a:defRPr sz="1606"/>
            </a:lvl4pPr>
            <a:lvl5pPr>
              <a:defRPr sz="1606"/>
            </a:lvl5pPr>
            <a:lvl6pPr>
              <a:defRPr sz="1606"/>
            </a:lvl6pPr>
            <a:lvl7pPr>
              <a:defRPr sz="1606"/>
            </a:lvl7pPr>
            <a:lvl8pPr>
              <a:defRPr sz="1606"/>
            </a:lvl8pPr>
            <a:lvl9pPr>
              <a:defRPr sz="1606"/>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9BD8B6-A15A-446E-9B9A-7B4C39EB0211}" type="datetime1">
              <a:rPr kumimoji="0" lang="en-US"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7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8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678503670"/>
      </p:ext>
    </p:extLst>
  </p:cSld>
  <p:clrMapOvr>
    <a:masterClrMapping/>
  </p:clrMapOvr>
  <p:transition spd="slow">
    <p:push dir="u"/>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E1A2D87-05AB-452D-A3F5-455F36C8B02D}" type="datetime1">
              <a:rPr kumimoji="0" lang="en-US"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3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4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941473556"/>
      </p:ext>
    </p:extLst>
  </p:cSld>
  <p:clrMapOvr>
    <a:masterClrMapping/>
  </p:clrMapOvr>
  <p:transition spd="slow">
    <p:push dir="u"/>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3182C6D-EDE5-4666-B0C6-48C0E34623F7}" type="datetime1">
              <a:rPr kumimoji="0" lang="en-US"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2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3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39173969"/>
      </p:ext>
    </p:extLst>
  </p:cSld>
  <p:clrMapOvr>
    <a:masterClrMapping/>
  </p:clrMapOvr>
  <p:transition spd="slow">
    <p:push dir="u"/>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26" y="273053"/>
            <a:ext cx="4011084" cy="1162050"/>
          </a:xfrm>
        </p:spPr>
        <p:txBody>
          <a:bodyPr anchor="b"/>
          <a:lstStyle>
            <a:lvl1pPr algn="l">
              <a:defRPr sz="2007" b="1"/>
            </a:lvl1pPr>
          </a:lstStyle>
          <a:p>
            <a:r>
              <a:rPr lang="tr-TR" smtClean="0"/>
              <a:t>Asıl başlık stili için tıklatın</a:t>
            </a:r>
            <a:endParaRPr lang="tr-TR"/>
          </a:p>
        </p:txBody>
      </p:sp>
      <p:sp>
        <p:nvSpPr>
          <p:cNvPr id="3" name="2 İçerik Yer Tutucusu"/>
          <p:cNvSpPr>
            <a:spLocks noGrp="1"/>
          </p:cNvSpPr>
          <p:nvPr>
            <p:ph idx="1"/>
          </p:nvPr>
        </p:nvSpPr>
        <p:spPr>
          <a:xfrm>
            <a:off x="4766733" y="273066"/>
            <a:ext cx="6815667" cy="5853113"/>
          </a:xfrm>
        </p:spPr>
        <p:txBody>
          <a:bodyPr/>
          <a:lstStyle>
            <a:lvl1pPr>
              <a:defRPr sz="3212"/>
            </a:lvl1pPr>
            <a:lvl2pPr>
              <a:defRPr sz="2810"/>
            </a:lvl2pPr>
            <a:lvl3pPr>
              <a:defRPr sz="2409"/>
            </a:lvl3pPr>
            <a:lvl4pPr>
              <a:defRPr sz="2007"/>
            </a:lvl4pPr>
            <a:lvl5pPr>
              <a:defRPr sz="2007"/>
            </a:lvl5pPr>
            <a:lvl6pPr>
              <a:defRPr sz="2007"/>
            </a:lvl6pPr>
            <a:lvl7pPr>
              <a:defRPr sz="2007"/>
            </a:lvl7pPr>
            <a:lvl8pPr>
              <a:defRPr sz="2007"/>
            </a:lvl8pPr>
            <a:lvl9pPr>
              <a:defRPr sz="200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26" y="1435109"/>
            <a:ext cx="4011084" cy="4691062"/>
          </a:xfrm>
        </p:spPr>
        <p:txBody>
          <a:bodyPr/>
          <a:lstStyle>
            <a:lvl1pPr marL="0" indent="0">
              <a:buNone/>
              <a:defRPr sz="1405"/>
            </a:lvl1pPr>
            <a:lvl2pPr marL="458892" indent="0">
              <a:buNone/>
              <a:defRPr sz="1204"/>
            </a:lvl2pPr>
            <a:lvl3pPr marL="917783" indent="0">
              <a:buNone/>
              <a:defRPr sz="1004"/>
            </a:lvl3pPr>
            <a:lvl4pPr marL="1376675" indent="0">
              <a:buNone/>
              <a:defRPr sz="903"/>
            </a:lvl4pPr>
            <a:lvl5pPr marL="1835567" indent="0">
              <a:buNone/>
              <a:defRPr sz="903"/>
            </a:lvl5pPr>
            <a:lvl6pPr marL="2294458" indent="0">
              <a:buNone/>
              <a:defRPr sz="903"/>
            </a:lvl6pPr>
            <a:lvl7pPr marL="2753350" indent="0">
              <a:buNone/>
              <a:defRPr sz="903"/>
            </a:lvl7pPr>
            <a:lvl8pPr marL="3212241" indent="0">
              <a:buNone/>
              <a:defRPr sz="903"/>
            </a:lvl8pPr>
            <a:lvl9pPr marL="3671133" indent="0">
              <a:buNone/>
              <a:defRPr sz="903"/>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373DCC-B65E-4A71-9EEE-B787DF5F3F1C}" type="datetime1">
              <a:rPr kumimoji="0" lang="en-US"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6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87115433"/>
      </p:ext>
    </p:extLst>
  </p:cSld>
  <p:clrMapOvr>
    <a:masterClrMapping/>
  </p:clrMapOvr>
  <p:transition spd="slow">
    <p:push dir="u"/>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7" y="4800619"/>
            <a:ext cx="7315200" cy="566738"/>
          </a:xfrm>
        </p:spPr>
        <p:txBody>
          <a:bodyPr anchor="b"/>
          <a:lstStyle>
            <a:lvl1pPr algn="l">
              <a:defRPr sz="2007" b="1"/>
            </a:lvl1pPr>
          </a:lstStyle>
          <a:p>
            <a:r>
              <a:rPr lang="tr-TR" smtClean="0"/>
              <a:t>Asıl başlık stili için tıklatın</a:t>
            </a:r>
            <a:endParaRPr lang="tr-TR"/>
          </a:p>
        </p:txBody>
      </p:sp>
      <p:sp>
        <p:nvSpPr>
          <p:cNvPr id="3" name="2 Resim Yer Tutucusu"/>
          <p:cNvSpPr>
            <a:spLocks noGrp="1"/>
          </p:cNvSpPr>
          <p:nvPr>
            <p:ph type="pic" idx="1"/>
          </p:nvPr>
        </p:nvSpPr>
        <p:spPr>
          <a:xfrm>
            <a:off x="2389717" y="612774"/>
            <a:ext cx="7315200" cy="4114800"/>
          </a:xfrm>
        </p:spPr>
        <p:txBody>
          <a:bodyPr/>
          <a:lstStyle>
            <a:lvl1pPr marL="0" indent="0">
              <a:buNone/>
              <a:defRPr sz="3212"/>
            </a:lvl1pPr>
            <a:lvl2pPr marL="458892" indent="0">
              <a:buNone/>
              <a:defRPr sz="2810"/>
            </a:lvl2pPr>
            <a:lvl3pPr marL="917783" indent="0">
              <a:buNone/>
              <a:defRPr sz="2409"/>
            </a:lvl3pPr>
            <a:lvl4pPr marL="1376675" indent="0">
              <a:buNone/>
              <a:defRPr sz="2007"/>
            </a:lvl4pPr>
            <a:lvl5pPr marL="1835567" indent="0">
              <a:buNone/>
              <a:defRPr sz="2007"/>
            </a:lvl5pPr>
            <a:lvl6pPr marL="2294458" indent="0">
              <a:buNone/>
              <a:defRPr sz="2007"/>
            </a:lvl6pPr>
            <a:lvl7pPr marL="2753350" indent="0">
              <a:buNone/>
              <a:defRPr sz="2007"/>
            </a:lvl7pPr>
            <a:lvl8pPr marL="3212241" indent="0">
              <a:buNone/>
              <a:defRPr sz="2007"/>
            </a:lvl8pPr>
            <a:lvl9pPr marL="3671133" indent="0">
              <a:buNone/>
              <a:defRPr sz="2007"/>
            </a:lvl9pPr>
          </a:lstStyle>
          <a:p>
            <a:endParaRPr lang="tr-TR"/>
          </a:p>
        </p:txBody>
      </p:sp>
      <p:sp>
        <p:nvSpPr>
          <p:cNvPr id="4" name="3 Metin Yer Tutucusu"/>
          <p:cNvSpPr>
            <a:spLocks noGrp="1"/>
          </p:cNvSpPr>
          <p:nvPr>
            <p:ph type="body" sz="half" idx="2"/>
          </p:nvPr>
        </p:nvSpPr>
        <p:spPr>
          <a:xfrm>
            <a:off x="2389717" y="5367357"/>
            <a:ext cx="7315200" cy="804862"/>
          </a:xfrm>
        </p:spPr>
        <p:txBody>
          <a:bodyPr/>
          <a:lstStyle>
            <a:lvl1pPr marL="0" indent="0">
              <a:buNone/>
              <a:defRPr sz="1405"/>
            </a:lvl1pPr>
            <a:lvl2pPr marL="458892" indent="0">
              <a:buNone/>
              <a:defRPr sz="1204"/>
            </a:lvl2pPr>
            <a:lvl3pPr marL="917783" indent="0">
              <a:buNone/>
              <a:defRPr sz="1004"/>
            </a:lvl3pPr>
            <a:lvl4pPr marL="1376675" indent="0">
              <a:buNone/>
              <a:defRPr sz="903"/>
            </a:lvl4pPr>
            <a:lvl5pPr marL="1835567" indent="0">
              <a:buNone/>
              <a:defRPr sz="903"/>
            </a:lvl5pPr>
            <a:lvl6pPr marL="2294458" indent="0">
              <a:buNone/>
              <a:defRPr sz="903"/>
            </a:lvl6pPr>
            <a:lvl7pPr marL="2753350" indent="0">
              <a:buNone/>
              <a:defRPr sz="903"/>
            </a:lvl7pPr>
            <a:lvl8pPr marL="3212241" indent="0">
              <a:buNone/>
              <a:defRPr sz="903"/>
            </a:lvl8pPr>
            <a:lvl9pPr marL="3671133" indent="0">
              <a:buNone/>
              <a:defRPr sz="903"/>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53439-3D50-405D-8133-A18335112337}" type="datetime1">
              <a:rPr kumimoji="0" lang="en-US"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6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92258599"/>
      </p:ext>
    </p:extLst>
  </p:cSld>
  <p:clrMapOvr>
    <a:masterClrMapping/>
  </p:clrMapOvr>
  <p:transition spd="slow">
    <p:push dir="u"/>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81DBC4-F1B8-4EE4-B35C-1F34540ED533}" type="datetime1">
              <a:rPr kumimoji="0" lang="en-US"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4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49175244"/>
      </p:ext>
    </p:extLst>
  </p:cSld>
  <p:clrMapOvr>
    <a:masterClrMapping/>
  </p:clrMapOvr>
  <p:transition spd="slow">
    <p:push dir="u"/>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0" y="274705"/>
            <a:ext cx="2743200" cy="5851525"/>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0" y="274705"/>
            <a:ext cx="80264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7BE6B8-EF6F-420F-8231-BC3A76CAFB0F}" type="datetime1">
              <a:rPr kumimoji="0" lang="en-US"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4 Altbilgi Yer Tutucusu"/>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5 Slayt Numarası Yer Tutucusu"/>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6345909"/>
      </p:ext>
    </p:extLst>
  </p:cSld>
  <p:clrMapOvr>
    <a:masterClrMapping/>
  </p:clrMapOvr>
  <p:transition spd="slow">
    <p:push dir="u"/>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9A9ACD-39AB-4B82-829B-9BBBFF2175C2}" type="datetime1">
              <a:rPr kumimoji="0" lang="en-US"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2021</a:t>
            </a:fld>
            <a:endParaRPr kumimoji="0" lang="fr-FR"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854BEA-D865-4B20-9659-51FC551EF132}" type="slidenum">
              <a:rPr kumimoji="0" lang="fr-FR"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Title 1"/>
          <p:cNvSpPr>
            <a:spLocks noGrp="1"/>
          </p:cNvSpPr>
          <p:nvPr>
            <p:ph type="title"/>
          </p:nvPr>
        </p:nvSpPr>
        <p:spPr>
          <a:xfrm>
            <a:off x="609600" y="274638"/>
            <a:ext cx="10972800" cy="706090"/>
          </a:xfrm>
          <a:noFill/>
          <a:ln>
            <a:noFill/>
          </a:ln>
        </p:spPr>
        <p:txBody>
          <a:bodyPr>
            <a:normAutofit/>
          </a:bodyPr>
          <a:lstStyle>
            <a:lvl1pPr algn="l">
              <a:defRPr sz="3200">
                <a:solidFill>
                  <a:srgbClr val="FF0000"/>
                </a:solidFill>
              </a:defRPr>
            </a:lvl1pPr>
          </a:lstStyle>
          <a:p>
            <a:r>
              <a:rPr lang="en-US" dirty="0"/>
              <a:t>Click to edit Master title style</a:t>
            </a:r>
            <a:endParaRPr lang="fr-FR" dirty="0"/>
          </a:p>
        </p:txBody>
      </p:sp>
    </p:spTree>
    <p:extLst>
      <p:ext uri="{BB962C8B-B14F-4D97-AF65-F5344CB8AC3E}">
        <p14:creationId xmlns:p14="http://schemas.microsoft.com/office/powerpoint/2010/main" val="17734793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26130"/>
            <a:ext cx="12192000" cy="3529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4142" y="260986"/>
            <a:ext cx="1943100" cy="1148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110" y="1630721"/>
            <a:ext cx="12192001" cy="19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Metin kutusu 9"/>
          <p:cNvSpPr txBox="1">
            <a:spLocks noChangeArrowheads="1"/>
          </p:cNvSpPr>
          <p:nvPr/>
        </p:nvSpPr>
        <p:spPr bwMode="auto">
          <a:xfrm>
            <a:off x="264585" y="6475212"/>
            <a:ext cx="4199467" cy="3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853" tIns="42926" rIns="85853" bIns="42926">
            <a:spAutoFit/>
          </a:bodyPr>
          <a:lstStyle>
            <a:lvl1pPr>
              <a:defRPr>
                <a:solidFill>
                  <a:schemeClr val="tx1"/>
                </a:solidFill>
                <a:latin typeface="Frutiger 45 Light" pitchFamily="50" charset="0"/>
              </a:defRPr>
            </a:lvl1pPr>
            <a:lvl2pPr marL="742950" indent="-285750">
              <a:defRPr>
                <a:solidFill>
                  <a:schemeClr val="tx1"/>
                </a:solidFill>
                <a:latin typeface="Frutiger 45 Light" pitchFamily="50" charset="0"/>
              </a:defRPr>
            </a:lvl2pPr>
            <a:lvl3pPr marL="1143000" indent="-228600">
              <a:defRPr>
                <a:solidFill>
                  <a:schemeClr val="tx1"/>
                </a:solidFill>
                <a:latin typeface="Frutiger 45 Light" pitchFamily="50" charset="0"/>
              </a:defRPr>
            </a:lvl3pPr>
            <a:lvl4pPr marL="1600200" indent="-228600">
              <a:defRPr>
                <a:solidFill>
                  <a:schemeClr val="tx1"/>
                </a:solidFill>
                <a:latin typeface="Frutiger 45 Light" pitchFamily="50" charset="0"/>
              </a:defRPr>
            </a:lvl4pPr>
            <a:lvl5pPr marL="2057400" indent="-228600">
              <a:defRPr>
                <a:solidFill>
                  <a:schemeClr val="tx1"/>
                </a:solidFill>
                <a:latin typeface="Frutiger 45 Light" pitchFamily="50" charset="0"/>
              </a:defRPr>
            </a:lvl5pPr>
            <a:lvl6pPr marL="2514600" indent="-228600" fontAlgn="base">
              <a:spcBef>
                <a:spcPct val="0"/>
              </a:spcBef>
              <a:spcAft>
                <a:spcPct val="0"/>
              </a:spcAft>
              <a:defRPr>
                <a:solidFill>
                  <a:schemeClr val="tx1"/>
                </a:solidFill>
                <a:latin typeface="Frutiger 45 Light" pitchFamily="50" charset="0"/>
              </a:defRPr>
            </a:lvl6pPr>
            <a:lvl7pPr marL="2971800" indent="-228600" fontAlgn="base">
              <a:spcBef>
                <a:spcPct val="0"/>
              </a:spcBef>
              <a:spcAft>
                <a:spcPct val="0"/>
              </a:spcAft>
              <a:defRPr>
                <a:solidFill>
                  <a:schemeClr val="tx1"/>
                </a:solidFill>
                <a:latin typeface="Frutiger 45 Light" pitchFamily="50" charset="0"/>
              </a:defRPr>
            </a:lvl7pPr>
            <a:lvl8pPr marL="3429000" indent="-228600" fontAlgn="base">
              <a:spcBef>
                <a:spcPct val="0"/>
              </a:spcBef>
              <a:spcAft>
                <a:spcPct val="0"/>
              </a:spcAft>
              <a:defRPr>
                <a:solidFill>
                  <a:schemeClr val="tx1"/>
                </a:solidFill>
                <a:latin typeface="Frutiger 45 Light" pitchFamily="50" charset="0"/>
              </a:defRPr>
            </a:lvl8pPr>
            <a:lvl9pPr marL="3886200" indent="-228600" fontAlgn="base">
              <a:spcBef>
                <a:spcPct val="0"/>
              </a:spcBef>
              <a:spcAft>
                <a:spcPct val="0"/>
              </a:spcAft>
              <a:defRPr>
                <a:solidFill>
                  <a:schemeClr val="tx1"/>
                </a:solidFill>
                <a:latin typeface="Frutiger 45 Light" pitchFamily="50" charset="0"/>
              </a:defRPr>
            </a:lvl9pPr>
          </a:lstStyle>
          <a:p>
            <a:pPr marL="0" marR="0" lvl="0" indent="0" algn="l" defTabSz="858623" rtl="0" eaLnBrk="1" fontAlgn="base" latinLnBrk="0" hangingPunct="1">
              <a:lnSpc>
                <a:spcPct val="100000"/>
              </a:lnSpc>
              <a:spcBef>
                <a:spcPct val="0"/>
              </a:spcBef>
              <a:spcAft>
                <a:spcPct val="0"/>
              </a:spcAft>
              <a:buClrTx/>
              <a:buSzTx/>
              <a:buFontTx/>
              <a:buNone/>
              <a:tabLst/>
              <a:defRPr/>
            </a:pPr>
            <a:r>
              <a:rPr kumimoji="0" lang="tr-TR" altLang="tr-TR" sz="1560" b="0" i="0" u="none" strike="noStrike" kern="1200" cap="none" spc="0" normalizeH="0" baseline="0" noProof="0">
                <a:ln>
                  <a:noFill/>
                </a:ln>
                <a:solidFill>
                  <a:prstClr val="white"/>
                </a:solidFill>
                <a:effectLst/>
                <a:uLnTx/>
                <a:uFillTx/>
                <a:ea typeface="ヒラギノ角ゴ Pro W3" pitchFamily="1" charset="-128"/>
                <a:cs typeface="+mn-cs"/>
              </a:rPr>
              <a:t>KOBİLER BÜYÜR TÜRKİYE BÜYÜR!</a:t>
            </a:r>
          </a:p>
        </p:txBody>
      </p:sp>
      <p:sp>
        <p:nvSpPr>
          <p:cNvPr id="2" name="Başlık 1"/>
          <p:cNvSpPr>
            <a:spLocks noGrp="1"/>
          </p:cNvSpPr>
          <p:nvPr>
            <p:ph type="ctrTitle"/>
          </p:nvPr>
        </p:nvSpPr>
        <p:spPr>
          <a:xfrm>
            <a:off x="354411" y="1885695"/>
            <a:ext cx="11618645" cy="786482"/>
          </a:xfrm>
        </p:spPr>
        <p:txBody>
          <a:bodyPr anchor="b">
            <a:normAutofit/>
          </a:bodyPr>
          <a:lstStyle>
            <a:lvl1pPr algn="r">
              <a:defRPr sz="3000">
                <a:latin typeface="Frutiger 95 Ultra Black" pitchFamily="50" charset="0"/>
              </a:defRPr>
            </a:lvl1pPr>
          </a:lstStyle>
          <a:p>
            <a:r>
              <a:rPr lang="tr-TR"/>
              <a:t>Asıl başlık stili için tıklatın</a:t>
            </a:r>
            <a:endParaRPr lang="tr-TR" dirty="0"/>
          </a:p>
        </p:txBody>
      </p:sp>
      <p:sp>
        <p:nvSpPr>
          <p:cNvPr id="3" name="Alt Başlık 2"/>
          <p:cNvSpPr>
            <a:spLocks noGrp="1"/>
          </p:cNvSpPr>
          <p:nvPr>
            <p:ph type="subTitle" idx="1"/>
          </p:nvPr>
        </p:nvSpPr>
        <p:spPr>
          <a:xfrm>
            <a:off x="355765" y="2637028"/>
            <a:ext cx="11617291" cy="432048"/>
          </a:xfrm>
        </p:spPr>
        <p:txBody>
          <a:bodyPr>
            <a:noAutofit/>
          </a:bodyPr>
          <a:lstStyle>
            <a:lvl1pPr marL="0" indent="0" algn="r">
              <a:buNone/>
              <a:defRPr sz="1560">
                <a:solidFill>
                  <a:schemeClr val="tx1">
                    <a:lumMod val="75000"/>
                    <a:lumOff val="25000"/>
                  </a:schemeClr>
                </a:solidFill>
                <a:latin typeface="Frutiger 45 Light" pitchFamily="50" charset="0"/>
              </a:defRPr>
            </a:lvl1pPr>
            <a:lvl2pPr marL="429265" indent="0" algn="ctr">
              <a:buNone/>
              <a:defRPr>
                <a:solidFill>
                  <a:schemeClr val="tx1">
                    <a:tint val="75000"/>
                  </a:schemeClr>
                </a:solidFill>
              </a:defRPr>
            </a:lvl2pPr>
            <a:lvl3pPr marL="858530" indent="0" algn="ctr">
              <a:buNone/>
              <a:defRPr>
                <a:solidFill>
                  <a:schemeClr val="tx1">
                    <a:tint val="75000"/>
                  </a:schemeClr>
                </a:solidFill>
              </a:defRPr>
            </a:lvl3pPr>
            <a:lvl4pPr marL="1287793" indent="0" algn="ctr">
              <a:buNone/>
              <a:defRPr>
                <a:solidFill>
                  <a:schemeClr val="tx1">
                    <a:tint val="75000"/>
                  </a:schemeClr>
                </a:solidFill>
              </a:defRPr>
            </a:lvl4pPr>
            <a:lvl5pPr marL="1717057" indent="0" algn="ctr">
              <a:buNone/>
              <a:defRPr>
                <a:solidFill>
                  <a:schemeClr val="tx1">
                    <a:tint val="75000"/>
                  </a:schemeClr>
                </a:solidFill>
              </a:defRPr>
            </a:lvl5pPr>
            <a:lvl6pPr marL="2146322" indent="0" algn="ctr">
              <a:buNone/>
              <a:defRPr>
                <a:solidFill>
                  <a:schemeClr val="tx1">
                    <a:tint val="75000"/>
                  </a:schemeClr>
                </a:solidFill>
              </a:defRPr>
            </a:lvl6pPr>
            <a:lvl7pPr marL="2575585" indent="0" algn="ctr">
              <a:buNone/>
              <a:defRPr>
                <a:solidFill>
                  <a:schemeClr val="tx1">
                    <a:tint val="75000"/>
                  </a:schemeClr>
                </a:solidFill>
              </a:defRPr>
            </a:lvl7pPr>
            <a:lvl8pPr marL="3004852" indent="0" algn="ctr">
              <a:buNone/>
              <a:defRPr>
                <a:solidFill>
                  <a:schemeClr val="tx1">
                    <a:tint val="75000"/>
                  </a:schemeClr>
                </a:solidFill>
              </a:defRPr>
            </a:lvl8pPr>
            <a:lvl9pPr marL="3434116" indent="0" algn="ctr">
              <a:buNone/>
              <a:defRPr>
                <a:solidFill>
                  <a:schemeClr val="tx1">
                    <a:tint val="75000"/>
                  </a:schemeClr>
                </a:solidFill>
              </a:defRPr>
            </a:lvl9pPr>
          </a:lstStyle>
          <a:p>
            <a:r>
              <a:rPr lang="tr-TR"/>
              <a:t>Asıl alt başlık stilini düzenlemek için tıklatın</a:t>
            </a:r>
            <a:endParaRPr lang="tr-TR" dirty="0"/>
          </a:p>
        </p:txBody>
      </p:sp>
      <p:sp>
        <p:nvSpPr>
          <p:cNvPr id="9" name="Metin Yer Tutucusu 8"/>
          <p:cNvSpPr>
            <a:spLocks noGrp="1"/>
          </p:cNvSpPr>
          <p:nvPr>
            <p:ph type="body" sz="quarter" idx="13"/>
          </p:nvPr>
        </p:nvSpPr>
        <p:spPr>
          <a:xfrm>
            <a:off x="6094024" y="3417625"/>
            <a:ext cx="5868152" cy="346322"/>
          </a:xfrm>
        </p:spPr>
        <p:txBody>
          <a:bodyPr>
            <a:noAutofit/>
          </a:bodyPr>
          <a:lstStyle>
            <a:lvl1pPr marL="0" indent="0" algn="r">
              <a:buNone/>
              <a:defRPr sz="1320">
                <a:solidFill>
                  <a:schemeClr val="bg1"/>
                </a:solidFill>
                <a:latin typeface="Frutiger 45 Light" pitchFamily="50" charset="0"/>
              </a:defRPr>
            </a:lvl1pPr>
          </a:lstStyle>
          <a:p>
            <a:pPr lvl="0"/>
            <a:r>
              <a:rPr lang="tr-TR"/>
              <a:t>Asıl metin stillerini düzenlemek için tıklatın</a:t>
            </a:r>
          </a:p>
        </p:txBody>
      </p:sp>
      <p:sp>
        <p:nvSpPr>
          <p:cNvPr id="11" name="Metin Yer Tutucusu 10"/>
          <p:cNvSpPr>
            <a:spLocks noGrp="1"/>
          </p:cNvSpPr>
          <p:nvPr>
            <p:ph type="body" sz="quarter" idx="14"/>
          </p:nvPr>
        </p:nvSpPr>
        <p:spPr>
          <a:xfrm>
            <a:off x="6096089" y="436688"/>
            <a:ext cx="5856728" cy="1036320"/>
          </a:xfrm>
        </p:spPr>
        <p:txBody>
          <a:bodyPr>
            <a:normAutofit/>
          </a:bodyPr>
          <a:lstStyle>
            <a:lvl1pPr marL="0" indent="0" algn="r">
              <a:lnSpc>
                <a:spcPct val="100000"/>
              </a:lnSpc>
              <a:spcBef>
                <a:spcPts val="0"/>
              </a:spcBef>
              <a:spcAft>
                <a:spcPts val="940"/>
              </a:spcAft>
              <a:buNone/>
              <a:defRPr sz="960">
                <a:latin typeface="Frutiger 45 Light" pitchFamily="50" charset="0"/>
              </a:defRPr>
            </a:lvl1pPr>
          </a:lstStyle>
          <a:p>
            <a:pPr lvl="0"/>
            <a:r>
              <a:rPr lang="tr-TR"/>
              <a:t>Asıl metin stillerini düzenlemek için tıklatın</a:t>
            </a:r>
          </a:p>
          <a:p>
            <a:pPr lvl="1"/>
            <a:r>
              <a:rPr lang="tr-TR"/>
              <a:t>İkinci düzey</a:t>
            </a:r>
          </a:p>
          <a:p>
            <a:pPr lvl="2"/>
            <a:r>
              <a:rPr lang="tr-TR"/>
              <a:t>Üçüncü düzey</a:t>
            </a:r>
          </a:p>
        </p:txBody>
      </p:sp>
    </p:spTree>
    <p:extLst>
      <p:ext uri="{BB962C8B-B14F-4D97-AF65-F5344CB8AC3E}">
        <p14:creationId xmlns:p14="http://schemas.microsoft.com/office/powerpoint/2010/main" val="2365035289"/>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11" y="273058"/>
            <a:ext cx="4011084" cy="1162049"/>
          </a:xfrm>
        </p:spPr>
        <p:txBody>
          <a:bodyPr anchor="b"/>
          <a:lstStyle>
            <a:lvl1pPr algn="l">
              <a:defRPr sz="2007" b="1"/>
            </a:lvl1pPr>
          </a:lstStyle>
          <a:p>
            <a:r>
              <a:rPr lang="tr-TR" smtClean="0"/>
              <a:t>Asıl başlık stili için tıklatın</a:t>
            </a:r>
            <a:endParaRPr lang="tr-TR"/>
          </a:p>
        </p:txBody>
      </p:sp>
      <p:sp>
        <p:nvSpPr>
          <p:cNvPr id="3" name="2 İçerik Yer Tutucusu"/>
          <p:cNvSpPr>
            <a:spLocks noGrp="1"/>
          </p:cNvSpPr>
          <p:nvPr>
            <p:ph idx="1"/>
          </p:nvPr>
        </p:nvSpPr>
        <p:spPr>
          <a:xfrm>
            <a:off x="4766736" y="273148"/>
            <a:ext cx="6815667" cy="5853113"/>
          </a:xfrm>
        </p:spPr>
        <p:txBody>
          <a:bodyPr/>
          <a:lstStyle>
            <a:lvl1pPr>
              <a:defRPr sz="3111"/>
            </a:lvl1pPr>
            <a:lvl2pPr>
              <a:defRPr sz="2810"/>
            </a:lvl2pPr>
            <a:lvl3pPr>
              <a:defRPr sz="2409"/>
            </a:lvl3pPr>
            <a:lvl4pPr>
              <a:defRPr sz="2007"/>
            </a:lvl4pPr>
            <a:lvl5pPr>
              <a:defRPr sz="2007"/>
            </a:lvl5pPr>
            <a:lvl6pPr>
              <a:defRPr sz="2007"/>
            </a:lvl6pPr>
            <a:lvl7pPr>
              <a:defRPr sz="2007"/>
            </a:lvl7pPr>
            <a:lvl8pPr>
              <a:defRPr sz="2007"/>
            </a:lvl8pPr>
            <a:lvl9pPr>
              <a:defRPr sz="200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11" y="1435113"/>
            <a:ext cx="4011084" cy="4691061"/>
          </a:xfrm>
        </p:spPr>
        <p:txBody>
          <a:bodyPr/>
          <a:lstStyle>
            <a:lvl1pPr marL="0" indent="0">
              <a:buNone/>
              <a:defRPr sz="1405"/>
            </a:lvl1pPr>
            <a:lvl2pPr marL="458747" indent="0">
              <a:buNone/>
              <a:defRPr sz="1204"/>
            </a:lvl2pPr>
            <a:lvl3pPr marL="917496" indent="0">
              <a:buNone/>
              <a:defRPr sz="1004"/>
            </a:lvl3pPr>
            <a:lvl4pPr marL="1376244" indent="0">
              <a:buNone/>
              <a:defRPr sz="903"/>
            </a:lvl4pPr>
            <a:lvl5pPr marL="1834991" indent="0">
              <a:buNone/>
              <a:defRPr sz="903"/>
            </a:lvl5pPr>
            <a:lvl6pPr marL="2293740" indent="0">
              <a:buNone/>
              <a:defRPr sz="903"/>
            </a:lvl6pPr>
            <a:lvl7pPr marL="2752490" indent="0">
              <a:buNone/>
              <a:defRPr sz="903"/>
            </a:lvl7pPr>
            <a:lvl8pPr marL="3211236" indent="0">
              <a:buNone/>
              <a:defRPr sz="903"/>
            </a:lvl8pPr>
            <a:lvl9pPr marL="3669984" indent="0">
              <a:buNone/>
              <a:defRPr sz="903"/>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917783" fontAlgn="base">
              <a:spcBef>
                <a:spcPct val="0"/>
              </a:spcBef>
              <a:spcAft>
                <a:spcPct val="0"/>
              </a:spcAft>
              <a:defRPr/>
            </a:pPr>
            <a:fld id="{F6C622A3-9281-45BF-956D-40870106AE35}"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6" name="5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7" name="6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87945677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80786"/>
            <a:ext cx="12202584"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9890" y="300991"/>
            <a:ext cx="122555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60640" y="675364"/>
            <a:ext cx="9615949" cy="1143000"/>
          </a:xfrm>
        </p:spPr>
        <p:txBody>
          <a:bodyPr anchor="b">
            <a:normAutofit/>
          </a:bodyPr>
          <a:lstStyle>
            <a:lvl1pPr algn="l">
              <a:defRPr sz="2280"/>
            </a:lvl1pPr>
          </a:lstStyle>
          <a:p>
            <a:r>
              <a:rPr lang="tr-TR"/>
              <a:t>Asıl başlık stili için tıklatın</a:t>
            </a:r>
            <a:endParaRPr lang="tr-TR" dirty="0"/>
          </a:p>
        </p:txBody>
      </p:sp>
      <p:sp>
        <p:nvSpPr>
          <p:cNvPr id="3" name="İçerik Yer Tutucusu 2"/>
          <p:cNvSpPr>
            <a:spLocks noGrp="1"/>
          </p:cNvSpPr>
          <p:nvPr>
            <p:ph idx="1"/>
          </p:nvPr>
        </p:nvSpPr>
        <p:spPr>
          <a:xfrm>
            <a:off x="1871531" y="1903152"/>
            <a:ext cx="9505056" cy="3989071"/>
          </a:xfrm>
        </p:spPr>
        <p:txBody>
          <a:bodyPr>
            <a:normAutofit/>
          </a:bodyPr>
          <a:lstStyle>
            <a:lvl1pPr>
              <a:defRPr sz="1680"/>
            </a:lvl1pPr>
            <a:lvl2pPr>
              <a:defRPr sz="1680"/>
            </a:lvl2pPr>
            <a:lvl3pPr>
              <a:defRPr sz="1680"/>
            </a:lvl3pPr>
            <a:lvl4pPr>
              <a:defRPr sz="1680"/>
            </a:lvl4pPr>
            <a:lvl5pPr>
              <a:defRPr sz="1680"/>
            </a:lvl5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endParaRPr lang="tr-TR" dirty="0"/>
          </a:p>
        </p:txBody>
      </p:sp>
      <p:sp>
        <p:nvSpPr>
          <p:cNvPr id="7" name="Veri Yer Tutucusu 3"/>
          <p:cNvSpPr>
            <a:spLocks noGrp="1"/>
          </p:cNvSpPr>
          <p:nvPr>
            <p:ph type="dt" sz="half" idx="10"/>
          </p:nvPr>
        </p:nvSpPr>
        <p:spPr>
          <a:xfrm>
            <a:off x="850900" y="6480815"/>
            <a:ext cx="2844800" cy="363856"/>
          </a:xfrm>
        </p:spPr>
        <p:txBody>
          <a:bodyPr/>
          <a:lstStyle>
            <a:lvl1pPr>
              <a:defRPr/>
            </a:lvl1pPr>
          </a:lstStyle>
          <a:p>
            <a:pPr defTabSz="1097280">
              <a:defRPr/>
            </a:pPr>
            <a:fld id="{8C2C23D2-0F53-4555-8CD9-ED8E71CEA951}"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8" name="Altbilgi Yer Tutucusu 4"/>
          <p:cNvSpPr>
            <a:spLocks noGrp="1"/>
          </p:cNvSpPr>
          <p:nvPr>
            <p:ph type="ftr" sz="quarter" idx="11"/>
          </p:nvPr>
        </p:nvSpPr>
        <p:spPr>
          <a:xfrm>
            <a:off x="4165600" y="6480815"/>
            <a:ext cx="3860800" cy="363856"/>
          </a:xfrm>
        </p:spPr>
        <p:txBody>
          <a:bodyPr/>
          <a:lstStyle>
            <a:lvl1pPr>
              <a:defRPr/>
            </a:lvl1pPr>
          </a:lstStyle>
          <a:p>
            <a:pPr defTabSz="1097280">
              <a:defRPr/>
            </a:pPr>
            <a:endParaRPr lang="en-CA">
              <a:solidFill>
                <a:prstClr val="black"/>
              </a:solidFill>
              <a:ea typeface="ヒラギノ角ゴ Pro W3" pitchFamily="1" charset="-128"/>
            </a:endParaRPr>
          </a:p>
        </p:txBody>
      </p:sp>
      <p:sp>
        <p:nvSpPr>
          <p:cNvPr id="9" name="Slayt Numarası Yer Tutucusu 5"/>
          <p:cNvSpPr>
            <a:spLocks noGrp="1"/>
          </p:cNvSpPr>
          <p:nvPr>
            <p:ph type="sldNum" sz="quarter" idx="12"/>
          </p:nvPr>
        </p:nvSpPr>
        <p:spPr>
          <a:xfrm>
            <a:off x="8496300" y="6480815"/>
            <a:ext cx="2844800" cy="363856"/>
          </a:xfrm>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1733305866"/>
      </p:ext>
    </p:extLst>
  </p:cSld>
  <p:clrMapOvr>
    <a:masterClrMapping/>
  </p:clrMapOvr>
  <p:transition spd="slow">
    <p:push dir="u"/>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12" y="0"/>
            <a:ext cx="121877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80786"/>
            <a:ext cx="12202584"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9890" y="300991"/>
            <a:ext cx="122555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60773" y="0"/>
            <a:ext cx="5031316" cy="6858000"/>
          </a:xfrm>
          <a:noFill/>
          <a:ln>
            <a:noFill/>
          </a:ln>
        </p:spPr>
        <p:txBody>
          <a:bodyPr rtlCol="0">
            <a:normAutofit/>
          </a:bodyPr>
          <a:lstStyle/>
          <a:p>
            <a:pPr lvl="0"/>
            <a:r>
              <a:rPr lang="tr-TR" noProof="0"/>
              <a:t>Resim eklemek için simgeyi tıklatın</a:t>
            </a:r>
          </a:p>
        </p:txBody>
      </p:sp>
      <p:sp>
        <p:nvSpPr>
          <p:cNvPr id="2" name="Başlık 1"/>
          <p:cNvSpPr>
            <a:spLocks noGrp="1"/>
          </p:cNvSpPr>
          <p:nvPr>
            <p:ph type="title"/>
          </p:nvPr>
        </p:nvSpPr>
        <p:spPr>
          <a:xfrm>
            <a:off x="153872" y="2219269"/>
            <a:ext cx="6825767" cy="1123325"/>
          </a:xfrm>
        </p:spPr>
        <p:txBody>
          <a:bodyPr anchor="b">
            <a:normAutofit/>
          </a:bodyPr>
          <a:lstStyle>
            <a:lvl1pPr algn="r">
              <a:defRPr sz="2280" b="1" cap="none" baseline="0">
                <a:latin typeface="Frutiger 95 Ultra Black" pitchFamily="50" charset="0"/>
              </a:defRPr>
            </a:lvl1pPr>
          </a:lstStyle>
          <a:p>
            <a:r>
              <a:rPr lang="tr-TR"/>
              <a:t>Asıl başlık stili için tıklatın</a:t>
            </a:r>
            <a:endParaRPr lang="tr-TR" dirty="0"/>
          </a:p>
        </p:txBody>
      </p:sp>
      <p:sp>
        <p:nvSpPr>
          <p:cNvPr id="3" name="Metin Yer Tutucusu 2"/>
          <p:cNvSpPr>
            <a:spLocks noGrp="1"/>
          </p:cNvSpPr>
          <p:nvPr>
            <p:ph type="body" idx="1"/>
          </p:nvPr>
        </p:nvSpPr>
        <p:spPr>
          <a:xfrm>
            <a:off x="143340" y="3285494"/>
            <a:ext cx="6836208" cy="1142033"/>
          </a:xfrm>
        </p:spPr>
        <p:txBody>
          <a:bodyPr>
            <a:normAutofit/>
          </a:bodyPr>
          <a:lstStyle>
            <a:lvl1pPr marL="0" indent="0" algn="r">
              <a:spcBef>
                <a:spcPts val="0"/>
              </a:spcBef>
              <a:spcAft>
                <a:spcPts val="0"/>
              </a:spcAft>
              <a:buNone/>
              <a:defRPr sz="1680">
                <a:solidFill>
                  <a:schemeClr val="tx1">
                    <a:lumMod val="75000"/>
                    <a:lumOff val="25000"/>
                  </a:schemeClr>
                </a:solidFill>
                <a:latin typeface="Frutiger 45 Light" pitchFamily="50" charset="0"/>
              </a:defRPr>
            </a:lvl1pPr>
            <a:lvl2pPr marL="429265" indent="0">
              <a:buNone/>
              <a:defRPr sz="1680">
                <a:solidFill>
                  <a:schemeClr val="tx1">
                    <a:tint val="75000"/>
                  </a:schemeClr>
                </a:solidFill>
              </a:defRPr>
            </a:lvl2pPr>
            <a:lvl3pPr marL="858530" indent="0">
              <a:buNone/>
              <a:defRPr sz="1560">
                <a:solidFill>
                  <a:schemeClr val="tx1">
                    <a:tint val="75000"/>
                  </a:schemeClr>
                </a:solidFill>
              </a:defRPr>
            </a:lvl3pPr>
            <a:lvl4pPr marL="1287793" indent="0">
              <a:buNone/>
              <a:defRPr sz="1320">
                <a:solidFill>
                  <a:schemeClr val="tx1">
                    <a:tint val="75000"/>
                  </a:schemeClr>
                </a:solidFill>
              </a:defRPr>
            </a:lvl4pPr>
            <a:lvl5pPr marL="1717057" indent="0">
              <a:buNone/>
              <a:defRPr sz="1320">
                <a:solidFill>
                  <a:schemeClr val="tx1">
                    <a:tint val="75000"/>
                  </a:schemeClr>
                </a:solidFill>
              </a:defRPr>
            </a:lvl5pPr>
            <a:lvl6pPr marL="2146322" indent="0">
              <a:buNone/>
              <a:defRPr sz="1320">
                <a:solidFill>
                  <a:schemeClr val="tx1">
                    <a:tint val="75000"/>
                  </a:schemeClr>
                </a:solidFill>
              </a:defRPr>
            </a:lvl6pPr>
            <a:lvl7pPr marL="2575585" indent="0">
              <a:buNone/>
              <a:defRPr sz="1320">
                <a:solidFill>
                  <a:schemeClr val="tx1">
                    <a:tint val="75000"/>
                  </a:schemeClr>
                </a:solidFill>
              </a:defRPr>
            </a:lvl7pPr>
            <a:lvl8pPr marL="3004852" indent="0">
              <a:buNone/>
              <a:defRPr sz="1320">
                <a:solidFill>
                  <a:schemeClr val="tx1">
                    <a:tint val="75000"/>
                  </a:schemeClr>
                </a:solidFill>
              </a:defRPr>
            </a:lvl8pPr>
            <a:lvl9pPr marL="3434116" indent="0">
              <a:buNone/>
              <a:defRPr sz="1320">
                <a:solidFill>
                  <a:schemeClr val="tx1">
                    <a:tint val="75000"/>
                  </a:schemeClr>
                </a:solidFill>
              </a:defRPr>
            </a:lvl9pPr>
          </a:lstStyle>
          <a:p>
            <a:pPr lvl="0"/>
            <a:r>
              <a:rPr lang="tr-TR"/>
              <a:t>Asıl metin stillerini düzenlemek için tıklatın</a:t>
            </a:r>
          </a:p>
        </p:txBody>
      </p:sp>
      <p:sp>
        <p:nvSpPr>
          <p:cNvPr id="8" name="Veri Yer Tutucusu 3"/>
          <p:cNvSpPr>
            <a:spLocks noGrp="1"/>
          </p:cNvSpPr>
          <p:nvPr>
            <p:ph type="dt" sz="half" idx="14"/>
          </p:nvPr>
        </p:nvSpPr>
        <p:spPr>
          <a:xfrm>
            <a:off x="850900" y="6480815"/>
            <a:ext cx="2844800" cy="363856"/>
          </a:xfrm>
        </p:spPr>
        <p:txBody>
          <a:bodyPr/>
          <a:lstStyle>
            <a:lvl1pPr>
              <a:defRPr/>
            </a:lvl1pPr>
          </a:lstStyle>
          <a:p>
            <a:pPr defTabSz="1097280">
              <a:defRPr/>
            </a:pPr>
            <a:fld id="{83D0DC3D-8AB3-44A0-B24F-109B9CB083EB}"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9" name="Altbilgi Yer Tutucusu 4"/>
          <p:cNvSpPr>
            <a:spLocks noGrp="1"/>
          </p:cNvSpPr>
          <p:nvPr>
            <p:ph type="ftr" sz="quarter" idx="15"/>
          </p:nvPr>
        </p:nvSpPr>
        <p:spPr>
          <a:xfrm>
            <a:off x="4165600" y="6480815"/>
            <a:ext cx="3860800" cy="363856"/>
          </a:xfrm>
        </p:spPr>
        <p:txBody>
          <a:bodyPr/>
          <a:lstStyle>
            <a:lvl1pPr>
              <a:defRPr/>
            </a:lvl1pPr>
          </a:lstStyle>
          <a:p>
            <a:pPr defTabSz="1097280">
              <a:defRPr/>
            </a:pPr>
            <a:endParaRPr lang="en-CA">
              <a:solidFill>
                <a:prstClr val="black"/>
              </a:solidFill>
              <a:ea typeface="ヒラギノ角ゴ Pro W3" pitchFamily="1" charset="-128"/>
            </a:endParaRPr>
          </a:p>
        </p:txBody>
      </p:sp>
      <p:sp>
        <p:nvSpPr>
          <p:cNvPr id="10" name="Slayt Numarası Yer Tutucusu 5"/>
          <p:cNvSpPr>
            <a:spLocks noGrp="1"/>
          </p:cNvSpPr>
          <p:nvPr>
            <p:ph type="sldNum" sz="quarter" idx="16"/>
          </p:nvPr>
        </p:nvSpPr>
        <p:spPr>
          <a:xfrm>
            <a:off x="8496300" y="6480815"/>
            <a:ext cx="2844800" cy="363856"/>
          </a:xfrm>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1880157073"/>
      </p:ext>
    </p:extLst>
  </p:cSld>
  <p:clrMapOvr>
    <a:masterClrMapping/>
  </p:clrMapOvr>
  <p:transition spd="slow">
    <p:push dir="u"/>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202584" cy="68580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71533" y="1873627"/>
            <a:ext cx="4704523" cy="4252536"/>
          </a:xfrm>
        </p:spPr>
        <p:txBody>
          <a:bodyPr>
            <a:normAutofit/>
          </a:bodyPr>
          <a:lstStyle>
            <a:lvl1pPr>
              <a:defRPr sz="1680"/>
            </a:lvl1pPr>
            <a:lvl2pPr>
              <a:defRPr sz="1680"/>
            </a:lvl2pPr>
            <a:lvl3pPr>
              <a:defRPr sz="1680"/>
            </a:lvl3pPr>
            <a:lvl4pPr>
              <a:defRPr sz="1680"/>
            </a:lvl4pPr>
            <a:lvl5pPr>
              <a:defRPr sz="1680"/>
            </a:lvl5pPr>
            <a:lvl6pPr>
              <a:defRPr sz="1680"/>
            </a:lvl6pPr>
            <a:lvl7pPr>
              <a:defRPr sz="1680"/>
            </a:lvl7pPr>
            <a:lvl8pPr>
              <a:defRPr sz="1680"/>
            </a:lvl8pPr>
            <a:lvl9pPr>
              <a:defRPr sz="168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endParaRPr lang="tr-TR" dirty="0"/>
          </a:p>
        </p:txBody>
      </p:sp>
      <p:sp>
        <p:nvSpPr>
          <p:cNvPr id="4" name="İçerik Yer Tutucusu 3"/>
          <p:cNvSpPr>
            <a:spLocks noGrp="1"/>
          </p:cNvSpPr>
          <p:nvPr>
            <p:ph sz="half" idx="2"/>
          </p:nvPr>
        </p:nvSpPr>
        <p:spPr>
          <a:xfrm>
            <a:off x="6768075" y="1873627"/>
            <a:ext cx="4608512" cy="4252536"/>
          </a:xfrm>
        </p:spPr>
        <p:txBody>
          <a:bodyPr>
            <a:normAutofit/>
          </a:bodyPr>
          <a:lstStyle>
            <a:lvl1pPr>
              <a:defRPr sz="1680"/>
            </a:lvl1pPr>
            <a:lvl2pPr>
              <a:defRPr sz="1680"/>
            </a:lvl2pPr>
            <a:lvl3pPr>
              <a:defRPr sz="1680"/>
            </a:lvl3pPr>
            <a:lvl4pPr>
              <a:defRPr sz="1680"/>
            </a:lvl4pPr>
            <a:lvl5pPr>
              <a:defRPr sz="1680"/>
            </a:lvl5pPr>
            <a:lvl6pPr>
              <a:defRPr sz="1680"/>
            </a:lvl6pPr>
            <a:lvl7pPr>
              <a:defRPr sz="1680"/>
            </a:lvl7pPr>
            <a:lvl8pPr>
              <a:defRPr sz="1680"/>
            </a:lvl8pPr>
            <a:lvl9pPr>
              <a:defRPr sz="168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endParaRPr lang="tr-TR" dirty="0"/>
          </a:p>
        </p:txBody>
      </p:sp>
      <p:sp>
        <p:nvSpPr>
          <p:cNvPr id="14" name="Başlık 1"/>
          <p:cNvSpPr>
            <a:spLocks noGrp="1"/>
          </p:cNvSpPr>
          <p:nvPr>
            <p:ph type="title"/>
          </p:nvPr>
        </p:nvSpPr>
        <p:spPr>
          <a:xfrm>
            <a:off x="1760640" y="675364"/>
            <a:ext cx="9615949" cy="1143000"/>
          </a:xfrm>
        </p:spPr>
        <p:txBody>
          <a:bodyPr anchor="b">
            <a:normAutofit/>
          </a:bodyPr>
          <a:lstStyle>
            <a:lvl1pPr algn="l">
              <a:defRPr sz="2280"/>
            </a:lvl1pPr>
          </a:lstStyle>
          <a:p>
            <a:r>
              <a:rPr lang="tr-TR"/>
              <a:t>Asıl başlık stili için tıklatın</a:t>
            </a:r>
            <a:endParaRPr lang="tr-TR" dirty="0"/>
          </a:p>
        </p:txBody>
      </p:sp>
      <p:sp>
        <p:nvSpPr>
          <p:cNvPr id="9" name="Veri Yer Tutucusu 3"/>
          <p:cNvSpPr>
            <a:spLocks noGrp="1"/>
          </p:cNvSpPr>
          <p:nvPr>
            <p:ph type="dt" sz="half" idx="10"/>
          </p:nvPr>
        </p:nvSpPr>
        <p:spPr>
          <a:xfrm>
            <a:off x="850900" y="6480815"/>
            <a:ext cx="2844800" cy="363856"/>
          </a:xfrm>
        </p:spPr>
        <p:txBody>
          <a:bodyPr/>
          <a:lstStyle>
            <a:lvl1pPr>
              <a:defRPr/>
            </a:lvl1pPr>
          </a:lstStyle>
          <a:p>
            <a:pPr defTabSz="1097280">
              <a:defRPr/>
            </a:pPr>
            <a:fld id="{6B370FF5-F169-4A5D-8444-78FA81E0D637}"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10" name="Altbilgi Yer Tutucusu 4"/>
          <p:cNvSpPr>
            <a:spLocks noGrp="1"/>
          </p:cNvSpPr>
          <p:nvPr>
            <p:ph type="ftr" sz="quarter" idx="11"/>
          </p:nvPr>
        </p:nvSpPr>
        <p:spPr>
          <a:xfrm>
            <a:off x="4165600" y="6480815"/>
            <a:ext cx="3860800" cy="363856"/>
          </a:xfrm>
        </p:spPr>
        <p:txBody>
          <a:bodyPr/>
          <a:lstStyle>
            <a:lvl1pPr>
              <a:defRPr/>
            </a:lvl1pPr>
          </a:lstStyle>
          <a:p>
            <a:pPr defTabSz="1097280">
              <a:defRPr/>
            </a:pPr>
            <a:endParaRPr lang="en-CA">
              <a:solidFill>
                <a:prstClr val="black"/>
              </a:solidFill>
              <a:ea typeface="ヒラギノ角ゴ Pro W3" pitchFamily="1" charset="-128"/>
            </a:endParaRPr>
          </a:p>
        </p:txBody>
      </p:sp>
      <p:sp>
        <p:nvSpPr>
          <p:cNvPr id="11" name="Slayt Numarası Yer Tutucusu 5"/>
          <p:cNvSpPr>
            <a:spLocks noGrp="1"/>
          </p:cNvSpPr>
          <p:nvPr>
            <p:ph type="sldNum" sz="quarter" idx="12"/>
          </p:nvPr>
        </p:nvSpPr>
        <p:spPr>
          <a:xfrm>
            <a:off x="8496300" y="6480815"/>
            <a:ext cx="2844800" cy="363856"/>
          </a:xfrm>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2389804396"/>
      </p:ext>
    </p:extLst>
  </p:cSld>
  <p:clrMapOvr>
    <a:masterClrMapping/>
  </p:clrMapOvr>
  <p:transition spd="slow">
    <p:push dir="u"/>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80786"/>
            <a:ext cx="12202584"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9890" y="300991"/>
            <a:ext cx="122555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60640" y="675364"/>
            <a:ext cx="9615949" cy="1143000"/>
          </a:xfrm>
        </p:spPr>
        <p:txBody>
          <a:bodyPr anchor="b">
            <a:normAutofit/>
          </a:bodyPr>
          <a:lstStyle>
            <a:lvl1pPr algn="l">
              <a:defRPr sz="2280"/>
            </a:lvl1pPr>
          </a:lstStyle>
          <a:p>
            <a:r>
              <a:rPr lang="tr-TR"/>
              <a:t>Asıl başlık stili için tıklatın</a:t>
            </a:r>
            <a:endParaRPr lang="tr-TR" dirty="0"/>
          </a:p>
        </p:txBody>
      </p:sp>
      <p:sp>
        <p:nvSpPr>
          <p:cNvPr id="6" name="Veri Yer Tutucusu 3"/>
          <p:cNvSpPr>
            <a:spLocks noGrp="1"/>
          </p:cNvSpPr>
          <p:nvPr>
            <p:ph type="dt" sz="half" idx="10"/>
          </p:nvPr>
        </p:nvSpPr>
        <p:spPr>
          <a:xfrm>
            <a:off x="850900" y="6480815"/>
            <a:ext cx="2844800" cy="363856"/>
          </a:xfrm>
        </p:spPr>
        <p:txBody>
          <a:bodyPr/>
          <a:lstStyle>
            <a:lvl1pPr>
              <a:defRPr/>
            </a:lvl1pPr>
          </a:lstStyle>
          <a:p>
            <a:pPr defTabSz="1097280">
              <a:defRPr/>
            </a:pPr>
            <a:fld id="{5323AFA5-8255-45DD-889A-2DF1BCD6259C}"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7" name="Altbilgi Yer Tutucusu 4"/>
          <p:cNvSpPr>
            <a:spLocks noGrp="1"/>
          </p:cNvSpPr>
          <p:nvPr>
            <p:ph type="ftr" sz="quarter" idx="11"/>
          </p:nvPr>
        </p:nvSpPr>
        <p:spPr>
          <a:xfrm>
            <a:off x="4165600" y="6480815"/>
            <a:ext cx="3860800" cy="363856"/>
          </a:xfrm>
        </p:spPr>
        <p:txBody>
          <a:bodyPr/>
          <a:lstStyle>
            <a:lvl1pPr>
              <a:defRPr/>
            </a:lvl1pPr>
          </a:lstStyle>
          <a:p>
            <a:pPr defTabSz="1097280">
              <a:defRPr/>
            </a:pPr>
            <a:endParaRPr lang="en-CA">
              <a:solidFill>
                <a:prstClr val="black"/>
              </a:solidFill>
              <a:ea typeface="ヒラギノ角ゴ Pro W3" pitchFamily="1" charset="-128"/>
            </a:endParaRPr>
          </a:p>
        </p:txBody>
      </p:sp>
      <p:sp>
        <p:nvSpPr>
          <p:cNvPr id="8" name="Slayt Numarası Yer Tutucusu 5"/>
          <p:cNvSpPr>
            <a:spLocks noGrp="1"/>
          </p:cNvSpPr>
          <p:nvPr>
            <p:ph type="sldNum" sz="quarter" idx="12"/>
          </p:nvPr>
        </p:nvSpPr>
        <p:spPr>
          <a:xfrm>
            <a:off x="8496300" y="6480815"/>
            <a:ext cx="2844800" cy="363856"/>
          </a:xfrm>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1620718937"/>
      </p:ext>
    </p:extLst>
  </p:cSld>
  <p:clrMapOvr>
    <a:masterClrMapping/>
  </p:clrMapOvr>
  <p:transition spd="slow">
    <p:push dir="u"/>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80786"/>
            <a:ext cx="12202584"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50900" y="6480815"/>
            <a:ext cx="2844800" cy="363856"/>
          </a:xfrm>
        </p:spPr>
        <p:txBody>
          <a:bodyPr/>
          <a:lstStyle>
            <a:lvl1pPr>
              <a:defRPr/>
            </a:lvl1pPr>
          </a:lstStyle>
          <a:p>
            <a:pPr defTabSz="1097280">
              <a:defRPr/>
            </a:pPr>
            <a:fld id="{9D798F09-829D-406C-93FD-51F85DE091E9}"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5" name="Altbilgi Yer Tutucusu 4"/>
          <p:cNvSpPr>
            <a:spLocks noGrp="1"/>
          </p:cNvSpPr>
          <p:nvPr>
            <p:ph type="ftr" sz="quarter" idx="11"/>
          </p:nvPr>
        </p:nvSpPr>
        <p:spPr>
          <a:xfrm>
            <a:off x="4165600" y="6480815"/>
            <a:ext cx="3860800" cy="363856"/>
          </a:xfrm>
        </p:spPr>
        <p:txBody>
          <a:bodyPr/>
          <a:lstStyle>
            <a:lvl1pPr>
              <a:defRPr/>
            </a:lvl1pPr>
          </a:lstStyle>
          <a:p>
            <a:pPr defTabSz="1097280">
              <a:defRPr/>
            </a:pPr>
            <a:endParaRPr lang="en-CA">
              <a:solidFill>
                <a:prstClr val="black"/>
              </a:solidFill>
              <a:ea typeface="ヒラギノ角ゴ Pro W3" pitchFamily="1" charset="-128"/>
            </a:endParaRPr>
          </a:p>
        </p:txBody>
      </p:sp>
      <p:sp>
        <p:nvSpPr>
          <p:cNvPr id="6" name="Slayt Numarası Yer Tutucusu 5"/>
          <p:cNvSpPr>
            <a:spLocks noGrp="1"/>
          </p:cNvSpPr>
          <p:nvPr>
            <p:ph type="sldNum" sz="quarter" idx="12"/>
          </p:nvPr>
        </p:nvSpPr>
        <p:spPr>
          <a:xfrm>
            <a:off x="8496300" y="6480815"/>
            <a:ext cx="2844800" cy="363856"/>
          </a:xfrm>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2046174333"/>
      </p:ext>
    </p:extLst>
  </p:cSld>
  <p:clrMapOvr>
    <a:masterClrMapping/>
  </p:clrMapOvr>
  <p:transition spd="slow">
    <p:push dir="u"/>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80786"/>
            <a:ext cx="12202584"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9717" y="4800655"/>
            <a:ext cx="7315200" cy="566738"/>
          </a:xfrm>
        </p:spPr>
        <p:txBody>
          <a:bodyPr anchor="b"/>
          <a:lstStyle>
            <a:lvl1pPr algn="l">
              <a:defRPr sz="1920" b="1"/>
            </a:lvl1pPr>
          </a:lstStyle>
          <a:p>
            <a:r>
              <a:rPr lang="tr-TR"/>
              <a:t>Asıl başlık stili için tıklatın</a:t>
            </a:r>
          </a:p>
        </p:txBody>
      </p:sp>
      <p:sp>
        <p:nvSpPr>
          <p:cNvPr id="3" name="Resim Yer Tutucusu 2"/>
          <p:cNvSpPr>
            <a:spLocks noGrp="1"/>
          </p:cNvSpPr>
          <p:nvPr>
            <p:ph type="pic" idx="1"/>
          </p:nvPr>
        </p:nvSpPr>
        <p:spPr>
          <a:xfrm>
            <a:off x="2389717" y="612775"/>
            <a:ext cx="7315200" cy="4114800"/>
          </a:xfrm>
        </p:spPr>
        <p:txBody>
          <a:bodyPr rtlCol="0">
            <a:normAutofit/>
          </a:bodyPr>
          <a:lstStyle>
            <a:lvl1pPr marL="0" indent="0">
              <a:buNone/>
              <a:defRPr sz="3000"/>
            </a:lvl1pPr>
            <a:lvl2pPr marL="429265" indent="0">
              <a:buNone/>
              <a:defRPr sz="2640"/>
            </a:lvl2pPr>
            <a:lvl3pPr marL="858530" indent="0">
              <a:buNone/>
              <a:defRPr sz="2280"/>
            </a:lvl3pPr>
            <a:lvl4pPr marL="1287793" indent="0">
              <a:buNone/>
              <a:defRPr sz="1920"/>
            </a:lvl4pPr>
            <a:lvl5pPr marL="1717057" indent="0">
              <a:buNone/>
              <a:defRPr sz="1920"/>
            </a:lvl5pPr>
            <a:lvl6pPr marL="2146322" indent="0">
              <a:buNone/>
              <a:defRPr sz="1920"/>
            </a:lvl6pPr>
            <a:lvl7pPr marL="2575585" indent="0">
              <a:buNone/>
              <a:defRPr sz="1920"/>
            </a:lvl7pPr>
            <a:lvl8pPr marL="3004852" indent="0">
              <a:buNone/>
              <a:defRPr sz="1920"/>
            </a:lvl8pPr>
            <a:lvl9pPr marL="3434116" indent="0">
              <a:buNone/>
              <a:defRPr sz="1920"/>
            </a:lvl9pPr>
          </a:lstStyle>
          <a:p>
            <a:pPr lvl="0"/>
            <a:r>
              <a:rPr lang="tr-TR" noProof="0"/>
              <a:t>Resim eklemek için simgeyi tıklatın</a:t>
            </a:r>
          </a:p>
        </p:txBody>
      </p:sp>
      <p:sp>
        <p:nvSpPr>
          <p:cNvPr id="4" name="Metin Yer Tutucusu 3"/>
          <p:cNvSpPr>
            <a:spLocks noGrp="1"/>
          </p:cNvSpPr>
          <p:nvPr>
            <p:ph type="body" sz="half" idx="2"/>
          </p:nvPr>
        </p:nvSpPr>
        <p:spPr>
          <a:xfrm>
            <a:off x="2543607" y="5463600"/>
            <a:ext cx="7161312" cy="804862"/>
          </a:xfrm>
        </p:spPr>
        <p:txBody>
          <a:bodyPr/>
          <a:lstStyle>
            <a:lvl1pPr marL="0" indent="0">
              <a:buNone/>
              <a:defRPr sz="1320"/>
            </a:lvl1pPr>
            <a:lvl2pPr marL="429265" indent="0">
              <a:buNone/>
              <a:defRPr sz="1080"/>
            </a:lvl2pPr>
            <a:lvl3pPr marL="858530" indent="0">
              <a:buNone/>
              <a:defRPr sz="960"/>
            </a:lvl3pPr>
            <a:lvl4pPr marL="1287793" indent="0">
              <a:buNone/>
              <a:defRPr sz="840"/>
            </a:lvl4pPr>
            <a:lvl5pPr marL="1717057" indent="0">
              <a:buNone/>
              <a:defRPr sz="840"/>
            </a:lvl5pPr>
            <a:lvl6pPr marL="2146322" indent="0">
              <a:buNone/>
              <a:defRPr sz="840"/>
            </a:lvl6pPr>
            <a:lvl7pPr marL="2575585" indent="0">
              <a:buNone/>
              <a:defRPr sz="840"/>
            </a:lvl7pPr>
            <a:lvl8pPr marL="3004852" indent="0">
              <a:buNone/>
              <a:defRPr sz="840"/>
            </a:lvl8pPr>
            <a:lvl9pPr marL="3434116" indent="0">
              <a:buNone/>
              <a:defRPr sz="840"/>
            </a:lvl9pPr>
          </a:lstStyle>
          <a:p>
            <a:pPr lvl="0"/>
            <a:r>
              <a:rPr lang="tr-TR"/>
              <a:t>Asıl metin stillerini düzenlemek için tıklatın</a:t>
            </a:r>
          </a:p>
        </p:txBody>
      </p:sp>
      <p:sp>
        <p:nvSpPr>
          <p:cNvPr id="7" name="Veri Yer Tutucusu 3"/>
          <p:cNvSpPr>
            <a:spLocks noGrp="1"/>
          </p:cNvSpPr>
          <p:nvPr>
            <p:ph type="dt" sz="half" idx="10"/>
          </p:nvPr>
        </p:nvSpPr>
        <p:spPr>
          <a:xfrm>
            <a:off x="850900" y="6467494"/>
            <a:ext cx="2844800" cy="365760"/>
          </a:xfrm>
        </p:spPr>
        <p:txBody>
          <a:bodyPr/>
          <a:lstStyle>
            <a:lvl1pPr>
              <a:defRPr/>
            </a:lvl1pPr>
          </a:lstStyle>
          <a:p>
            <a:pPr defTabSz="1097280">
              <a:defRPr/>
            </a:pPr>
            <a:fld id="{00C5CD64-6E44-4BAE-A567-E16C2093B565}"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8" name="Altbilgi Yer Tutucusu 4"/>
          <p:cNvSpPr>
            <a:spLocks noGrp="1"/>
          </p:cNvSpPr>
          <p:nvPr>
            <p:ph type="ftr" sz="quarter" idx="11"/>
          </p:nvPr>
        </p:nvSpPr>
        <p:spPr>
          <a:xfrm>
            <a:off x="4165600" y="6467494"/>
            <a:ext cx="3860800" cy="365760"/>
          </a:xfrm>
        </p:spPr>
        <p:txBody>
          <a:bodyPr/>
          <a:lstStyle>
            <a:lvl1pPr>
              <a:defRPr/>
            </a:lvl1pPr>
          </a:lstStyle>
          <a:p>
            <a:pPr defTabSz="1097280">
              <a:defRPr/>
            </a:pPr>
            <a:endParaRPr lang="en-CA">
              <a:solidFill>
                <a:prstClr val="black"/>
              </a:solidFill>
              <a:ea typeface="ヒラギノ角ゴ Pro W3" pitchFamily="1" charset="-128"/>
            </a:endParaRPr>
          </a:p>
        </p:txBody>
      </p:sp>
      <p:sp>
        <p:nvSpPr>
          <p:cNvPr id="9" name="Slayt Numarası Yer Tutucusu 5"/>
          <p:cNvSpPr>
            <a:spLocks noGrp="1"/>
          </p:cNvSpPr>
          <p:nvPr>
            <p:ph type="sldNum" sz="quarter" idx="12"/>
          </p:nvPr>
        </p:nvSpPr>
        <p:spPr>
          <a:xfrm>
            <a:off x="8496300" y="6467494"/>
            <a:ext cx="2844800" cy="365760"/>
          </a:xfrm>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3602096009"/>
      </p:ext>
    </p:extLst>
  </p:cSld>
  <p:clrMapOvr>
    <a:masterClrMapping/>
  </p:clrMapOvr>
  <p:transition spd="slow">
    <p:push dir="u"/>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640"/>
            <a:ext cx="10363200" cy="1470025"/>
          </a:xfrm>
        </p:spPr>
        <p:txBody>
          <a:bodyPr/>
          <a:lstStyle/>
          <a:p>
            <a:r>
              <a:rPr lang="tr-TR"/>
              <a:t>Asıl başlık stili için tıklatın</a:t>
            </a:r>
          </a:p>
        </p:txBody>
      </p:sp>
      <p:sp>
        <p:nvSpPr>
          <p:cNvPr id="3" name="2 Alt Başlık"/>
          <p:cNvSpPr>
            <a:spLocks noGrp="1"/>
          </p:cNvSpPr>
          <p:nvPr>
            <p:ph type="subTitle" idx="1"/>
          </p:nvPr>
        </p:nvSpPr>
        <p:spPr>
          <a:xfrm>
            <a:off x="1828803" y="3886234"/>
            <a:ext cx="8534400" cy="1752600"/>
          </a:xfrm>
        </p:spPr>
        <p:txBody>
          <a:bodyPr/>
          <a:lstStyle>
            <a:lvl1pPr marL="0" indent="0" algn="ctr">
              <a:buNone/>
              <a:defRPr/>
            </a:lvl1pPr>
            <a:lvl2pPr marL="429265" indent="0" algn="ctr">
              <a:buNone/>
              <a:defRPr/>
            </a:lvl2pPr>
            <a:lvl3pPr marL="858530" indent="0" algn="ctr">
              <a:buNone/>
              <a:defRPr/>
            </a:lvl3pPr>
            <a:lvl4pPr marL="1287793" indent="0" algn="ctr">
              <a:buNone/>
              <a:defRPr/>
            </a:lvl4pPr>
            <a:lvl5pPr marL="1717057" indent="0" algn="ctr">
              <a:buNone/>
              <a:defRPr/>
            </a:lvl5pPr>
            <a:lvl6pPr marL="2146322" indent="0" algn="ctr">
              <a:buNone/>
              <a:defRPr/>
            </a:lvl6pPr>
            <a:lvl7pPr marL="2575585" indent="0" algn="ctr">
              <a:buNone/>
              <a:defRPr/>
            </a:lvl7pPr>
            <a:lvl8pPr marL="3004852" indent="0" algn="ctr">
              <a:buNone/>
              <a:defRPr/>
            </a:lvl8pPr>
            <a:lvl9pPr marL="3434116" indent="0" algn="ctr">
              <a:buNone/>
              <a:defRPr/>
            </a:lvl9pPr>
          </a:lstStyle>
          <a:p>
            <a:r>
              <a:rPr lang="tr-TR"/>
              <a:t>Asıl alt başlık stilini düzenlemek için tıklatın</a:t>
            </a:r>
          </a:p>
        </p:txBody>
      </p:sp>
      <p:sp>
        <p:nvSpPr>
          <p:cNvPr id="4" name="Rectangle 4"/>
          <p:cNvSpPr>
            <a:spLocks noGrp="1" noChangeArrowheads="1"/>
          </p:cNvSpPr>
          <p:nvPr>
            <p:ph type="dt" sz="half" idx="10"/>
          </p:nvPr>
        </p:nvSpPr>
        <p:spPr/>
        <p:txBody>
          <a:bodyPr/>
          <a:lstStyle>
            <a:lvl1pPr>
              <a:defRPr/>
            </a:lvl1pPr>
          </a:lstStyle>
          <a:p>
            <a:pPr defTabSz="1097280">
              <a:defRPr/>
            </a:pPr>
            <a:fld id="{A7A2D7E5-DEC7-478E-956A-4B2ABBE4FEEF}"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5" name="Rectangle 5"/>
          <p:cNvSpPr>
            <a:spLocks noGrp="1" noChangeArrowheads="1"/>
          </p:cNvSpPr>
          <p:nvPr>
            <p:ph type="ftr" sz="quarter" idx="11"/>
          </p:nvPr>
        </p:nvSpPr>
        <p:spPr/>
        <p:txBody>
          <a:bodyPr/>
          <a:lstStyle>
            <a:lvl1pPr>
              <a:defRPr/>
            </a:lvl1pPr>
          </a:lstStyle>
          <a:p>
            <a:pPr defTabSz="1097280">
              <a:defRPr/>
            </a:pPr>
            <a:endParaRPr lang="en-CA">
              <a:solidFill>
                <a:prstClr val="black"/>
              </a:solidFill>
              <a:ea typeface="ヒラギノ角ゴ Pro W3" pitchFamily="1" charset="-128"/>
            </a:endParaRPr>
          </a:p>
        </p:txBody>
      </p:sp>
      <p:sp>
        <p:nvSpPr>
          <p:cNvPr id="6" name="Rectangle 6"/>
          <p:cNvSpPr>
            <a:spLocks noGrp="1" noChangeArrowheads="1"/>
          </p:cNvSpPr>
          <p:nvPr>
            <p:ph type="sldNum" sz="quarter" idx="12"/>
          </p:nvPr>
        </p:nvSpPr>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2085274579"/>
      </p:ext>
    </p:extLst>
  </p:cSld>
  <p:clrMapOvr>
    <a:masterClrMapping/>
  </p:clrMapOvr>
  <p:transition spd="slow">
    <p:push dir="u"/>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9603" y="274684"/>
            <a:ext cx="10972800" cy="1143000"/>
          </a:xfrm>
        </p:spPr>
        <p:txBody>
          <a:bodyPr/>
          <a:lstStyle/>
          <a:p>
            <a:r>
              <a:rPr lang="tr-TR"/>
              <a:t>Asıl başlık stili için tıklatın</a:t>
            </a:r>
          </a:p>
        </p:txBody>
      </p:sp>
      <p:sp>
        <p:nvSpPr>
          <p:cNvPr id="3" name="Metin Yer Tutucusu 2"/>
          <p:cNvSpPr>
            <a:spLocks noGrp="1"/>
          </p:cNvSpPr>
          <p:nvPr>
            <p:ph type="body" sz="half" idx="1"/>
          </p:nvPr>
        </p:nvSpPr>
        <p:spPr>
          <a:xfrm>
            <a:off x="609600" y="1600255"/>
            <a:ext cx="5384800" cy="4525963"/>
          </a:xfr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İçerik Yer Tutucusu 3"/>
          <p:cNvSpPr>
            <a:spLocks noGrp="1"/>
          </p:cNvSpPr>
          <p:nvPr>
            <p:ph sz="quarter" idx="2"/>
          </p:nvPr>
        </p:nvSpPr>
        <p:spPr>
          <a:xfrm>
            <a:off x="6197600" y="1600203"/>
            <a:ext cx="5384800" cy="2185988"/>
          </a:xfr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İçerik Yer Tutucusu 4"/>
          <p:cNvSpPr>
            <a:spLocks noGrp="1"/>
          </p:cNvSpPr>
          <p:nvPr>
            <p:ph sz="quarter" idx="3"/>
          </p:nvPr>
        </p:nvSpPr>
        <p:spPr>
          <a:xfrm>
            <a:off x="6197600" y="3938857"/>
            <a:ext cx="5384800" cy="2187575"/>
          </a:xfr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6" name="Veri Yer Tutucusu 3"/>
          <p:cNvSpPr>
            <a:spLocks noGrp="1"/>
          </p:cNvSpPr>
          <p:nvPr>
            <p:ph type="dt" sz="half" idx="10"/>
          </p:nvPr>
        </p:nvSpPr>
        <p:spPr/>
        <p:txBody>
          <a:bodyPr/>
          <a:lstStyle>
            <a:lvl1pPr>
              <a:defRPr/>
            </a:lvl1pPr>
          </a:lstStyle>
          <a:p>
            <a:pPr defTabSz="1097280">
              <a:defRPr/>
            </a:pPr>
            <a:fld id="{89353B18-ABC1-49D9-9F2D-3D7842A24D78}" type="datetime1">
              <a:rPr lang="en-US" smtClean="0">
                <a:solidFill>
                  <a:prstClr val="black"/>
                </a:solidFill>
                <a:ea typeface="ヒラギノ角ゴ Pro W3" pitchFamily="1" charset="-128"/>
              </a:rPr>
              <a:pPr defTabSz="1097280">
                <a:defRPr/>
              </a:pPr>
              <a:t>4/5/2021</a:t>
            </a:fld>
            <a:endParaRPr lang="en-CA">
              <a:solidFill>
                <a:prstClr val="black"/>
              </a:solidFill>
              <a:ea typeface="ヒラギノ角ゴ Pro W3" pitchFamily="1" charset="-128"/>
            </a:endParaRPr>
          </a:p>
        </p:txBody>
      </p:sp>
      <p:sp>
        <p:nvSpPr>
          <p:cNvPr id="7" name="Altbilgi Yer Tutucusu 4"/>
          <p:cNvSpPr>
            <a:spLocks noGrp="1"/>
          </p:cNvSpPr>
          <p:nvPr>
            <p:ph type="ftr" sz="quarter" idx="11"/>
          </p:nvPr>
        </p:nvSpPr>
        <p:spPr/>
        <p:txBody>
          <a:bodyPr/>
          <a:lstStyle>
            <a:lvl1pPr>
              <a:defRPr/>
            </a:lvl1pPr>
          </a:lstStyle>
          <a:p>
            <a:pPr defTabSz="1097280">
              <a:defRPr/>
            </a:pPr>
            <a:endParaRPr lang="en-CA">
              <a:solidFill>
                <a:prstClr val="black"/>
              </a:solidFill>
              <a:ea typeface="ヒラギノ角ゴ Pro W3" pitchFamily="1" charset="-128"/>
            </a:endParaRPr>
          </a:p>
        </p:txBody>
      </p:sp>
      <p:sp>
        <p:nvSpPr>
          <p:cNvPr id="8" name="Slayt Numarası Yer Tutucusu 5"/>
          <p:cNvSpPr>
            <a:spLocks noGrp="1"/>
          </p:cNvSpPr>
          <p:nvPr>
            <p:ph type="sldNum" sz="quarter" idx="12"/>
          </p:nvPr>
        </p:nvSpPr>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2857455859"/>
      </p:ext>
    </p:extLst>
  </p:cSld>
  <p:clrMapOvr>
    <a:masterClrMapping/>
  </p:clrMapOvr>
  <p:transition spd="slow">
    <p:push dir="u"/>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objOnly">
  <p:cSld name="İçerik">
    <p:spTree>
      <p:nvGrpSpPr>
        <p:cNvPr id="1" name=""/>
        <p:cNvGrpSpPr/>
        <p:nvPr/>
      </p:nvGrpSpPr>
      <p:grpSpPr>
        <a:xfrm>
          <a:off x="0" y="0"/>
          <a:ext cx="0" cy="0"/>
          <a:chOff x="0" y="0"/>
          <a:chExt cx="0" cy="0"/>
        </a:xfrm>
      </p:grpSpPr>
      <p:sp>
        <p:nvSpPr>
          <p:cNvPr id="2" name="İçerik Yer Tutucusu 1"/>
          <p:cNvSpPr>
            <a:spLocks noGrp="1"/>
          </p:cNvSpPr>
          <p:nvPr>
            <p:ph/>
          </p:nvPr>
        </p:nvSpPr>
        <p:spPr>
          <a:xfrm>
            <a:off x="609603" y="274916"/>
            <a:ext cx="10972800" cy="5851525"/>
          </a:xfr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3" name="Rectangle 4"/>
          <p:cNvSpPr>
            <a:spLocks noGrp="1" noChangeArrowheads="1"/>
          </p:cNvSpPr>
          <p:nvPr>
            <p:ph type="dt" sz="half" idx="10"/>
          </p:nvPr>
        </p:nvSpPr>
        <p:spPr/>
        <p:txBody>
          <a:bodyPr/>
          <a:lstStyle>
            <a:lvl1pPr>
              <a:defRPr>
                <a:solidFill>
                  <a:srgbClr val="000000"/>
                </a:solidFill>
              </a:defRPr>
            </a:lvl1pPr>
          </a:lstStyle>
          <a:p>
            <a:pPr defTabSz="1097280">
              <a:defRPr/>
            </a:pPr>
            <a:fld id="{F7BEC46F-86C0-42A8-B9AC-329040D3C060}" type="datetime1">
              <a:rPr lang="en-US" smtClean="0">
                <a:ea typeface="ヒラギノ角ゴ Pro W3" pitchFamily="1" charset="-128"/>
              </a:rPr>
              <a:pPr defTabSz="1097280">
                <a:defRPr/>
              </a:pPr>
              <a:t>4/5/2021</a:t>
            </a:fld>
            <a:endParaRPr lang="en-CA">
              <a:ea typeface="ヒラギノ角ゴ Pro W3" pitchFamily="1" charset="-128"/>
            </a:endParaRPr>
          </a:p>
        </p:txBody>
      </p:sp>
      <p:sp>
        <p:nvSpPr>
          <p:cNvPr id="4" name="Rectangle 5"/>
          <p:cNvSpPr>
            <a:spLocks noGrp="1" noChangeArrowheads="1"/>
          </p:cNvSpPr>
          <p:nvPr>
            <p:ph type="ftr" sz="quarter" idx="11"/>
          </p:nvPr>
        </p:nvSpPr>
        <p:spPr/>
        <p:txBody>
          <a:bodyPr/>
          <a:lstStyle>
            <a:lvl1pPr>
              <a:defRPr>
                <a:solidFill>
                  <a:srgbClr val="000000"/>
                </a:solidFill>
              </a:defRPr>
            </a:lvl1pPr>
          </a:lstStyle>
          <a:p>
            <a:pPr defTabSz="1097280">
              <a:defRPr/>
            </a:pPr>
            <a:endParaRPr lang="en-CA">
              <a:ea typeface="ヒラギノ角ゴ Pro W3" pitchFamily="1" charset="-128"/>
            </a:endParaRPr>
          </a:p>
        </p:txBody>
      </p:sp>
      <p:sp>
        <p:nvSpPr>
          <p:cNvPr id="5" name="Rectangle 6"/>
          <p:cNvSpPr>
            <a:spLocks noGrp="1" noChangeArrowheads="1"/>
          </p:cNvSpPr>
          <p:nvPr>
            <p:ph type="sldNum" sz="quarter" idx="12"/>
          </p:nvPr>
        </p:nvSpPr>
        <p:spPr/>
        <p:txBody>
          <a:bodyPr/>
          <a:lstStyle>
            <a:lvl1pPr>
              <a:defRPr/>
            </a:lvl1pPr>
          </a:lstStyle>
          <a:p>
            <a:pPr defTabSz="1097280">
              <a:defRPr/>
            </a:pPr>
            <a:fld id="{FF16F97C-866D-4F85-A1F6-DDF39F62CB6A}" type="slidenum">
              <a:rPr lang="en-CA" smtClean="0">
                <a:solidFill>
                  <a:prstClr val="black"/>
                </a:solidFill>
                <a:ea typeface="ヒラギノ角ゴ Pro W3" pitchFamily="1" charset="-128"/>
              </a:rPr>
              <a:pPr defTabSz="1097280">
                <a:defRPr/>
              </a:pPr>
              <a:t>‹#›</a:t>
            </a:fld>
            <a:endParaRPr lang="en-CA">
              <a:solidFill>
                <a:prstClr val="black"/>
              </a:solidFill>
              <a:ea typeface="ヒラギノ角ゴ Pro W3" pitchFamily="1" charset="-128"/>
            </a:endParaRPr>
          </a:p>
        </p:txBody>
      </p:sp>
    </p:spTree>
    <p:extLst>
      <p:ext uri="{BB962C8B-B14F-4D97-AF65-F5344CB8AC3E}">
        <p14:creationId xmlns:p14="http://schemas.microsoft.com/office/powerpoint/2010/main" val="2218825921"/>
      </p:ext>
    </p:extLst>
  </p:cSld>
  <p:clrMapOvr>
    <a:masterClrMapping/>
  </p:clrMapOvr>
  <p:transition spd="slow">
    <p:push dir="u"/>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535"/>
            <a:ext cx="10363200" cy="1470024"/>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3" y="3886238"/>
            <a:ext cx="8534400" cy="1752600"/>
          </a:xfrm>
        </p:spPr>
        <p:txBody>
          <a:bodyPr/>
          <a:lstStyle>
            <a:lvl1pPr marL="0" indent="0" algn="ctr">
              <a:buNone/>
              <a:defRPr>
                <a:solidFill>
                  <a:schemeClr val="tx1">
                    <a:tint val="75000"/>
                  </a:schemeClr>
                </a:solidFill>
              </a:defRPr>
            </a:lvl1pPr>
            <a:lvl2pPr marL="548402" indent="0" algn="ctr">
              <a:buNone/>
              <a:defRPr>
                <a:solidFill>
                  <a:schemeClr val="tx1">
                    <a:tint val="75000"/>
                  </a:schemeClr>
                </a:solidFill>
              </a:defRPr>
            </a:lvl2pPr>
            <a:lvl3pPr marL="1096807" indent="0" algn="ctr">
              <a:buNone/>
              <a:defRPr>
                <a:solidFill>
                  <a:schemeClr val="tx1">
                    <a:tint val="75000"/>
                  </a:schemeClr>
                </a:solidFill>
              </a:defRPr>
            </a:lvl3pPr>
            <a:lvl4pPr marL="1645211" indent="0" algn="ctr">
              <a:buNone/>
              <a:defRPr>
                <a:solidFill>
                  <a:schemeClr val="tx1">
                    <a:tint val="75000"/>
                  </a:schemeClr>
                </a:solidFill>
              </a:defRPr>
            </a:lvl4pPr>
            <a:lvl5pPr marL="2193613" indent="0" algn="ctr">
              <a:buNone/>
              <a:defRPr>
                <a:solidFill>
                  <a:schemeClr val="tx1">
                    <a:tint val="75000"/>
                  </a:schemeClr>
                </a:solidFill>
              </a:defRPr>
            </a:lvl5pPr>
            <a:lvl6pPr marL="2742016" indent="0" algn="ctr">
              <a:buNone/>
              <a:defRPr>
                <a:solidFill>
                  <a:schemeClr val="tx1">
                    <a:tint val="75000"/>
                  </a:schemeClr>
                </a:solidFill>
              </a:defRPr>
            </a:lvl6pPr>
            <a:lvl7pPr marL="3290422" indent="0" algn="ctr">
              <a:buNone/>
              <a:defRPr>
                <a:solidFill>
                  <a:schemeClr val="tx1">
                    <a:tint val="75000"/>
                  </a:schemeClr>
                </a:solidFill>
              </a:defRPr>
            </a:lvl7pPr>
            <a:lvl8pPr marL="3838824" indent="0" algn="ctr">
              <a:buNone/>
              <a:defRPr>
                <a:solidFill>
                  <a:schemeClr val="tx1">
                    <a:tint val="75000"/>
                  </a:schemeClr>
                </a:solidFill>
              </a:defRPr>
            </a:lvl8pPr>
            <a:lvl9pPr marL="4387226"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defTabSz="1097280" fontAlgn="base">
              <a:spcBef>
                <a:spcPct val="0"/>
              </a:spcBef>
              <a:spcAft>
                <a:spcPct val="0"/>
              </a:spcAft>
              <a:defRPr/>
            </a:pPr>
            <a:fld id="{B4F77EC4-FF73-46CF-B24F-D56B2AD87895}"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3446519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7" y="4800698"/>
            <a:ext cx="7315200" cy="566739"/>
          </a:xfrm>
        </p:spPr>
        <p:txBody>
          <a:bodyPr anchor="b"/>
          <a:lstStyle>
            <a:lvl1pPr algn="l">
              <a:defRPr sz="2007" b="1"/>
            </a:lvl1pPr>
          </a:lstStyle>
          <a:p>
            <a:r>
              <a:rPr lang="tr-TR" smtClean="0"/>
              <a:t>Asıl başlık stili için tıklatın</a:t>
            </a:r>
            <a:endParaRPr lang="tr-TR"/>
          </a:p>
        </p:txBody>
      </p:sp>
      <p:sp>
        <p:nvSpPr>
          <p:cNvPr id="3" name="2 Resim Yer Tutucusu"/>
          <p:cNvSpPr>
            <a:spLocks noGrp="1"/>
          </p:cNvSpPr>
          <p:nvPr>
            <p:ph type="pic" idx="1"/>
          </p:nvPr>
        </p:nvSpPr>
        <p:spPr>
          <a:xfrm>
            <a:off x="2389717" y="612774"/>
            <a:ext cx="7315200" cy="4114800"/>
          </a:xfrm>
        </p:spPr>
        <p:txBody>
          <a:bodyPr/>
          <a:lstStyle>
            <a:lvl1pPr marL="0" indent="0">
              <a:buNone/>
              <a:defRPr sz="3111"/>
            </a:lvl1pPr>
            <a:lvl2pPr marL="458747" indent="0">
              <a:buNone/>
              <a:defRPr sz="2810"/>
            </a:lvl2pPr>
            <a:lvl3pPr marL="917496" indent="0">
              <a:buNone/>
              <a:defRPr sz="2409"/>
            </a:lvl3pPr>
            <a:lvl4pPr marL="1376244" indent="0">
              <a:buNone/>
              <a:defRPr sz="2007"/>
            </a:lvl4pPr>
            <a:lvl5pPr marL="1834991" indent="0">
              <a:buNone/>
              <a:defRPr sz="2007"/>
            </a:lvl5pPr>
            <a:lvl6pPr marL="2293740" indent="0">
              <a:buNone/>
              <a:defRPr sz="2007"/>
            </a:lvl6pPr>
            <a:lvl7pPr marL="2752490" indent="0">
              <a:buNone/>
              <a:defRPr sz="2007"/>
            </a:lvl7pPr>
            <a:lvl8pPr marL="3211236" indent="0">
              <a:buNone/>
              <a:defRPr sz="2007"/>
            </a:lvl8pPr>
            <a:lvl9pPr marL="3669984" indent="0">
              <a:buNone/>
              <a:defRPr sz="2007"/>
            </a:lvl9pPr>
          </a:lstStyle>
          <a:p>
            <a:endParaRPr lang="tr-TR"/>
          </a:p>
        </p:txBody>
      </p:sp>
      <p:sp>
        <p:nvSpPr>
          <p:cNvPr id="4" name="3 Metin Yer Tutucusu"/>
          <p:cNvSpPr>
            <a:spLocks noGrp="1"/>
          </p:cNvSpPr>
          <p:nvPr>
            <p:ph type="body" sz="half" idx="2"/>
          </p:nvPr>
        </p:nvSpPr>
        <p:spPr>
          <a:xfrm>
            <a:off x="2389717" y="5367437"/>
            <a:ext cx="7315200" cy="804861"/>
          </a:xfrm>
        </p:spPr>
        <p:txBody>
          <a:bodyPr/>
          <a:lstStyle>
            <a:lvl1pPr marL="0" indent="0">
              <a:buNone/>
              <a:defRPr sz="1405"/>
            </a:lvl1pPr>
            <a:lvl2pPr marL="458747" indent="0">
              <a:buNone/>
              <a:defRPr sz="1204"/>
            </a:lvl2pPr>
            <a:lvl3pPr marL="917496" indent="0">
              <a:buNone/>
              <a:defRPr sz="1004"/>
            </a:lvl3pPr>
            <a:lvl4pPr marL="1376244" indent="0">
              <a:buNone/>
              <a:defRPr sz="903"/>
            </a:lvl4pPr>
            <a:lvl5pPr marL="1834991" indent="0">
              <a:buNone/>
              <a:defRPr sz="903"/>
            </a:lvl5pPr>
            <a:lvl6pPr marL="2293740" indent="0">
              <a:buNone/>
              <a:defRPr sz="903"/>
            </a:lvl6pPr>
            <a:lvl7pPr marL="2752490" indent="0">
              <a:buNone/>
              <a:defRPr sz="903"/>
            </a:lvl7pPr>
            <a:lvl8pPr marL="3211236" indent="0">
              <a:buNone/>
              <a:defRPr sz="903"/>
            </a:lvl8pPr>
            <a:lvl9pPr marL="3669984" indent="0">
              <a:buNone/>
              <a:defRPr sz="903"/>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917783" fontAlgn="base">
              <a:spcBef>
                <a:spcPct val="0"/>
              </a:spcBef>
              <a:spcAft>
                <a:spcPct val="0"/>
              </a:spcAft>
              <a:defRPr/>
            </a:pPr>
            <a:fld id="{1334D00E-DBB9-459A-A80B-797B3FA881D9}"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6" name="5 Altbilgi Yer Tutucusu"/>
          <p:cNvSpPr>
            <a:spLocks noGrp="1"/>
          </p:cNvSpPr>
          <p:nvPr>
            <p:ph type="ftr" sz="quarter" idx="11"/>
          </p:nvPr>
        </p:nvSpPr>
        <p:spPr/>
        <p:txBody>
          <a:body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7" name="6 Slayt Numarası Yer Tutucusu"/>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382851697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1097280" fontAlgn="base">
              <a:spcBef>
                <a:spcPct val="0"/>
              </a:spcBef>
              <a:spcAft>
                <a:spcPct val="0"/>
              </a:spcAft>
              <a:defRPr/>
            </a:pPr>
            <a:fld id="{76BC7D03-02B6-4205-9807-874889520E8C}"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8704653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79"/>
            <a:ext cx="10363200" cy="1362074"/>
          </a:xfrm>
        </p:spPr>
        <p:txBody>
          <a:bodyPr anchor="t"/>
          <a:lstStyle>
            <a:lvl1pPr algn="l">
              <a:defRPr sz="48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807"/>
            <a:ext cx="10363200" cy="1500187"/>
          </a:xfrm>
        </p:spPr>
        <p:txBody>
          <a:bodyPr anchor="b"/>
          <a:lstStyle>
            <a:lvl1pPr marL="0" indent="0">
              <a:buNone/>
              <a:defRPr sz="2400">
                <a:solidFill>
                  <a:schemeClr val="tx1">
                    <a:tint val="75000"/>
                  </a:schemeClr>
                </a:solidFill>
              </a:defRPr>
            </a:lvl1pPr>
            <a:lvl2pPr marL="548402" indent="0">
              <a:buNone/>
              <a:defRPr sz="2160">
                <a:solidFill>
                  <a:schemeClr val="tx1">
                    <a:tint val="75000"/>
                  </a:schemeClr>
                </a:solidFill>
              </a:defRPr>
            </a:lvl2pPr>
            <a:lvl3pPr marL="1096807" indent="0">
              <a:buNone/>
              <a:defRPr sz="1920">
                <a:solidFill>
                  <a:schemeClr val="tx1">
                    <a:tint val="75000"/>
                  </a:schemeClr>
                </a:solidFill>
              </a:defRPr>
            </a:lvl3pPr>
            <a:lvl4pPr marL="1645211" indent="0">
              <a:buNone/>
              <a:defRPr sz="1680">
                <a:solidFill>
                  <a:schemeClr val="tx1">
                    <a:tint val="75000"/>
                  </a:schemeClr>
                </a:solidFill>
              </a:defRPr>
            </a:lvl4pPr>
            <a:lvl5pPr marL="2193613" indent="0">
              <a:buNone/>
              <a:defRPr sz="1680">
                <a:solidFill>
                  <a:schemeClr val="tx1">
                    <a:tint val="75000"/>
                  </a:schemeClr>
                </a:solidFill>
              </a:defRPr>
            </a:lvl5pPr>
            <a:lvl6pPr marL="2742016" indent="0">
              <a:buNone/>
              <a:defRPr sz="1680">
                <a:solidFill>
                  <a:schemeClr val="tx1">
                    <a:tint val="75000"/>
                  </a:schemeClr>
                </a:solidFill>
              </a:defRPr>
            </a:lvl6pPr>
            <a:lvl7pPr marL="3290422" indent="0">
              <a:buNone/>
              <a:defRPr sz="1680">
                <a:solidFill>
                  <a:schemeClr val="tx1">
                    <a:tint val="75000"/>
                  </a:schemeClr>
                </a:solidFill>
              </a:defRPr>
            </a:lvl7pPr>
            <a:lvl8pPr marL="3838824" indent="0">
              <a:buNone/>
              <a:defRPr sz="1680">
                <a:solidFill>
                  <a:schemeClr val="tx1">
                    <a:tint val="75000"/>
                  </a:schemeClr>
                </a:solidFill>
              </a:defRPr>
            </a:lvl8pPr>
            <a:lvl9pPr marL="4387226" indent="0">
              <a:buNone/>
              <a:defRPr sz="168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defTabSz="1097280" fontAlgn="base">
              <a:spcBef>
                <a:spcPct val="0"/>
              </a:spcBef>
              <a:spcAft>
                <a:spcPct val="0"/>
              </a:spcAft>
              <a:defRPr/>
            </a:pPr>
            <a:fld id="{8514C627-5D4C-4FE3-999A-5A56CAABDB75}"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314091128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600294"/>
            <a:ext cx="5384800" cy="4525963"/>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600294"/>
            <a:ext cx="5384800" cy="4525963"/>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defTabSz="1097280" fontAlgn="base">
              <a:spcBef>
                <a:spcPct val="0"/>
              </a:spcBef>
              <a:spcAft>
                <a:spcPct val="0"/>
              </a:spcAft>
              <a:defRPr/>
            </a:pPr>
            <a:fld id="{41DD0C76-A3BD-4E0D-9D78-8CB38F38FEDC}"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6" name="5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7" name="6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6891096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600" y="1535257"/>
            <a:ext cx="5386917" cy="639763"/>
          </a:xfrm>
        </p:spPr>
        <p:txBody>
          <a:bodyPr anchor="b"/>
          <a:lstStyle>
            <a:lvl1pPr marL="0" indent="0">
              <a:buNone/>
              <a:defRPr sz="2880" b="1"/>
            </a:lvl1pPr>
            <a:lvl2pPr marL="548402" indent="0">
              <a:buNone/>
              <a:defRPr sz="2400" b="1"/>
            </a:lvl2pPr>
            <a:lvl3pPr marL="1096807" indent="0">
              <a:buNone/>
              <a:defRPr sz="2160" b="1"/>
            </a:lvl3pPr>
            <a:lvl4pPr marL="1645211" indent="0">
              <a:buNone/>
              <a:defRPr sz="1920" b="1"/>
            </a:lvl4pPr>
            <a:lvl5pPr marL="2193613" indent="0">
              <a:buNone/>
              <a:defRPr sz="1920" b="1"/>
            </a:lvl5pPr>
            <a:lvl6pPr marL="2742016" indent="0">
              <a:buNone/>
              <a:defRPr sz="1920" b="1"/>
            </a:lvl6pPr>
            <a:lvl7pPr marL="3290422" indent="0">
              <a:buNone/>
              <a:defRPr sz="1920" b="1"/>
            </a:lvl7pPr>
            <a:lvl8pPr marL="3838824" indent="0">
              <a:buNone/>
              <a:defRPr sz="1920" b="1"/>
            </a:lvl8pPr>
            <a:lvl9pPr marL="4387226" indent="0">
              <a:buNone/>
              <a:defRPr sz="1920" b="1"/>
            </a:lvl9pPr>
          </a:lstStyle>
          <a:p>
            <a:pPr lvl="0"/>
            <a:r>
              <a:rPr lang="tr-TR" smtClean="0"/>
              <a:t>Asıl metin stillerini düzenlemek için tıklatın</a:t>
            </a:r>
          </a:p>
        </p:txBody>
      </p:sp>
      <p:sp>
        <p:nvSpPr>
          <p:cNvPr id="4" name="3 İçerik Yer Tutucusu"/>
          <p:cNvSpPr>
            <a:spLocks noGrp="1"/>
          </p:cNvSpPr>
          <p:nvPr>
            <p:ph sz="half" idx="2"/>
          </p:nvPr>
        </p:nvSpPr>
        <p:spPr>
          <a:xfrm>
            <a:off x="609600" y="2174878"/>
            <a:ext cx="5386917" cy="3951288"/>
          </a:xfrm>
        </p:spPr>
        <p:txBody>
          <a:bodyPr/>
          <a:lstStyle>
            <a:lvl1pPr>
              <a:defRPr sz="2880"/>
            </a:lvl1pPr>
            <a:lvl2pPr>
              <a:defRPr sz="2400"/>
            </a:lvl2pPr>
            <a:lvl3pPr>
              <a:defRPr sz="2160"/>
            </a:lvl3pPr>
            <a:lvl4pPr>
              <a:defRPr sz="1920"/>
            </a:lvl4pPr>
            <a:lvl5pPr>
              <a:defRPr sz="1920"/>
            </a:lvl5pPr>
            <a:lvl6pPr>
              <a:defRPr sz="1920"/>
            </a:lvl6pPr>
            <a:lvl7pPr>
              <a:defRPr sz="1920"/>
            </a:lvl7pPr>
            <a:lvl8pPr>
              <a:defRPr sz="1920"/>
            </a:lvl8pPr>
            <a:lvl9pPr>
              <a:defRPr sz="192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84" y="1535257"/>
            <a:ext cx="5389033" cy="639763"/>
          </a:xfrm>
        </p:spPr>
        <p:txBody>
          <a:bodyPr anchor="b"/>
          <a:lstStyle>
            <a:lvl1pPr marL="0" indent="0">
              <a:buNone/>
              <a:defRPr sz="2880" b="1"/>
            </a:lvl1pPr>
            <a:lvl2pPr marL="548402" indent="0">
              <a:buNone/>
              <a:defRPr sz="2400" b="1"/>
            </a:lvl2pPr>
            <a:lvl3pPr marL="1096807" indent="0">
              <a:buNone/>
              <a:defRPr sz="2160" b="1"/>
            </a:lvl3pPr>
            <a:lvl4pPr marL="1645211" indent="0">
              <a:buNone/>
              <a:defRPr sz="1920" b="1"/>
            </a:lvl4pPr>
            <a:lvl5pPr marL="2193613" indent="0">
              <a:buNone/>
              <a:defRPr sz="1920" b="1"/>
            </a:lvl5pPr>
            <a:lvl6pPr marL="2742016" indent="0">
              <a:buNone/>
              <a:defRPr sz="1920" b="1"/>
            </a:lvl6pPr>
            <a:lvl7pPr marL="3290422" indent="0">
              <a:buNone/>
              <a:defRPr sz="1920" b="1"/>
            </a:lvl7pPr>
            <a:lvl8pPr marL="3838824" indent="0">
              <a:buNone/>
              <a:defRPr sz="1920" b="1"/>
            </a:lvl8pPr>
            <a:lvl9pPr marL="4387226" indent="0">
              <a:buNone/>
              <a:defRPr sz="192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84" y="2174878"/>
            <a:ext cx="5389033" cy="3951288"/>
          </a:xfrm>
        </p:spPr>
        <p:txBody>
          <a:bodyPr/>
          <a:lstStyle>
            <a:lvl1pPr>
              <a:defRPr sz="2880"/>
            </a:lvl1pPr>
            <a:lvl2pPr>
              <a:defRPr sz="2400"/>
            </a:lvl2pPr>
            <a:lvl3pPr>
              <a:defRPr sz="2160"/>
            </a:lvl3pPr>
            <a:lvl4pPr>
              <a:defRPr sz="1920"/>
            </a:lvl4pPr>
            <a:lvl5pPr>
              <a:defRPr sz="1920"/>
            </a:lvl5pPr>
            <a:lvl6pPr>
              <a:defRPr sz="1920"/>
            </a:lvl6pPr>
            <a:lvl7pPr>
              <a:defRPr sz="1920"/>
            </a:lvl7pPr>
            <a:lvl8pPr>
              <a:defRPr sz="1920"/>
            </a:lvl8pPr>
            <a:lvl9pPr>
              <a:defRPr sz="192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defTabSz="1097280" fontAlgn="base">
              <a:spcBef>
                <a:spcPct val="0"/>
              </a:spcBef>
              <a:spcAft>
                <a:spcPct val="0"/>
              </a:spcAft>
              <a:defRPr/>
            </a:pPr>
            <a:fld id="{1E7DA753-7903-4964-939B-3A5439581A62}"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8" name="7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9" name="8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6991860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defTabSz="1097280" fontAlgn="base">
              <a:spcBef>
                <a:spcPct val="0"/>
              </a:spcBef>
              <a:spcAft>
                <a:spcPct val="0"/>
              </a:spcAft>
              <a:defRPr/>
            </a:pPr>
            <a:fld id="{8CBBC204-964A-4811-94B5-3295D9845D23}"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4" name="3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5" name="4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311883236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defTabSz="1097280" fontAlgn="base">
              <a:spcBef>
                <a:spcPct val="0"/>
              </a:spcBef>
              <a:spcAft>
                <a:spcPct val="0"/>
              </a:spcAft>
              <a:defRPr/>
            </a:pPr>
            <a:fld id="{198896F9-B123-487D-8556-6E4A2E73EB55}"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3" name="2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4" name="3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5431293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15" y="273067"/>
            <a:ext cx="4011084" cy="1162049"/>
          </a:xfrm>
        </p:spPr>
        <p:txBody>
          <a:bodyPr anchor="b"/>
          <a:lstStyle>
            <a:lvl1pPr algn="l">
              <a:defRPr sz="2400" b="1"/>
            </a:lvl1pPr>
          </a:lstStyle>
          <a:p>
            <a:r>
              <a:rPr lang="tr-TR" smtClean="0"/>
              <a:t>Asıl başlık stili için tıklatın</a:t>
            </a:r>
            <a:endParaRPr lang="tr-TR"/>
          </a:p>
        </p:txBody>
      </p:sp>
      <p:sp>
        <p:nvSpPr>
          <p:cNvPr id="3" name="2 İçerik Yer Tutucusu"/>
          <p:cNvSpPr>
            <a:spLocks noGrp="1"/>
          </p:cNvSpPr>
          <p:nvPr>
            <p:ph idx="1"/>
          </p:nvPr>
        </p:nvSpPr>
        <p:spPr>
          <a:xfrm>
            <a:off x="4766736" y="273152"/>
            <a:ext cx="6815667" cy="5853113"/>
          </a:xfrm>
        </p:spPr>
        <p:txBody>
          <a:bodyPr/>
          <a:lstStyle>
            <a:lvl1pPr>
              <a:defRPr sz="372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15" y="1435113"/>
            <a:ext cx="4011084" cy="4691062"/>
          </a:xfrm>
        </p:spPr>
        <p:txBody>
          <a:bodyPr/>
          <a:lstStyle>
            <a:lvl1pPr marL="0" indent="0">
              <a:buNone/>
              <a:defRPr sz="1680"/>
            </a:lvl1pPr>
            <a:lvl2pPr marL="548402" indent="0">
              <a:buNone/>
              <a:defRPr sz="1440"/>
            </a:lvl2pPr>
            <a:lvl3pPr marL="1096807" indent="0">
              <a:buNone/>
              <a:defRPr sz="1200"/>
            </a:lvl3pPr>
            <a:lvl4pPr marL="1645211" indent="0">
              <a:buNone/>
              <a:defRPr sz="1080"/>
            </a:lvl4pPr>
            <a:lvl5pPr marL="2193613" indent="0">
              <a:buNone/>
              <a:defRPr sz="1080"/>
            </a:lvl5pPr>
            <a:lvl6pPr marL="2742016" indent="0">
              <a:buNone/>
              <a:defRPr sz="1080"/>
            </a:lvl6pPr>
            <a:lvl7pPr marL="3290422" indent="0">
              <a:buNone/>
              <a:defRPr sz="1080"/>
            </a:lvl7pPr>
            <a:lvl8pPr marL="3838824" indent="0">
              <a:buNone/>
              <a:defRPr sz="1080"/>
            </a:lvl8pPr>
            <a:lvl9pPr marL="4387226" indent="0">
              <a:buNone/>
              <a:defRPr sz="108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1097280" fontAlgn="base">
              <a:spcBef>
                <a:spcPct val="0"/>
              </a:spcBef>
              <a:spcAft>
                <a:spcPct val="0"/>
              </a:spcAft>
              <a:defRPr/>
            </a:pPr>
            <a:fld id="{6BEFD2AF-29DC-4388-8D39-7F8DC1055BB5}"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6" name="5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7" name="6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207133198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7" y="4800700"/>
            <a:ext cx="7315200" cy="566738"/>
          </a:xfrm>
        </p:spPr>
        <p:txBody>
          <a:bodyPr anchor="b"/>
          <a:lstStyle>
            <a:lvl1pPr algn="l">
              <a:defRPr sz="2400" b="1"/>
            </a:lvl1pPr>
          </a:lstStyle>
          <a:p>
            <a:r>
              <a:rPr lang="tr-TR" smtClean="0"/>
              <a:t>Asıl başlık stili için tıklatın</a:t>
            </a:r>
            <a:endParaRPr lang="tr-TR"/>
          </a:p>
        </p:txBody>
      </p:sp>
      <p:sp>
        <p:nvSpPr>
          <p:cNvPr id="3" name="2 Resim Yer Tutucusu"/>
          <p:cNvSpPr>
            <a:spLocks noGrp="1"/>
          </p:cNvSpPr>
          <p:nvPr>
            <p:ph type="pic" idx="1"/>
          </p:nvPr>
        </p:nvSpPr>
        <p:spPr>
          <a:xfrm>
            <a:off x="2389717" y="612775"/>
            <a:ext cx="7315200" cy="4114800"/>
          </a:xfrm>
        </p:spPr>
        <p:txBody>
          <a:bodyPr/>
          <a:lstStyle>
            <a:lvl1pPr marL="0" indent="0">
              <a:buNone/>
              <a:defRPr sz="3720"/>
            </a:lvl1pPr>
            <a:lvl2pPr marL="548402" indent="0">
              <a:buNone/>
              <a:defRPr sz="3360"/>
            </a:lvl2pPr>
            <a:lvl3pPr marL="1096807" indent="0">
              <a:buNone/>
              <a:defRPr sz="2880"/>
            </a:lvl3pPr>
            <a:lvl4pPr marL="1645211" indent="0">
              <a:buNone/>
              <a:defRPr sz="2400"/>
            </a:lvl4pPr>
            <a:lvl5pPr marL="2193613" indent="0">
              <a:buNone/>
              <a:defRPr sz="2400"/>
            </a:lvl5pPr>
            <a:lvl6pPr marL="2742016" indent="0">
              <a:buNone/>
              <a:defRPr sz="2400"/>
            </a:lvl6pPr>
            <a:lvl7pPr marL="3290422" indent="0">
              <a:buNone/>
              <a:defRPr sz="2400"/>
            </a:lvl7pPr>
            <a:lvl8pPr marL="3838824" indent="0">
              <a:buNone/>
              <a:defRPr sz="2400"/>
            </a:lvl8pPr>
            <a:lvl9pPr marL="4387226" indent="0">
              <a:buNone/>
              <a:defRPr sz="2400"/>
            </a:lvl9pPr>
          </a:lstStyle>
          <a:p>
            <a:endParaRPr lang="tr-TR"/>
          </a:p>
        </p:txBody>
      </p:sp>
      <p:sp>
        <p:nvSpPr>
          <p:cNvPr id="4" name="3 Metin Yer Tutucusu"/>
          <p:cNvSpPr>
            <a:spLocks noGrp="1"/>
          </p:cNvSpPr>
          <p:nvPr>
            <p:ph type="body" sz="half" idx="2"/>
          </p:nvPr>
        </p:nvSpPr>
        <p:spPr>
          <a:xfrm>
            <a:off x="2389717" y="5367437"/>
            <a:ext cx="7315200" cy="804862"/>
          </a:xfrm>
        </p:spPr>
        <p:txBody>
          <a:bodyPr/>
          <a:lstStyle>
            <a:lvl1pPr marL="0" indent="0">
              <a:buNone/>
              <a:defRPr sz="1680"/>
            </a:lvl1pPr>
            <a:lvl2pPr marL="548402" indent="0">
              <a:buNone/>
              <a:defRPr sz="1440"/>
            </a:lvl2pPr>
            <a:lvl3pPr marL="1096807" indent="0">
              <a:buNone/>
              <a:defRPr sz="1200"/>
            </a:lvl3pPr>
            <a:lvl4pPr marL="1645211" indent="0">
              <a:buNone/>
              <a:defRPr sz="1080"/>
            </a:lvl4pPr>
            <a:lvl5pPr marL="2193613" indent="0">
              <a:buNone/>
              <a:defRPr sz="1080"/>
            </a:lvl5pPr>
            <a:lvl6pPr marL="2742016" indent="0">
              <a:buNone/>
              <a:defRPr sz="1080"/>
            </a:lvl6pPr>
            <a:lvl7pPr marL="3290422" indent="0">
              <a:buNone/>
              <a:defRPr sz="1080"/>
            </a:lvl7pPr>
            <a:lvl8pPr marL="3838824" indent="0">
              <a:buNone/>
              <a:defRPr sz="1080"/>
            </a:lvl8pPr>
            <a:lvl9pPr marL="4387226" indent="0">
              <a:buNone/>
              <a:defRPr sz="108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1097280" fontAlgn="base">
              <a:spcBef>
                <a:spcPct val="0"/>
              </a:spcBef>
              <a:spcAft>
                <a:spcPct val="0"/>
              </a:spcAft>
              <a:defRPr/>
            </a:pPr>
            <a:fld id="{E22E0653-FB6D-4AEB-BF2A-9254007CBA03}"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6" name="5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7" name="6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365409955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1097280" fontAlgn="base">
              <a:spcBef>
                <a:spcPct val="0"/>
              </a:spcBef>
              <a:spcAft>
                <a:spcPct val="0"/>
              </a:spcAft>
              <a:defRPr/>
            </a:pPr>
            <a:fld id="{C1A8450E-74EE-44F0-BE08-2F8AFEF9F7AC}"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8365945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1" y="274792"/>
            <a:ext cx="2743200" cy="5851525"/>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3" y="274792"/>
            <a:ext cx="80264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1097280" fontAlgn="base">
              <a:spcBef>
                <a:spcPct val="0"/>
              </a:spcBef>
              <a:spcAft>
                <a:spcPct val="0"/>
              </a:spcAft>
              <a:defRPr/>
            </a:pPr>
            <a:fld id="{8B8EAB90-5D80-4A24-8EF6-AAC2A78433F7}" type="datetime1">
              <a:rPr lang="en-US" smtClean="0">
                <a:solidFill>
                  <a:prstClr val="black">
                    <a:tint val="75000"/>
                  </a:prstClr>
                </a:solidFill>
                <a:ea typeface="ヒラギノ角ゴ Pro W3" pitchFamily="1" charset="-128"/>
              </a:rPr>
              <a:pPr defTabSz="109728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11"/>
          </p:nvPr>
        </p:nvSpPr>
        <p:spPr/>
        <p:txBody>
          <a:bodyPr/>
          <a:lstStyle/>
          <a:p>
            <a:pPr defTabSz="109728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12"/>
          </p:nvPr>
        </p:nvSpPr>
        <p:spPr/>
        <p:txBody>
          <a:bodyPr/>
          <a:lstStyle/>
          <a:p>
            <a:pPr defTabSz="109728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28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9339076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image" Target="../media/image1.jpg"/><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10.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5" Type="http://schemas.openxmlformats.org/officeDocument/2006/relationships/slideLayout" Target="../slideLayouts/slideLayout115.xml"/><Relationship Id="rId4" Type="http://schemas.openxmlformats.org/officeDocument/2006/relationships/slideLayout" Target="../slideLayouts/slideLayout114.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5" Type="http://schemas.openxmlformats.org/officeDocument/2006/relationships/slideLayout" Target="../slideLayouts/slideLayout123.xml"/><Relationship Id="rId10" Type="http://schemas.openxmlformats.org/officeDocument/2006/relationships/theme" Target="../theme/theme12.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image" Target="../media/image10.jpeg"/><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heme" Target="../theme/theme13.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theme" Target="../theme/theme14.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image" Target="../media/image10.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theme" Target="../theme/theme15.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image" Target="../media/image10.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theme" Target="../theme/theme16.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image" Target="../media/image10.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theme" Target="../theme/theme17.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image" Target="../media/image10.jpe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5" Type="http://schemas.openxmlformats.org/officeDocument/2006/relationships/slideLayout" Target="../slideLayouts/slideLayout191.xml"/><Relationship Id="rId4" Type="http://schemas.openxmlformats.org/officeDocument/2006/relationships/slideLayout" Target="../slideLayouts/slideLayout19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heme" Target="../theme/theme19.xml"/><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image" Target="../media/image10.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4.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1.jp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7.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heme" Target="../theme/theme8.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1.jpg"/><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9.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l="-34000" r="-34000"/>
          </a:stretch>
        </a:blipFill>
        <a:effectLst/>
      </p:bgPr>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9600" y="274680"/>
            <a:ext cx="10972800" cy="1143000"/>
          </a:xfrm>
          <a:prstGeom prst="rect">
            <a:avLst/>
          </a:prstGeom>
        </p:spPr>
        <p:txBody>
          <a:bodyPr vert="horz" lIns="91411" tIns="45706" rIns="91411" bIns="45706"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9600" y="1600293"/>
            <a:ext cx="10972800" cy="4525963"/>
          </a:xfrm>
          <a:prstGeom prst="rect">
            <a:avLst/>
          </a:prstGeom>
        </p:spPr>
        <p:txBody>
          <a:bodyPr vert="horz" lIns="91411" tIns="45706" rIns="91411" bIns="45706"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9600" y="6356498"/>
            <a:ext cx="2844800" cy="365125"/>
          </a:xfrm>
          <a:prstGeom prst="rect">
            <a:avLst/>
          </a:prstGeom>
        </p:spPr>
        <p:txBody>
          <a:bodyPr vert="horz" lIns="91411" tIns="45706" rIns="91411" bIns="45706" rtlCol="0" anchor="ctr"/>
          <a:lstStyle>
            <a:lvl1pPr algn="l">
              <a:defRPr sz="1204">
                <a:solidFill>
                  <a:schemeClr val="tx1">
                    <a:tint val="75000"/>
                  </a:schemeClr>
                </a:solidFill>
              </a:defRPr>
            </a:lvl1pPr>
          </a:lstStyle>
          <a:p>
            <a:pPr defTabSz="917783" fontAlgn="base">
              <a:spcBef>
                <a:spcPct val="0"/>
              </a:spcBef>
              <a:spcAft>
                <a:spcPct val="0"/>
              </a:spcAft>
              <a:defRPr/>
            </a:pPr>
            <a:fld id="{3D3E391B-CB8B-480C-A6DB-E7A8C071C073}"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3"/>
          </p:nvPr>
        </p:nvSpPr>
        <p:spPr>
          <a:xfrm>
            <a:off x="4165600" y="6356498"/>
            <a:ext cx="3860800" cy="365125"/>
          </a:xfrm>
          <a:prstGeom prst="rect">
            <a:avLst/>
          </a:prstGeom>
        </p:spPr>
        <p:txBody>
          <a:bodyPr vert="horz" lIns="91411" tIns="45706" rIns="91411" bIns="45706" rtlCol="0" anchor="ctr"/>
          <a:lstStyle>
            <a:lvl1pPr algn="ctr">
              <a:defRPr sz="1204">
                <a:solidFill>
                  <a:schemeClr val="tx1">
                    <a:tint val="75000"/>
                  </a:schemeClr>
                </a:solidFill>
              </a:defRPr>
            </a:lvl1p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4"/>
          </p:nvPr>
        </p:nvSpPr>
        <p:spPr>
          <a:xfrm>
            <a:off x="8737600" y="6356498"/>
            <a:ext cx="2844800" cy="365125"/>
          </a:xfrm>
          <a:prstGeom prst="rect">
            <a:avLst/>
          </a:prstGeom>
        </p:spPr>
        <p:txBody>
          <a:bodyPr vert="horz" lIns="91411" tIns="45706" rIns="91411" bIns="45706" rtlCol="0" anchor="ctr"/>
          <a:lstStyle>
            <a:lvl1pPr algn="r">
              <a:defRPr sz="1204">
                <a:solidFill>
                  <a:schemeClr val="tx1">
                    <a:tint val="75000"/>
                  </a:schemeClr>
                </a:solidFill>
              </a:defRPr>
            </a:lvl1p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96324875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hdr="0" ftr="0" dt="0"/>
  <p:txStyles>
    <p:titleStyle>
      <a:lvl1pPr algn="ctr" defTabSz="917496" rtl="0" eaLnBrk="1" latinLnBrk="0" hangingPunct="1">
        <a:spcBef>
          <a:spcPct val="0"/>
        </a:spcBef>
        <a:buNone/>
        <a:defRPr sz="4416" kern="1200">
          <a:solidFill>
            <a:schemeClr val="tx1"/>
          </a:solidFill>
          <a:latin typeface="+mj-lt"/>
          <a:ea typeface="+mj-ea"/>
          <a:cs typeface="+mj-cs"/>
        </a:defRPr>
      </a:lvl1pPr>
    </p:titleStyle>
    <p:bodyStyle>
      <a:lvl1pPr marL="344060" indent="-344060" algn="l" defTabSz="917496" rtl="0" eaLnBrk="1" latinLnBrk="0" hangingPunct="1">
        <a:spcBef>
          <a:spcPct val="20000"/>
        </a:spcBef>
        <a:buFont typeface="Arial" pitchFamily="34" charset="0"/>
        <a:buChar char="•"/>
        <a:defRPr sz="3111" kern="1200">
          <a:solidFill>
            <a:schemeClr val="tx1"/>
          </a:solidFill>
          <a:latin typeface="+mn-lt"/>
          <a:ea typeface="+mn-ea"/>
          <a:cs typeface="+mn-cs"/>
        </a:defRPr>
      </a:lvl1pPr>
      <a:lvl2pPr marL="745465" indent="-286718" algn="l" defTabSz="917496" rtl="0" eaLnBrk="1" latinLnBrk="0" hangingPunct="1">
        <a:spcBef>
          <a:spcPct val="20000"/>
        </a:spcBef>
        <a:buFont typeface="Arial" pitchFamily="34" charset="0"/>
        <a:buChar char="–"/>
        <a:defRPr sz="2810" kern="1200">
          <a:solidFill>
            <a:schemeClr val="tx1"/>
          </a:solidFill>
          <a:latin typeface="+mn-lt"/>
          <a:ea typeface="+mn-ea"/>
          <a:cs typeface="+mn-cs"/>
        </a:defRPr>
      </a:lvl2pPr>
      <a:lvl3pPr marL="1146869" indent="-229375" algn="l" defTabSz="917496" rtl="0" eaLnBrk="1" latinLnBrk="0" hangingPunct="1">
        <a:spcBef>
          <a:spcPct val="20000"/>
        </a:spcBef>
        <a:buFont typeface="Arial" pitchFamily="34" charset="0"/>
        <a:buChar char="•"/>
        <a:defRPr sz="2409" kern="1200">
          <a:solidFill>
            <a:schemeClr val="tx1"/>
          </a:solidFill>
          <a:latin typeface="+mn-lt"/>
          <a:ea typeface="+mn-ea"/>
          <a:cs typeface="+mn-cs"/>
        </a:defRPr>
      </a:lvl3pPr>
      <a:lvl4pPr marL="1605618" indent="-229375" algn="l" defTabSz="917496" rtl="0" eaLnBrk="1" latinLnBrk="0" hangingPunct="1">
        <a:spcBef>
          <a:spcPct val="20000"/>
        </a:spcBef>
        <a:buFont typeface="Arial" pitchFamily="34" charset="0"/>
        <a:buChar char="–"/>
        <a:defRPr sz="2007" kern="1200">
          <a:solidFill>
            <a:schemeClr val="tx1"/>
          </a:solidFill>
          <a:latin typeface="+mn-lt"/>
          <a:ea typeface="+mn-ea"/>
          <a:cs typeface="+mn-cs"/>
        </a:defRPr>
      </a:lvl4pPr>
      <a:lvl5pPr marL="2064367" indent="-229375" algn="l" defTabSz="917496" rtl="0" eaLnBrk="1" latinLnBrk="0" hangingPunct="1">
        <a:spcBef>
          <a:spcPct val="20000"/>
        </a:spcBef>
        <a:buFont typeface="Arial" pitchFamily="34" charset="0"/>
        <a:buChar char="»"/>
        <a:defRPr sz="2007" kern="1200">
          <a:solidFill>
            <a:schemeClr val="tx1"/>
          </a:solidFill>
          <a:latin typeface="+mn-lt"/>
          <a:ea typeface="+mn-ea"/>
          <a:cs typeface="+mn-cs"/>
        </a:defRPr>
      </a:lvl5pPr>
      <a:lvl6pPr marL="2523115" indent="-229375" algn="l" defTabSz="917496" rtl="0" eaLnBrk="1" latinLnBrk="0" hangingPunct="1">
        <a:spcBef>
          <a:spcPct val="20000"/>
        </a:spcBef>
        <a:buFont typeface="Arial" pitchFamily="34" charset="0"/>
        <a:buChar char="•"/>
        <a:defRPr sz="2007" kern="1200">
          <a:solidFill>
            <a:schemeClr val="tx1"/>
          </a:solidFill>
          <a:latin typeface="+mn-lt"/>
          <a:ea typeface="+mn-ea"/>
          <a:cs typeface="+mn-cs"/>
        </a:defRPr>
      </a:lvl6pPr>
      <a:lvl7pPr marL="2981862" indent="-229375" algn="l" defTabSz="917496" rtl="0" eaLnBrk="1" latinLnBrk="0" hangingPunct="1">
        <a:spcBef>
          <a:spcPct val="20000"/>
        </a:spcBef>
        <a:buFont typeface="Arial" pitchFamily="34" charset="0"/>
        <a:buChar char="•"/>
        <a:defRPr sz="2007" kern="1200">
          <a:solidFill>
            <a:schemeClr val="tx1"/>
          </a:solidFill>
          <a:latin typeface="+mn-lt"/>
          <a:ea typeface="+mn-ea"/>
          <a:cs typeface="+mn-cs"/>
        </a:defRPr>
      </a:lvl7pPr>
      <a:lvl8pPr marL="3440610" indent="-229375" algn="l" defTabSz="917496" rtl="0" eaLnBrk="1" latinLnBrk="0" hangingPunct="1">
        <a:spcBef>
          <a:spcPct val="20000"/>
        </a:spcBef>
        <a:buFont typeface="Arial" pitchFamily="34" charset="0"/>
        <a:buChar char="•"/>
        <a:defRPr sz="2007" kern="1200">
          <a:solidFill>
            <a:schemeClr val="tx1"/>
          </a:solidFill>
          <a:latin typeface="+mn-lt"/>
          <a:ea typeface="+mn-ea"/>
          <a:cs typeface="+mn-cs"/>
        </a:defRPr>
      </a:lvl8pPr>
      <a:lvl9pPr marL="3899358" indent="-229375" algn="l" defTabSz="917496" rtl="0" eaLnBrk="1" latinLnBrk="0" hangingPunct="1">
        <a:spcBef>
          <a:spcPct val="20000"/>
        </a:spcBef>
        <a:buFont typeface="Arial" pitchFamily="34" charset="0"/>
        <a:buChar char="•"/>
        <a:defRPr sz="2007" kern="1200">
          <a:solidFill>
            <a:schemeClr val="tx1"/>
          </a:solidFill>
          <a:latin typeface="+mn-lt"/>
          <a:ea typeface="+mn-ea"/>
          <a:cs typeface="+mn-cs"/>
        </a:defRPr>
      </a:lvl9pPr>
    </p:bodyStyle>
    <p:otherStyle>
      <a:defPPr>
        <a:defRPr lang="tr-TR"/>
      </a:defPPr>
      <a:lvl1pPr marL="0" algn="l" defTabSz="917496" rtl="0" eaLnBrk="1" latinLnBrk="0" hangingPunct="1">
        <a:defRPr sz="1807" kern="1200">
          <a:solidFill>
            <a:schemeClr val="tx1"/>
          </a:solidFill>
          <a:latin typeface="+mn-lt"/>
          <a:ea typeface="+mn-ea"/>
          <a:cs typeface="+mn-cs"/>
        </a:defRPr>
      </a:lvl1pPr>
      <a:lvl2pPr marL="458747" algn="l" defTabSz="917496" rtl="0" eaLnBrk="1" latinLnBrk="0" hangingPunct="1">
        <a:defRPr sz="1807" kern="1200">
          <a:solidFill>
            <a:schemeClr val="tx1"/>
          </a:solidFill>
          <a:latin typeface="+mn-lt"/>
          <a:ea typeface="+mn-ea"/>
          <a:cs typeface="+mn-cs"/>
        </a:defRPr>
      </a:lvl2pPr>
      <a:lvl3pPr marL="917496" algn="l" defTabSz="917496" rtl="0" eaLnBrk="1" latinLnBrk="0" hangingPunct="1">
        <a:defRPr sz="1807" kern="1200">
          <a:solidFill>
            <a:schemeClr val="tx1"/>
          </a:solidFill>
          <a:latin typeface="+mn-lt"/>
          <a:ea typeface="+mn-ea"/>
          <a:cs typeface="+mn-cs"/>
        </a:defRPr>
      </a:lvl3pPr>
      <a:lvl4pPr marL="1376244" algn="l" defTabSz="917496" rtl="0" eaLnBrk="1" latinLnBrk="0" hangingPunct="1">
        <a:defRPr sz="1807" kern="1200">
          <a:solidFill>
            <a:schemeClr val="tx1"/>
          </a:solidFill>
          <a:latin typeface="+mn-lt"/>
          <a:ea typeface="+mn-ea"/>
          <a:cs typeface="+mn-cs"/>
        </a:defRPr>
      </a:lvl4pPr>
      <a:lvl5pPr marL="1834991" algn="l" defTabSz="917496" rtl="0" eaLnBrk="1" latinLnBrk="0" hangingPunct="1">
        <a:defRPr sz="1807" kern="1200">
          <a:solidFill>
            <a:schemeClr val="tx1"/>
          </a:solidFill>
          <a:latin typeface="+mn-lt"/>
          <a:ea typeface="+mn-ea"/>
          <a:cs typeface="+mn-cs"/>
        </a:defRPr>
      </a:lvl5pPr>
      <a:lvl6pPr marL="2293740" algn="l" defTabSz="917496" rtl="0" eaLnBrk="1" latinLnBrk="0" hangingPunct="1">
        <a:defRPr sz="1807" kern="1200">
          <a:solidFill>
            <a:schemeClr val="tx1"/>
          </a:solidFill>
          <a:latin typeface="+mn-lt"/>
          <a:ea typeface="+mn-ea"/>
          <a:cs typeface="+mn-cs"/>
        </a:defRPr>
      </a:lvl6pPr>
      <a:lvl7pPr marL="2752490" algn="l" defTabSz="917496" rtl="0" eaLnBrk="1" latinLnBrk="0" hangingPunct="1">
        <a:defRPr sz="1807" kern="1200">
          <a:solidFill>
            <a:schemeClr val="tx1"/>
          </a:solidFill>
          <a:latin typeface="+mn-lt"/>
          <a:ea typeface="+mn-ea"/>
          <a:cs typeface="+mn-cs"/>
        </a:defRPr>
      </a:lvl7pPr>
      <a:lvl8pPr marL="3211236" algn="l" defTabSz="917496" rtl="0" eaLnBrk="1" latinLnBrk="0" hangingPunct="1">
        <a:defRPr sz="1807" kern="1200">
          <a:solidFill>
            <a:schemeClr val="tx1"/>
          </a:solidFill>
          <a:latin typeface="+mn-lt"/>
          <a:ea typeface="+mn-ea"/>
          <a:cs typeface="+mn-cs"/>
        </a:defRPr>
      </a:lvl8pPr>
      <a:lvl9pPr marL="3669984" algn="l" defTabSz="917496" rtl="0" eaLnBrk="1" latinLnBrk="0" hangingPunct="1">
        <a:defRPr sz="1807"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l="-34000" r="-34000"/>
          </a:stretch>
        </a:blipFill>
        <a:effectLst/>
      </p:bgPr>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9604" y="274687"/>
            <a:ext cx="10972800" cy="1143000"/>
          </a:xfrm>
          <a:prstGeom prst="rect">
            <a:avLst/>
          </a:prstGeom>
        </p:spPr>
        <p:txBody>
          <a:bodyPr vert="horz" lIns="91400" tIns="45701" rIns="91400" bIns="45701"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9604" y="1600294"/>
            <a:ext cx="10972800" cy="4525963"/>
          </a:xfrm>
          <a:prstGeom prst="rect">
            <a:avLst/>
          </a:prstGeom>
        </p:spPr>
        <p:txBody>
          <a:bodyPr vert="horz" lIns="91400" tIns="45701" rIns="91400" bIns="45701"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9600" y="6356534"/>
            <a:ext cx="2844800" cy="365125"/>
          </a:xfrm>
          <a:prstGeom prst="rect">
            <a:avLst/>
          </a:prstGeom>
        </p:spPr>
        <p:txBody>
          <a:bodyPr vert="horz" lIns="91400" tIns="45701" rIns="91400" bIns="45701" rtlCol="0" anchor="ctr"/>
          <a:lstStyle>
            <a:lvl1pPr algn="l">
              <a:defRPr sz="1440">
                <a:solidFill>
                  <a:schemeClr val="tx1">
                    <a:tint val="75000"/>
                  </a:schemeClr>
                </a:solidFill>
              </a:defRPr>
            </a:lvl1pPr>
          </a:lstStyle>
          <a:p>
            <a:pPr defTabSz="1097150" fontAlgn="base">
              <a:spcBef>
                <a:spcPct val="0"/>
              </a:spcBef>
              <a:spcAft>
                <a:spcPct val="0"/>
              </a:spcAft>
              <a:defRPr/>
            </a:pPr>
            <a:fld id="{F97FD91F-FBC2-42BC-955A-2DB8FD3F4E2B}" type="datetime1">
              <a:rPr lang="en-US" smtClean="0">
                <a:solidFill>
                  <a:prstClr val="black">
                    <a:tint val="75000"/>
                  </a:prstClr>
                </a:solidFill>
                <a:ea typeface="ヒラギノ角ゴ Pro W3" pitchFamily="1" charset="-128"/>
              </a:rPr>
              <a:pPr defTabSz="109715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3"/>
          </p:nvPr>
        </p:nvSpPr>
        <p:spPr>
          <a:xfrm>
            <a:off x="4165600" y="6356534"/>
            <a:ext cx="3860800" cy="365125"/>
          </a:xfrm>
          <a:prstGeom prst="rect">
            <a:avLst/>
          </a:prstGeom>
        </p:spPr>
        <p:txBody>
          <a:bodyPr vert="horz" lIns="91400" tIns="45701" rIns="91400" bIns="45701" rtlCol="0" anchor="ctr"/>
          <a:lstStyle>
            <a:lvl1pPr algn="ctr">
              <a:defRPr sz="1440">
                <a:solidFill>
                  <a:schemeClr val="tx1">
                    <a:tint val="75000"/>
                  </a:schemeClr>
                </a:solidFill>
              </a:defRPr>
            </a:lvl1pPr>
          </a:lstStyle>
          <a:p>
            <a:pPr defTabSz="109715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4"/>
          </p:nvPr>
        </p:nvSpPr>
        <p:spPr>
          <a:xfrm>
            <a:off x="8737600" y="6356534"/>
            <a:ext cx="2844800" cy="365125"/>
          </a:xfrm>
          <a:prstGeom prst="rect">
            <a:avLst/>
          </a:prstGeom>
        </p:spPr>
        <p:txBody>
          <a:bodyPr vert="horz" lIns="91400" tIns="45701" rIns="91400" bIns="45701" rtlCol="0" anchor="ctr"/>
          <a:lstStyle>
            <a:lvl1pPr algn="r">
              <a:defRPr sz="1440">
                <a:solidFill>
                  <a:schemeClr val="tx1">
                    <a:tint val="75000"/>
                  </a:schemeClr>
                </a:solidFill>
              </a:defRPr>
            </a:lvl1pPr>
          </a:lstStyle>
          <a:p>
            <a:pPr defTabSz="109715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15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941711323"/>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Lst>
  <p:hf hdr="0" ftr="0" dt="0"/>
  <p:txStyles>
    <p:titleStyle>
      <a:lvl1pPr algn="ctr" defTabSz="1096807" rtl="0" eaLnBrk="1" latinLnBrk="0" hangingPunct="1">
        <a:spcBef>
          <a:spcPct val="0"/>
        </a:spcBef>
        <a:buNone/>
        <a:defRPr sz="5280" kern="1200">
          <a:solidFill>
            <a:schemeClr val="tx1"/>
          </a:solidFill>
          <a:latin typeface="+mj-lt"/>
          <a:ea typeface="+mj-ea"/>
          <a:cs typeface="+mj-cs"/>
        </a:defRPr>
      </a:lvl1pPr>
    </p:titleStyle>
    <p:bodyStyle>
      <a:lvl1pPr marL="411302" indent="-411302" algn="l" defTabSz="1096807" rtl="0" eaLnBrk="1" latinLnBrk="0" hangingPunct="1">
        <a:spcBef>
          <a:spcPct val="20000"/>
        </a:spcBef>
        <a:buFont typeface="Arial" pitchFamily="34" charset="0"/>
        <a:buChar char="•"/>
        <a:defRPr sz="3720" kern="1200">
          <a:solidFill>
            <a:schemeClr val="tx1"/>
          </a:solidFill>
          <a:latin typeface="+mn-lt"/>
          <a:ea typeface="+mn-ea"/>
          <a:cs typeface="+mn-cs"/>
        </a:defRPr>
      </a:lvl1pPr>
      <a:lvl2pPr marL="891155" indent="-342752" algn="l" defTabSz="1096807" rtl="0" eaLnBrk="1" latinLnBrk="0" hangingPunct="1">
        <a:spcBef>
          <a:spcPct val="20000"/>
        </a:spcBef>
        <a:buFont typeface="Arial" pitchFamily="34" charset="0"/>
        <a:buChar char="–"/>
        <a:defRPr sz="3360" kern="1200">
          <a:solidFill>
            <a:schemeClr val="tx1"/>
          </a:solidFill>
          <a:latin typeface="+mn-lt"/>
          <a:ea typeface="+mn-ea"/>
          <a:cs typeface="+mn-cs"/>
        </a:defRPr>
      </a:lvl2pPr>
      <a:lvl3pPr marL="1371007" indent="-274202" algn="l" defTabSz="1096807" rtl="0" eaLnBrk="1" latinLnBrk="0" hangingPunct="1">
        <a:spcBef>
          <a:spcPct val="20000"/>
        </a:spcBef>
        <a:buFont typeface="Arial" pitchFamily="34" charset="0"/>
        <a:buChar char="•"/>
        <a:defRPr sz="2880" kern="1200">
          <a:solidFill>
            <a:schemeClr val="tx1"/>
          </a:solidFill>
          <a:latin typeface="+mn-lt"/>
          <a:ea typeface="+mn-ea"/>
          <a:cs typeface="+mn-cs"/>
        </a:defRPr>
      </a:lvl3pPr>
      <a:lvl4pPr marL="1919412" indent="-274202" algn="l" defTabSz="1096807"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467817" indent="-274202" algn="l" defTabSz="1096807"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3016220" indent="-274202" algn="l" defTabSz="109680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4623" indent="-274202" algn="l" defTabSz="109680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3025" indent="-274202" algn="l" defTabSz="109680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1430" indent="-274202" algn="l" defTabSz="109680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tr-TR"/>
      </a:defPPr>
      <a:lvl1pPr marL="0" algn="l" defTabSz="1096807" rtl="0" eaLnBrk="1" latinLnBrk="0" hangingPunct="1">
        <a:defRPr sz="2160" kern="1200">
          <a:solidFill>
            <a:schemeClr val="tx1"/>
          </a:solidFill>
          <a:latin typeface="+mn-lt"/>
          <a:ea typeface="+mn-ea"/>
          <a:cs typeface="+mn-cs"/>
        </a:defRPr>
      </a:lvl1pPr>
      <a:lvl2pPr marL="548402" algn="l" defTabSz="1096807" rtl="0" eaLnBrk="1" latinLnBrk="0" hangingPunct="1">
        <a:defRPr sz="2160" kern="1200">
          <a:solidFill>
            <a:schemeClr val="tx1"/>
          </a:solidFill>
          <a:latin typeface="+mn-lt"/>
          <a:ea typeface="+mn-ea"/>
          <a:cs typeface="+mn-cs"/>
        </a:defRPr>
      </a:lvl2pPr>
      <a:lvl3pPr marL="1096807" algn="l" defTabSz="1096807" rtl="0" eaLnBrk="1" latinLnBrk="0" hangingPunct="1">
        <a:defRPr sz="2160" kern="1200">
          <a:solidFill>
            <a:schemeClr val="tx1"/>
          </a:solidFill>
          <a:latin typeface="+mn-lt"/>
          <a:ea typeface="+mn-ea"/>
          <a:cs typeface="+mn-cs"/>
        </a:defRPr>
      </a:lvl3pPr>
      <a:lvl4pPr marL="1645211" algn="l" defTabSz="1096807" rtl="0" eaLnBrk="1" latinLnBrk="0" hangingPunct="1">
        <a:defRPr sz="2160" kern="1200">
          <a:solidFill>
            <a:schemeClr val="tx1"/>
          </a:solidFill>
          <a:latin typeface="+mn-lt"/>
          <a:ea typeface="+mn-ea"/>
          <a:cs typeface="+mn-cs"/>
        </a:defRPr>
      </a:lvl4pPr>
      <a:lvl5pPr marL="2193613" algn="l" defTabSz="1096807" rtl="0" eaLnBrk="1" latinLnBrk="0" hangingPunct="1">
        <a:defRPr sz="2160" kern="1200">
          <a:solidFill>
            <a:schemeClr val="tx1"/>
          </a:solidFill>
          <a:latin typeface="+mn-lt"/>
          <a:ea typeface="+mn-ea"/>
          <a:cs typeface="+mn-cs"/>
        </a:defRPr>
      </a:lvl5pPr>
      <a:lvl6pPr marL="2742016" algn="l" defTabSz="1096807" rtl="0" eaLnBrk="1" latinLnBrk="0" hangingPunct="1">
        <a:defRPr sz="2160" kern="1200">
          <a:solidFill>
            <a:schemeClr val="tx1"/>
          </a:solidFill>
          <a:latin typeface="+mn-lt"/>
          <a:ea typeface="+mn-ea"/>
          <a:cs typeface="+mn-cs"/>
        </a:defRPr>
      </a:lvl6pPr>
      <a:lvl7pPr marL="3290422" algn="l" defTabSz="1096807" rtl="0" eaLnBrk="1" latinLnBrk="0" hangingPunct="1">
        <a:defRPr sz="2160" kern="1200">
          <a:solidFill>
            <a:schemeClr val="tx1"/>
          </a:solidFill>
          <a:latin typeface="+mn-lt"/>
          <a:ea typeface="+mn-ea"/>
          <a:cs typeface="+mn-cs"/>
        </a:defRPr>
      </a:lvl7pPr>
      <a:lvl8pPr marL="3838824" algn="l" defTabSz="1096807" rtl="0" eaLnBrk="1" latinLnBrk="0" hangingPunct="1">
        <a:defRPr sz="2160" kern="1200">
          <a:solidFill>
            <a:schemeClr val="tx1"/>
          </a:solidFill>
          <a:latin typeface="+mn-lt"/>
          <a:ea typeface="+mn-ea"/>
          <a:cs typeface="+mn-cs"/>
        </a:defRPr>
      </a:lvl8pPr>
      <a:lvl9pPr marL="4387226" algn="l" defTabSz="1096807" rtl="0" eaLnBrk="1" latinLnBrk="0" hangingPunct="1">
        <a:defRPr sz="216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9603" y="274432"/>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1207" tIns="35599" rIns="71207" bIns="35599" numCol="1" anchor="ctr" anchorCtr="0" compatLnSpc="1">
            <a:prstTxWarp prst="textNoShape">
              <a:avLst/>
            </a:prstTxWarp>
          </a:bodyPr>
          <a:lstStyle/>
          <a:p>
            <a:pPr lvl="0"/>
            <a:r>
              <a:rPr lang="tr-TR" altLang="tr-TR"/>
              <a:t>Asıl başlık stili için tıklatın</a:t>
            </a:r>
          </a:p>
        </p:txBody>
      </p:sp>
      <p:sp>
        <p:nvSpPr>
          <p:cNvPr id="1027" name="Metin Yer Tutucusu 2"/>
          <p:cNvSpPr>
            <a:spLocks noGrp="1"/>
          </p:cNvSpPr>
          <p:nvPr>
            <p:ph type="body" idx="1"/>
          </p:nvPr>
        </p:nvSpPr>
        <p:spPr bwMode="auto">
          <a:xfrm>
            <a:off x="609603" y="1600200"/>
            <a:ext cx="10972800" cy="4526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1207" tIns="35599" rIns="71207" bIns="35599" numCol="1" anchor="t" anchorCtr="0" compatLnSpc="1">
            <a:prstTxWarp prst="textNoShape">
              <a:avLst/>
            </a:prstTxWarp>
          </a:bodyPr>
          <a:lstStyle/>
          <a:p>
            <a:pPr lvl="0"/>
            <a:r>
              <a:rPr lang="tr-TR" altLang="tr-TR"/>
              <a:t>Asıl metin stillerini düzenlemek için tıklatın</a:t>
            </a:r>
          </a:p>
          <a:p>
            <a:pPr lvl="1"/>
            <a:r>
              <a:rPr lang="tr-TR" altLang="tr-TR"/>
              <a:t>İkinci düzey</a:t>
            </a:r>
          </a:p>
          <a:p>
            <a:pPr lvl="2"/>
            <a:r>
              <a:rPr lang="tr-TR" altLang="tr-TR"/>
              <a:t>Üçüncü düzey</a:t>
            </a:r>
          </a:p>
          <a:p>
            <a:pPr lvl="3"/>
            <a:r>
              <a:rPr lang="tr-TR" altLang="tr-TR"/>
              <a:t>Dördüncü düzey</a:t>
            </a:r>
          </a:p>
          <a:p>
            <a:pPr lvl="4"/>
            <a:r>
              <a:rPr lang="tr-TR" altLang="tr-TR"/>
              <a:t>Beşinci düzey</a:t>
            </a:r>
          </a:p>
        </p:txBody>
      </p:sp>
      <p:sp>
        <p:nvSpPr>
          <p:cNvPr id="4" name="Veri Yer Tutucusu 3"/>
          <p:cNvSpPr>
            <a:spLocks noGrp="1"/>
          </p:cNvSpPr>
          <p:nvPr>
            <p:ph type="dt" sz="half" idx="2"/>
          </p:nvPr>
        </p:nvSpPr>
        <p:spPr>
          <a:xfrm>
            <a:off x="609600" y="6357195"/>
            <a:ext cx="2844800" cy="363854"/>
          </a:xfrm>
          <a:prstGeom prst="rect">
            <a:avLst/>
          </a:prstGeom>
        </p:spPr>
        <p:txBody>
          <a:bodyPr vert="horz" lIns="71207" tIns="35599" rIns="71207" bIns="35599" rtlCol="0" anchor="ctr"/>
          <a:lstStyle>
            <a:lvl1pPr algn="l" fontAlgn="auto">
              <a:spcBef>
                <a:spcPts val="0"/>
              </a:spcBef>
              <a:spcAft>
                <a:spcPts val="0"/>
              </a:spcAft>
              <a:defRPr sz="1080">
                <a:solidFill>
                  <a:schemeClr val="tx1"/>
                </a:solidFill>
                <a:latin typeface="+mn-lt"/>
                <a:cs typeface="+mn-cs"/>
              </a:defRPr>
            </a:lvl1pPr>
          </a:lstStyle>
          <a:p>
            <a:pPr defTabSz="1097280">
              <a:defRPr/>
            </a:pPr>
            <a:fld id="{075DDAD1-5215-4AB9-8143-67E64474884A}" type="datetime1">
              <a:rPr lang="en-US" smtClean="0">
                <a:solidFill>
                  <a:prstClr val="black">
                    <a:tint val="75000"/>
                  </a:prstClr>
                </a:solidFill>
                <a:ea typeface="ヒラギノ角ゴ Pro W3" pitchFamily="1" charset="-128"/>
              </a:rPr>
              <a:pPr defTabSz="1097280">
                <a:defRPr/>
              </a:pPr>
              <a:t>4/5/2021</a:t>
            </a:fld>
            <a:endParaRPr lang="en-CA">
              <a:solidFill>
                <a:prstClr val="black">
                  <a:tint val="75000"/>
                </a:prstClr>
              </a:solidFill>
              <a:ea typeface="ヒラギノ角ゴ Pro W3" pitchFamily="1" charset="-128"/>
            </a:endParaRPr>
          </a:p>
        </p:txBody>
      </p:sp>
      <p:sp>
        <p:nvSpPr>
          <p:cNvPr id="5" name="Altbilgi Yer Tutucusu 4"/>
          <p:cNvSpPr>
            <a:spLocks noGrp="1"/>
          </p:cNvSpPr>
          <p:nvPr>
            <p:ph type="ftr" sz="quarter" idx="3"/>
          </p:nvPr>
        </p:nvSpPr>
        <p:spPr>
          <a:xfrm>
            <a:off x="4165600" y="6357195"/>
            <a:ext cx="3860800" cy="363854"/>
          </a:xfrm>
          <a:prstGeom prst="rect">
            <a:avLst/>
          </a:prstGeom>
        </p:spPr>
        <p:txBody>
          <a:bodyPr vert="horz" lIns="71207" tIns="35599" rIns="71207" bIns="35599" rtlCol="0" anchor="ctr"/>
          <a:lstStyle>
            <a:lvl1pPr algn="ctr" fontAlgn="auto">
              <a:spcBef>
                <a:spcPts val="0"/>
              </a:spcBef>
              <a:spcAft>
                <a:spcPts val="0"/>
              </a:spcAft>
              <a:defRPr sz="1080">
                <a:solidFill>
                  <a:schemeClr val="tx1"/>
                </a:solidFill>
                <a:latin typeface="+mn-lt"/>
                <a:cs typeface="+mn-cs"/>
              </a:defRPr>
            </a:lvl1pPr>
          </a:lstStyle>
          <a:p>
            <a:pPr defTabSz="1097280">
              <a:defRPr/>
            </a:pPr>
            <a:endParaRPr lang="en-CA">
              <a:solidFill>
                <a:prstClr val="black">
                  <a:tint val="75000"/>
                </a:prstClr>
              </a:solidFill>
              <a:ea typeface="ヒラギノ角ゴ Pro W3" pitchFamily="1" charset="-128"/>
            </a:endParaRPr>
          </a:p>
        </p:txBody>
      </p:sp>
      <p:sp>
        <p:nvSpPr>
          <p:cNvPr id="6" name="Slayt Numarası Yer Tutucusu 5"/>
          <p:cNvSpPr>
            <a:spLocks noGrp="1"/>
          </p:cNvSpPr>
          <p:nvPr>
            <p:ph type="sldNum" sz="quarter" idx="4"/>
          </p:nvPr>
        </p:nvSpPr>
        <p:spPr>
          <a:xfrm>
            <a:off x="8737600" y="6357195"/>
            <a:ext cx="2844800" cy="363854"/>
          </a:xfrm>
          <a:prstGeom prst="rect">
            <a:avLst/>
          </a:prstGeom>
        </p:spPr>
        <p:txBody>
          <a:bodyPr vert="horz" lIns="71207" tIns="35599" rIns="71207" bIns="35599" rtlCol="0" anchor="ctr"/>
          <a:lstStyle>
            <a:lvl1pPr algn="r" fontAlgn="auto">
              <a:spcBef>
                <a:spcPts val="0"/>
              </a:spcBef>
              <a:spcAft>
                <a:spcPts val="0"/>
              </a:spcAft>
              <a:defRPr sz="1080">
                <a:solidFill>
                  <a:schemeClr val="tx1"/>
                </a:solidFill>
                <a:latin typeface="+mn-lt"/>
                <a:cs typeface="+mn-cs"/>
              </a:defRPr>
            </a:lvl1pPr>
          </a:lstStyle>
          <a:p>
            <a:pPr defTabSz="1097280">
              <a:defRPr/>
            </a:pPr>
            <a:fld id="{FF16F97C-866D-4F85-A1F6-DDF39F62CB6A}" type="slidenum">
              <a:rPr lang="en-CA" smtClean="0">
                <a:solidFill>
                  <a:prstClr val="black">
                    <a:tint val="75000"/>
                  </a:prstClr>
                </a:solidFill>
                <a:ea typeface="ヒラギノ角ゴ Pro W3" pitchFamily="1" charset="-128"/>
              </a:rPr>
              <a:pPr defTabSz="1097280">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77569159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Lst>
  <p:transition spd="slow">
    <p:push dir="u"/>
  </p:transition>
  <p:hf hdr="0" ftr="0" dt="0"/>
  <p:txStyles>
    <p:titleStyle>
      <a:lvl1pPr algn="ctr" rtl="0" eaLnBrk="1" fontAlgn="base" hangingPunct="1">
        <a:spcBef>
          <a:spcPct val="0"/>
        </a:spcBef>
        <a:spcAft>
          <a:spcPct val="0"/>
        </a:spcAft>
        <a:defRPr sz="4080" kern="1200">
          <a:solidFill>
            <a:schemeClr val="tx1"/>
          </a:solidFill>
          <a:latin typeface="+mj-lt"/>
          <a:ea typeface="+mj-ea"/>
          <a:cs typeface="+mj-cs"/>
        </a:defRPr>
      </a:lvl1pPr>
      <a:lvl2pPr algn="ctr" rtl="0" eaLnBrk="1" fontAlgn="base" hangingPunct="1">
        <a:spcBef>
          <a:spcPct val="0"/>
        </a:spcBef>
        <a:spcAft>
          <a:spcPct val="0"/>
        </a:spcAft>
        <a:defRPr sz="4080">
          <a:solidFill>
            <a:schemeClr val="tx1"/>
          </a:solidFill>
          <a:latin typeface="Frutiger 95 Ultra Black" pitchFamily="50" charset="0"/>
        </a:defRPr>
      </a:lvl2pPr>
      <a:lvl3pPr algn="ctr" rtl="0" eaLnBrk="1" fontAlgn="base" hangingPunct="1">
        <a:spcBef>
          <a:spcPct val="0"/>
        </a:spcBef>
        <a:spcAft>
          <a:spcPct val="0"/>
        </a:spcAft>
        <a:defRPr sz="4080">
          <a:solidFill>
            <a:schemeClr val="tx1"/>
          </a:solidFill>
          <a:latin typeface="Frutiger 95 Ultra Black" pitchFamily="50" charset="0"/>
        </a:defRPr>
      </a:lvl3pPr>
      <a:lvl4pPr algn="ctr" rtl="0" eaLnBrk="1" fontAlgn="base" hangingPunct="1">
        <a:spcBef>
          <a:spcPct val="0"/>
        </a:spcBef>
        <a:spcAft>
          <a:spcPct val="0"/>
        </a:spcAft>
        <a:defRPr sz="4080">
          <a:solidFill>
            <a:schemeClr val="tx1"/>
          </a:solidFill>
          <a:latin typeface="Frutiger 95 Ultra Black" pitchFamily="50" charset="0"/>
        </a:defRPr>
      </a:lvl4pPr>
      <a:lvl5pPr algn="ctr" rtl="0" eaLnBrk="1" fontAlgn="base" hangingPunct="1">
        <a:spcBef>
          <a:spcPct val="0"/>
        </a:spcBef>
        <a:spcAft>
          <a:spcPct val="0"/>
        </a:spcAft>
        <a:defRPr sz="4080">
          <a:solidFill>
            <a:schemeClr val="tx1"/>
          </a:solidFill>
          <a:latin typeface="Frutiger 95 Ultra Black" pitchFamily="50" charset="0"/>
        </a:defRPr>
      </a:lvl5pPr>
      <a:lvl6pPr marL="427225" algn="ctr" rtl="0" eaLnBrk="1" fontAlgn="base" hangingPunct="1">
        <a:spcBef>
          <a:spcPct val="0"/>
        </a:spcBef>
        <a:spcAft>
          <a:spcPct val="0"/>
        </a:spcAft>
        <a:defRPr sz="4080">
          <a:solidFill>
            <a:schemeClr val="tx1"/>
          </a:solidFill>
          <a:latin typeface="Frutiger 95 Ultra Black" pitchFamily="50" charset="0"/>
        </a:defRPr>
      </a:lvl6pPr>
      <a:lvl7pPr marL="854454" algn="ctr" rtl="0" eaLnBrk="1" fontAlgn="base" hangingPunct="1">
        <a:spcBef>
          <a:spcPct val="0"/>
        </a:spcBef>
        <a:spcAft>
          <a:spcPct val="0"/>
        </a:spcAft>
        <a:defRPr sz="4080">
          <a:solidFill>
            <a:schemeClr val="tx1"/>
          </a:solidFill>
          <a:latin typeface="Frutiger 95 Ultra Black" pitchFamily="50" charset="0"/>
        </a:defRPr>
      </a:lvl7pPr>
      <a:lvl8pPr marL="1281679" algn="ctr" rtl="0" eaLnBrk="1" fontAlgn="base" hangingPunct="1">
        <a:spcBef>
          <a:spcPct val="0"/>
        </a:spcBef>
        <a:spcAft>
          <a:spcPct val="0"/>
        </a:spcAft>
        <a:defRPr sz="4080">
          <a:solidFill>
            <a:schemeClr val="tx1"/>
          </a:solidFill>
          <a:latin typeface="Frutiger 95 Ultra Black" pitchFamily="50" charset="0"/>
        </a:defRPr>
      </a:lvl8pPr>
      <a:lvl9pPr marL="1708902" algn="ctr" rtl="0" eaLnBrk="1" fontAlgn="base" hangingPunct="1">
        <a:spcBef>
          <a:spcPct val="0"/>
        </a:spcBef>
        <a:spcAft>
          <a:spcPct val="0"/>
        </a:spcAft>
        <a:defRPr sz="4080">
          <a:solidFill>
            <a:schemeClr val="tx1"/>
          </a:solidFill>
          <a:latin typeface="Frutiger 95 Ultra Black" pitchFamily="50" charset="0"/>
        </a:defRPr>
      </a:lvl9pPr>
    </p:titleStyle>
    <p:bodyStyle>
      <a:lvl1pPr marL="320419" indent="-320419" algn="l" rtl="0" eaLnBrk="1" fontAlgn="base" hangingPunct="1">
        <a:spcBef>
          <a:spcPct val="20000"/>
        </a:spcBef>
        <a:spcAft>
          <a:spcPct val="0"/>
        </a:spcAft>
        <a:buFont typeface="Arial" pitchFamily="34" charset="0"/>
        <a:buChar char="•"/>
        <a:defRPr sz="3000" kern="1200">
          <a:solidFill>
            <a:schemeClr val="tx1"/>
          </a:solidFill>
          <a:latin typeface="+mn-lt"/>
          <a:ea typeface="+mn-ea"/>
          <a:cs typeface="+mn-cs"/>
        </a:defRPr>
      </a:lvl1pPr>
      <a:lvl2pPr marL="694242" indent="-267016" algn="l" rtl="0" eaLnBrk="1" fontAlgn="base" hangingPunct="1">
        <a:spcBef>
          <a:spcPct val="20000"/>
        </a:spcBef>
        <a:spcAft>
          <a:spcPct val="0"/>
        </a:spcAft>
        <a:buFont typeface="Arial" pitchFamily="34" charset="0"/>
        <a:buChar char="–"/>
        <a:defRPr sz="2640" kern="1200">
          <a:solidFill>
            <a:schemeClr val="tx1"/>
          </a:solidFill>
          <a:latin typeface="+mn-lt"/>
          <a:ea typeface="+mn-ea"/>
          <a:cs typeface="+mn-cs"/>
        </a:defRPr>
      </a:lvl2pPr>
      <a:lvl3pPr marL="1068068" indent="-213613" algn="l" rtl="0" eaLnBrk="1" fontAlgn="base" hangingPunct="1">
        <a:spcBef>
          <a:spcPct val="20000"/>
        </a:spcBef>
        <a:spcAft>
          <a:spcPct val="0"/>
        </a:spcAft>
        <a:buFont typeface="Arial" pitchFamily="34" charset="0"/>
        <a:buChar char="•"/>
        <a:defRPr sz="2280" kern="1200">
          <a:solidFill>
            <a:schemeClr val="tx1"/>
          </a:solidFill>
          <a:latin typeface="+mn-lt"/>
          <a:ea typeface="+mn-ea"/>
          <a:cs typeface="+mn-cs"/>
        </a:defRPr>
      </a:lvl3pPr>
      <a:lvl4pPr marL="1495289" indent="-213613" algn="l" rtl="0" eaLnBrk="1" fontAlgn="base" hangingPunct="1">
        <a:spcBef>
          <a:spcPct val="20000"/>
        </a:spcBef>
        <a:spcAft>
          <a:spcPct val="0"/>
        </a:spcAft>
        <a:buFont typeface="Arial" pitchFamily="34" charset="0"/>
        <a:buChar char="–"/>
        <a:defRPr sz="1920" kern="1200">
          <a:solidFill>
            <a:schemeClr val="tx1"/>
          </a:solidFill>
          <a:latin typeface="+mn-lt"/>
          <a:ea typeface="+mn-ea"/>
          <a:cs typeface="+mn-cs"/>
        </a:defRPr>
      </a:lvl4pPr>
      <a:lvl5pPr marL="1922518" indent="-213613" algn="l" rtl="0" eaLnBrk="1" fontAlgn="base" hangingPunct="1">
        <a:spcBef>
          <a:spcPct val="20000"/>
        </a:spcBef>
        <a:spcAft>
          <a:spcPct val="0"/>
        </a:spcAft>
        <a:buFont typeface="Arial" pitchFamily="34" charset="0"/>
        <a:buChar char="»"/>
        <a:defRPr sz="1920" kern="1200">
          <a:solidFill>
            <a:schemeClr val="tx1"/>
          </a:solidFill>
          <a:latin typeface="+mn-lt"/>
          <a:ea typeface="+mn-ea"/>
          <a:cs typeface="+mn-cs"/>
        </a:defRPr>
      </a:lvl5pPr>
      <a:lvl6pPr marL="2349748" indent="-213613" algn="l" defTabSz="854454" rtl="0" eaLnBrk="1" latinLnBrk="0" hangingPunct="1">
        <a:spcBef>
          <a:spcPct val="20000"/>
        </a:spcBef>
        <a:buFont typeface="Arial" pitchFamily="34" charset="0"/>
        <a:buChar char="•"/>
        <a:defRPr sz="1920" kern="1200">
          <a:solidFill>
            <a:schemeClr val="tx1"/>
          </a:solidFill>
          <a:latin typeface="+mn-lt"/>
          <a:ea typeface="+mn-ea"/>
          <a:cs typeface="+mn-cs"/>
        </a:defRPr>
      </a:lvl6pPr>
      <a:lvl7pPr marL="2776968" indent="-213613" algn="l" defTabSz="854454" rtl="0" eaLnBrk="1" latinLnBrk="0" hangingPunct="1">
        <a:spcBef>
          <a:spcPct val="20000"/>
        </a:spcBef>
        <a:buFont typeface="Arial" pitchFamily="34" charset="0"/>
        <a:buChar char="•"/>
        <a:defRPr sz="1920" kern="1200">
          <a:solidFill>
            <a:schemeClr val="tx1"/>
          </a:solidFill>
          <a:latin typeface="+mn-lt"/>
          <a:ea typeface="+mn-ea"/>
          <a:cs typeface="+mn-cs"/>
        </a:defRPr>
      </a:lvl7pPr>
      <a:lvl8pPr marL="3204194" indent="-213613" algn="l" defTabSz="854454" rtl="0" eaLnBrk="1" latinLnBrk="0" hangingPunct="1">
        <a:spcBef>
          <a:spcPct val="20000"/>
        </a:spcBef>
        <a:buFont typeface="Arial" pitchFamily="34" charset="0"/>
        <a:buChar char="•"/>
        <a:defRPr sz="1920" kern="1200">
          <a:solidFill>
            <a:schemeClr val="tx1"/>
          </a:solidFill>
          <a:latin typeface="+mn-lt"/>
          <a:ea typeface="+mn-ea"/>
          <a:cs typeface="+mn-cs"/>
        </a:defRPr>
      </a:lvl8pPr>
      <a:lvl9pPr marL="3631422" indent="-213613" algn="l" defTabSz="854454" rtl="0" eaLnBrk="1" latinLnBrk="0" hangingPunct="1">
        <a:spcBef>
          <a:spcPct val="20000"/>
        </a:spcBef>
        <a:buFont typeface="Arial" pitchFamily="34" charset="0"/>
        <a:buChar char="•"/>
        <a:defRPr sz="1920" kern="1200">
          <a:solidFill>
            <a:schemeClr val="tx1"/>
          </a:solidFill>
          <a:latin typeface="+mn-lt"/>
          <a:ea typeface="+mn-ea"/>
          <a:cs typeface="+mn-cs"/>
        </a:defRPr>
      </a:lvl9pPr>
    </p:bodyStyle>
    <p:otherStyle>
      <a:defPPr>
        <a:defRPr lang="tr-TR"/>
      </a:defPPr>
      <a:lvl1pPr marL="0" algn="l" defTabSz="854454" rtl="0" eaLnBrk="1" latinLnBrk="0" hangingPunct="1">
        <a:defRPr sz="1680" kern="1200">
          <a:solidFill>
            <a:schemeClr val="tx1"/>
          </a:solidFill>
          <a:latin typeface="+mn-lt"/>
          <a:ea typeface="+mn-ea"/>
          <a:cs typeface="+mn-cs"/>
        </a:defRPr>
      </a:lvl1pPr>
      <a:lvl2pPr marL="427225" algn="l" defTabSz="854454" rtl="0" eaLnBrk="1" latinLnBrk="0" hangingPunct="1">
        <a:defRPr sz="1680" kern="1200">
          <a:solidFill>
            <a:schemeClr val="tx1"/>
          </a:solidFill>
          <a:latin typeface="+mn-lt"/>
          <a:ea typeface="+mn-ea"/>
          <a:cs typeface="+mn-cs"/>
        </a:defRPr>
      </a:lvl2pPr>
      <a:lvl3pPr marL="854454" algn="l" defTabSz="854454" rtl="0" eaLnBrk="1" latinLnBrk="0" hangingPunct="1">
        <a:defRPr sz="1680" kern="1200">
          <a:solidFill>
            <a:schemeClr val="tx1"/>
          </a:solidFill>
          <a:latin typeface="+mn-lt"/>
          <a:ea typeface="+mn-ea"/>
          <a:cs typeface="+mn-cs"/>
        </a:defRPr>
      </a:lvl3pPr>
      <a:lvl4pPr marL="1281679" algn="l" defTabSz="854454" rtl="0" eaLnBrk="1" latinLnBrk="0" hangingPunct="1">
        <a:defRPr sz="1680" kern="1200">
          <a:solidFill>
            <a:schemeClr val="tx1"/>
          </a:solidFill>
          <a:latin typeface="+mn-lt"/>
          <a:ea typeface="+mn-ea"/>
          <a:cs typeface="+mn-cs"/>
        </a:defRPr>
      </a:lvl4pPr>
      <a:lvl5pPr marL="1708902" algn="l" defTabSz="854454" rtl="0" eaLnBrk="1" latinLnBrk="0" hangingPunct="1">
        <a:defRPr sz="1680" kern="1200">
          <a:solidFill>
            <a:schemeClr val="tx1"/>
          </a:solidFill>
          <a:latin typeface="+mn-lt"/>
          <a:ea typeface="+mn-ea"/>
          <a:cs typeface="+mn-cs"/>
        </a:defRPr>
      </a:lvl5pPr>
      <a:lvl6pPr marL="2136130" algn="l" defTabSz="854454" rtl="0" eaLnBrk="1" latinLnBrk="0" hangingPunct="1">
        <a:defRPr sz="1680" kern="1200">
          <a:solidFill>
            <a:schemeClr val="tx1"/>
          </a:solidFill>
          <a:latin typeface="+mn-lt"/>
          <a:ea typeface="+mn-ea"/>
          <a:cs typeface="+mn-cs"/>
        </a:defRPr>
      </a:lvl6pPr>
      <a:lvl7pPr marL="2563356" algn="l" defTabSz="854454" rtl="0" eaLnBrk="1" latinLnBrk="0" hangingPunct="1">
        <a:defRPr sz="1680" kern="1200">
          <a:solidFill>
            <a:schemeClr val="tx1"/>
          </a:solidFill>
          <a:latin typeface="+mn-lt"/>
          <a:ea typeface="+mn-ea"/>
          <a:cs typeface="+mn-cs"/>
        </a:defRPr>
      </a:lvl7pPr>
      <a:lvl8pPr marL="2990585" algn="l" defTabSz="854454" rtl="0" eaLnBrk="1" latinLnBrk="0" hangingPunct="1">
        <a:defRPr sz="1680" kern="1200">
          <a:solidFill>
            <a:schemeClr val="tx1"/>
          </a:solidFill>
          <a:latin typeface="+mn-lt"/>
          <a:ea typeface="+mn-ea"/>
          <a:cs typeface="+mn-cs"/>
        </a:defRPr>
      </a:lvl8pPr>
      <a:lvl9pPr marL="3417809" algn="l" defTabSz="854454" rtl="0" eaLnBrk="1" latinLnBrk="0" hangingPunct="1">
        <a:defRPr sz="168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609601" y="274639"/>
            <a:ext cx="10972800" cy="1143000"/>
          </a:xfrm>
          <a:prstGeom prst="rect">
            <a:avLst/>
          </a:prstGeom>
        </p:spPr>
        <p:txBody>
          <a:bodyPr vert="horz" lIns="91440" tIns="45720" rIns="91440" bIns="45720" rtlCol="0" anchor="ctr">
            <a:normAutofit/>
          </a:bodyPr>
          <a:lstStyle/>
          <a:p>
            <a:r>
              <a:rPr lang="tr-TR" dirty="0" smtClean="0"/>
              <a:t>Asıl başlık stili için tıklatın</a:t>
            </a:r>
            <a:endParaRPr lang="tr-TR" dirty="0"/>
          </a:p>
        </p:txBody>
      </p:sp>
      <p:sp>
        <p:nvSpPr>
          <p:cNvPr id="3" name="Metin Yer Tutucusu 2"/>
          <p:cNvSpPr>
            <a:spLocks noGrp="1"/>
          </p:cNvSpPr>
          <p:nvPr>
            <p:ph type="body" idx="1"/>
          </p:nvPr>
        </p:nvSpPr>
        <p:spPr>
          <a:xfrm>
            <a:off x="609601" y="1600201"/>
            <a:ext cx="10972800" cy="4525963"/>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440">
                <a:solidFill>
                  <a:schemeClr val="tx1"/>
                </a:solidFill>
              </a:defRPr>
            </a:lvl1pPr>
          </a:lstStyle>
          <a:p>
            <a:pPr defTabSz="1097302"/>
            <a:endParaRPr lang="tr-TR" dirty="0">
              <a:solidFill>
                <a:prstClr val="black"/>
              </a:solidFill>
              <a:ea typeface="ヒラギノ角ゴ Pro W3" pitchFamily="1" charset="-128"/>
            </a:endParaRPr>
          </a:p>
        </p:txBody>
      </p:sp>
      <p:sp>
        <p:nvSpPr>
          <p:cNvPr id="5" name="Altbilgi Yer Tutucusu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440">
                <a:solidFill>
                  <a:schemeClr val="tx1"/>
                </a:solidFill>
              </a:defRPr>
            </a:lvl1pPr>
          </a:lstStyle>
          <a:p>
            <a:pPr defTabSz="1097302"/>
            <a:endParaRPr lang="tr-TR">
              <a:solidFill>
                <a:prstClr val="black"/>
              </a:solidFill>
              <a:ea typeface="ヒラギノ角ゴ Pro W3" pitchFamily="1" charset="-128"/>
            </a:endParaRPr>
          </a:p>
        </p:txBody>
      </p:sp>
      <p:sp>
        <p:nvSpPr>
          <p:cNvPr id="6" name="Slayt Numarası Yer Tutucusu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440">
                <a:solidFill>
                  <a:schemeClr val="tx1"/>
                </a:solidFill>
              </a:defRPr>
            </a:lvl1pPr>
          </a:lstStyle>
          <a:p>
            <a:pPr defTabSz="1097302"/>
            <a:fld id="{7C1868C5-B491-42BF-9F5C-46095BC3F40A}" type="slidenum">
              <a:rPr lang="tr-TR" smtClean="0">
                <a:solidFill>
                  <a:prstClr val="black"/>
                </a:solidFill>
                <a:ea typeface="ヒラギノ角ゴ Pro W3" pitchFamily="1" charset="-128"/>
              </a:rPr>
              <a:pPr defTabSz="1097302"/>
              <a:t>‹#›</a:t>
            </a:fld>
            <a:endParaRPr lang="tr-TR">
              <a:solidFill>
                <a:prstClr val="black"/>
              </a:solidFill>
              <a:ea typeface="ヒラギノ角ゴ Pro W3" pitchFamily="1" charset="-128"/>
            </a:endParaRPr>
          </a:p>
        </p:txBody>
      </p:sp>
    </p:spTree>
    <p:extLst>
      <p:ext uri="{BB962C8B-B14F-4D97-AF65-F5344CB8AC3E}">
        <p14:creationId xmlns:p14="http://schemas.microsoft.com/office/powerpoint/2010/main" val="1929387955"/>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Lst>
  <p:transition spd="slow">
    <p:push dir="u"/>
  </p:transition>
  <p:timing>
    <p:tnLst>
      <p:par>
        <p:cTn id="1" dur="indefinite" restart="never" nodeType="tmRoot"/>
      </p:par>
    </p:tnLst>
  </p:timing>
  <p:hf hdr="0" ftr="0" dt="0"/>
  <p:txStyles>
    <p:titleStyle>
      <a:lvl1pPr algn="ctr" defTabSz="1097302" rtl="0" eaLnBrk="1" latinLnBrk="0" hangingPunct="1">
        <a:spcBef>
          <a:spcPct val="0"/>
        </a:spcBef>
        <a:buNone/>
        <a:defRPr sz="5280" kern="1200">
          <a:solidFill>
            <a:schemeClr val="tx1"/>
          </a:solidFill>
          <a:latin typeface="+mj-lt"/>
          <a:ea typeface="+mj-ea"/>
          <a:cs typeface="+mj-cs"/>
        </a:defRPr>
      </a:lvl1pPr>
    </p:titleStyle>
    <p:bodyStyle>
      <a:lvl1pPr marL="411488" indent="-411488" algn="l" defTabSz="1097302" rtl="0" eaLnBrk="1" latinLnBrk="0" hangingPunct="1">
        <a:spcBef>
          <a:spcPct val="20000"/>
        </a:spcBef>
        <a:buFont typeface="Arial" pitchFamily="34" charset="0"/>
        <a:buChar char="•"/>
        <a:defRPr sz="3840" kern="1200">
          <a:solidFill>
            <a:schemeClr val="tx1"/>
          </a:solidFill>
          <a:latin typeface="+mn-lt"/>
          <a:ea typeface="+mn-ea"/>
          <a:cs typeface="+mn-cs"/>
        </a:defRPr>
      </a:lvl1pPr>
      <a:lvl2pPr marL="891558" indent="-342907" algn="l" defTabSz="1097302" rtl="0" eaLnBrk="1" latinLnBrk="0" hangingPunct="1">
        <a:spcBef>
          <a:spcPct val="20000"/>
        </a:spcBef>
        <a:buFont typeface="Arial" pitchFamily="34" charset="0"/>
        <a:buChar char="–"/>
        <a:defRPr sz="3360" kern="1200">
          <a:solidFill>
            <a:schemeClr val="tx1"/>
          </a:solidFill>
          <a:latin typeface="+mn-lt"/>
          <a:ea typeface="+mn-ea"/>
          <a:cs typeface="+mn-cs"/>
        </a:defRPr>
      </a:lvl2pPr>
      <a:lvl3pPr marL="1371627" indent="-274325" algn="l" defTabSz="1097302" rtl="0" eaLnBrk="1" latinLnBrk="0" hangingPunct="1">
        <a:spcBef>
          <a:spcPct val="20000"/>
        </a:spcBef>
        <a:buFont typeface="Arial" pitchFamily="34" charset="0"/>
        <a:buChar char="•"/>
        <a:defRPr sz="2880" kern="1200">
          <a:solidFill>
            <a:schemeClr val="tx1"/>
          </a:solidFill>
          <a:latin typeface="+mn-lt"/>
          <a:ea typeface="+mn-ea"/>
          <a:cs typeface="+mn-cs"/>
        </a:defRPr>
      </a:lvl3pPr>
      <a:lvl4pPr marL="1920278" indent="-274325" algn="l" defTabSz="1097302"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468928" indent="-274325" algn="l" defTabSz="1097302"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3017580" indent="-274325" algn="l" defTabSz="1097302"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6230" indent="-274325" algn="l" defTabSz="1097302"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881" indent="-274325" algn="l" defTabSz="1097302"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3532" indent="-274325" algn="l" defTabSz="1097302"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tr-TR"/>
      </a:defPPr>
      <a:lvl1pPr marL="0" algn="l" defTabSz="1097302" rtl="0" eaLnBrk="1" latinLnBrk="0" hangingPunct="1">
        <a:defRPr sz="2160" kern="1200">
          <a:solidFill>
            <a:schemeClr val="tx1"/>
          </a:solidFill>
          <a:latin typeface="+mn-lt"/>
          <a:ea typeface="+mn-ea"/>
          <a:cs typeface="+mn-cs"/>
        </a:defRPr>
      </a:lvl1pPr>
      <a:lvl2pPr marL="548651" algn="l" defTabSz="1097302" rtl="0" eaLnBrk="1" latinLnBrk="0" hangingPunct="1">
        <a:defRPr sz="2160" kern="1200">
          <a:solidFill>
            <a:schemeClr val="tx1"/>
          </a:solidFill>
          <a:latin typeface="+mn-lt"/>
          <a:ea typeface="+mn-ea"/>
          <a:cs typeface="+mn-cs"/>
        </a:defRPr>
      </a:lvl2pPr>
      <a:lvl3pPr marL="1097302" algn="l" defTabSz="1097302" rtl="0" eaLnBrk="1" latinLnBrk="0" hangingPunct="1">
        <a:defRPr sz="2160" kern="1200">
          <a:solidFill>
            <a:schemeClr val="tx1"/>
          </a:solidFill>
          <a:latin typeface="+mn-lt"/>
          <a:ea typeface="+mn-ea"/>
          <a:cs typeface="+mn-cs"/>
        </a:defRPr>
      </a:lvl3pPr>
      <a:lvl4pPr marL="1645953" algn="l" defTabSz="1097302" rtl="0" eaLnBrk="1" latinLnBrk="0" hangingPunct="1">
        <a:defRPr sz="2160" kern="1200">
          <a:solidFill>
            <a:schemeClr val="tx1"/>
          </a:solidFill>
          <a:latin typeface="+mn-lt"/>
          <a:ea typeface="+mn-ea"/>
          <a:cs typeface="+mn-cs"/>
        </a:defRPr>
      </a:lvl4pPr>
      <a:lvl5pPr marL="2194603" algn="l" defTabSz="1097302" rtl="0" eaLnBrk="1" latinLnBrk="0" hangingPunct="1">
        <a:defRPr sz="2160" kern="1200">
          <a:solidFill>
            <a:schemeClr val="tx1"/>
          </a:solidFill>
          <a:latin typeface="+mn-lt"/>
          <a:ea typeface="+mn-ea"/>
          <a:cs typeface="+mn-cs"/>
        </a:defRPr>
      </a:lvl5pPr>
      <a:lvl6pPr marL="2743255" algn="l" defTabSz="1097302" rtl="0" eaLnBrk="1" latinLnBrk="0" hangingPunct="1">
        <a:defRPr sz="2160" kern="1200">
          <a:solidFill>
            <a:schemeClr val="tx1"/>
          </a:solidFill>
          <a:latin typeface="+mn-lt"/>
          <a:ea typeface="+mn-ea"/>
          <a:cs typeface="+mn-cs"/>
        </a:defRPr>
      </a:lvl6pPr>
      <a:lvl7pPr marL="3291905" algn="l" defTabSz="1097302" rtl="0" eaLnBrk="1" latinLnBrk="0" hangingPunct="1">
        <a:defRPr sz="2160" kern="1200">
          <a:solidFill>
            <a:schemeClr val="tx1"/>
          </a:solidFill>
          <a:latin typeface="+mn-lt"/>
          <a:ea typeface="+mn-ea"/>
          <a:cs typeface="+mn-cs"/>
        </a:defRPr>
      </a:lvl7pPr>
      <a:lvl8pPr marL="3840556" algn="l" defTabSz="1097302" rtl="0" eaLnBrk="1" latinLnBrk="0" hangingPunct="1">
        <a:defRPr sz="2160" kern="1200">
          <a:solidFill>
            <a:schemeClr val="tx1"/>
          </a:solidFill>
          <a:latin typeface="+mn-lt"/>
          <a:ea typeface="+mn-ea"/>
          <a:cs typeface="+mn-cs"/>
        </a:defRPr>
      </a:lvl8pPr>
      <a:lvl9pPr marL="4389207" algn="l" defTabSz="1097302" rtl="0" eaLnBrk="1" latinLnBrk="0" hangingPunct="1">
        <a:defRPr sz="216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1 Başlık Yer Tutucusu"/>
          <p:cNvSpPr>
            <a:spLocks noGrp="1"/>
          </p:cNvSpPr>
          <p:nvPr>
            <p:ph type="title"/>
          </p:nvPr>
        </p:nvSpPr>
        <p:spPr bwMode="auto">
          <a:xfrm>
            <a:off x="609600" y="27432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tr-TR" altLang="tr-TR" smtClean="0"/>
              <a:t>Asıl başlık stili için tıklatın</a:t>
            </a:r>
          </a:p>
        </p:txBody>
      </p:sp>
      <p:sp>
        <p:nvSpPr>
          <p:cNvPr id="1027" name="2 Metin Yer Tutucusu"/>
          <p:cNvSpPr>
            <a:spLocks noGrp="1"/>
          </p:cNvSpPr>
          <p:nvPr>
            <p:ph type="body" idx="1"/>
          </p:nvPr>
        </p:nvSpPr>
        <p:spPr bwMode="auto">
          <a:xfrm>
            <a:off x="609600" y="1600200"/>
            <a:ext cx="10972800" cy="4526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3 Veri Yer Tutucusu"/>
          <p:cNvSpPr>
            <a:spLocks noGrp="1"/>
          </p:cNvSpPr>
          <p:nvPr>
            <p:ph type="dt" sz="half" idx="2"/>
          </p:nvPr>
        </p:nvSpPr>
        <p:spPr>
          <a:xfrm>
            <a:off x="609600" y="6356986"/>
            <a:ext cx="2844800" cy="363854"/>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6B1237D6-5FC4-417A-9CAC-DF91F92FA243}"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3"/>
          </p:nvPr>
        </p:nvSpPr>
        <p:spPr>
          <a:xfrm>
            <a:off x="4165600" y="6356986"/>
            <a:ext cx="3860800" cy="363854"/>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4"/>
          </p:nvPr>
        </p:nvSpPr>
        <p:spPr>
          <a:xfrm>
            <a:off x="8737600" y="6356986"/>
            <a:ext cx="2844800" cy="363854"/>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CCB0430F-FEB3-4757-90A6-822BFF471C32}"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184821185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transition spd="slow">
    <p:cover/>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1 Başlık Yer Tutucusu"/>
          <p:cNvSpPr>
            <a:spLocks noGrp="1"/>
          </p:cNvSpPr>
          <p:nvPr>
            <p:ph type="title"/>
          </p:nvPr>
        </p:nvSpPr>
        <p:spPr bwMode="auto">
          <a:xfrm>
            <a:off x="609600" y="27432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tr-TR" altLang="tr-TR" smtClean="0"/>
              <a:t>Asıl başlık stili için tıklatın</a:t>
            </a:r>
          </a:p>
        </p:txBody>
      </p:sp>
      <p:sp>
        <p:nvSpPr>
          <p:cNvPr id="1027" name="2 Metin Yer Tutucusu"/>
          <p:cNvSpPr>
            <a:spLocks noGrp="1"/>
          </p:cNvSpPr>
          <p:nvPr>
            <p:ph type="body" idx="1"/>
          </p:nvPr>
        </p:nvSpPr>
        <p:spPr bwMode="auto">
          <a:xfrm>
            <a:off x="609600" y="1600200"/>
            <a:ext cx="10972800" cy="4526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3 Veri Yer Tutucusu"/>
          <p:cNvSpPr>
            <a:spLocks noGrp="1"/>
          </p:cNvSpPr>
          <p:nvPr>
            <p:ph type="dt" sz="half" idx="2"/>
          </p:nvPr>
        </p:nvSpPr>
        <p:spPr>
          <a:xfrm>
            <a:off x="609600" y="6356986"/>
            <a:ext cx="2844800" cy="363854"/>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F55B9062-7A91-471B-801F-B7AB7BCD867F}"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3"/>
          </p:nvPr>
        </p:nvSpPr>
        <p:spPr>
          <a:xfrm>
            <a:off x="4165600" y="6356986"/>
            <a:ext cx="3860800" cy="363854"/>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4"/>
          </p:nvPr>
        </p:nvSpPr>
        <p:spPr>
          <a:xfrm>
            <a:off x="8737600" y="6356986"/>
            <a:ext cx="2844800" cy="363854"/>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CCB0430F-FEB3-4757-90A6-822BFF471C32}"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943059308"/>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Lst>
  <p:transition spd="slow">
    <p:cover/>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1 Başlık Yer Tutucusu"/>
          <p:cNvSpPr>
            <a:spLocks noGrp="1"/>
          </p:cNvSpPr>
          <p:nvPr>
            <p:ph type="title"/>
          </p:nvPr>
        </p:nvSpPr>
        <p:spPr bwMode="auto">
          <a:xfrm>
            <a:off x="609600" y="27432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tr-TR" altLang="tr-TR" smtClean="0"/>
              <a:t>Asıl başlık stili için tıklatın</a:t>
            </a:r>
          </a:p>
        </p:txBody>
      </p:sp>
      <p:sp>
        <p:nvSpPr>
          <p:cNvPr id="1027" name="2 Metin Yer Tutucusu"/>
          <p:cNvSpPr>
            <a:spLocks noGrp="1"/>
          </p:cNvSpPr>
          <p:nvPr>
            <p:ph type="body" idx="1"/>
          </p:nvPr>
        </p:nvSpPr>
        <p:spPr bwMode="auto">
          <a:xfrm>
            <a:off x="609600" y="1600200"/>
            <a:ext cx="10972800" cy="4526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3 Veri Yer Tutucusu"/>
          <p:cNvSpPr>
            <a:spLocks noGrp="1"/>
          </p:cNvSpPr>
          <p:nvPr>
            <p:ph type="dt" sz="half" idx="2"/>
          </p:nvPr>
        </p:nvSpPr>
        <p:spPr>
          <a:xfrm>
            <a:off x="609600" y="6356986"/>
            <a:ext cx="2844800" cy="363854"/>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2F1ACF71-9022-49A8-BE24-6E903D957960}"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3"/>
          </p:nvPr>
        </p:nvSpPr>
        <p:spPr>
          <a:xfrm>
            <a:off x="4165600" y="6356986"/>
            <a:ext cx="3860800" cy="363854"/>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4"/>
          </p:nvPr>
        </p:nvSpPr>
        <p:spPr>
          <a:xfrm>
            <a:off x="8737600" y="6356986"/>
            <a:ext cx="2844800" cy="363854"/>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CCB0430F-FEB3-4757-90A6-822BFF471C32}"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244391887"/>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Lst>
  <p:transition spd="slow">
    <p:cover/>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1 Başlık Yer Tutucusu"/>
          <p:cNvSpPr>
            <a:spLocks noGrp="1"/>
          </p:cNvSpPr>
          <p:nvPr>
            <p:ph type="title"/>
          </p:nvPr>
        </p:nvSpPr>
        <p:spPr bwMode="auto">
          <a:xfrm>
            <a:off x="609600" y="27432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tr-TR" altLang="tr-TR" smtClean="0"/>
              <a:t>Asıl başlık stili için tıklatın</a:t>
            </a:r>
          </a:p>
        </p:txBody>
      </p:sp>
      <p:sp>
        <p:nvSpPr>
          <p:cNvPr id="1027" name="2 Metin Yer Tutucusu"/>
          <p:cNvSpPr>
            <a:spLocks noGrp="1"/>
          </p:cNvSpPr>
          <p:nvPr>
            <p:ph type="body" idx="1"/>
          </p:nvPr>
        </p:nvSpPr>
        <p:spPr bwMode="auto">
          <a:xfrm>
            <a:off x="609600" y="1600200"/>
            <a:ext cx="10972800" cy="4526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3 Veri Yer Tutucusu"/>
          <p:cNvSpPr>
            <a:spLocks noGrp="1"/>
          </p:cNvSpPr>
          <p:nvPr>
            <p:ph type="dt" sz="half" idx="2"/>
          </p:nvPr>
        </p:nvSpPr>
        <p:spPr>
          <a:xfrm>
            <a:off x="609600" y="6356986"/>
            <a:ext cx="2844800" cy="363854"/>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AC3140D2-1A51-4A34-9780-89BBA4CC90C7}"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3"/>
          </p:nvPr>
        </p:nvSpPr>
        <p:spPr>
          <a:xfrm>
            <a:off x="4165600" y="6356986"/>
            <a:ext cx="3860800" cy="363854"/>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4"/>
          </p:nvPr>
        </p:nvSpPr>
        <p:spPr>
          <a:xfrm>
            <a:off x="8737600" y="6356986"/>
            <a:ext cx="2844800" cy="363854"/>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CCB0430F-FEB3-4757-90A6-822BFF471C32}"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481984487"/>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Lst>
  <p:transition spd="slow">
    <p:cover/>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1 Başlık Yer Tutucusu"/>
          <p:cNvSpPr>
            <a:spLocks noGrp="1"/>
          </p:cNvSpPr>
          <p:nvPr>
            <p:ph type="title"/>
          </p:nvPr>
        </p:nvSpPr>
        <p:spPr bwMode="auto">
          <a:xfrm>
            <a:off x="609600" y="27432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tr-TR" altLang="tr-TR" smtClean="0"/>
              <a:t>Asıl başlık stili için tıklatın</a:t>
            </a:r>
          </a:p>
        </p:txBody>
      </p:sp>
      <p:sp>
        <p:nvSpPr>
          <p:cNvPr id="1027" name="2 Metin Yer Tutucusu"/>
          <p:cNvSpPr>
            <a:spLocks noGrp="1"/>
          </p:cNvSpPr>
          <p:nvPr>
            <p:ph type="body" idx="1"/>
          </p:nvPr>
        </p:nvSpPr>
        <p:spPr bwMode="auto">
          <a:xfrm>
            <a:off x="609600" y="1600200"/>
            <a:ext cx="10972800" cy="4526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3 Veri Yer Tutucusu"/>
          <p:cNvSpPr>
            <a:spLocks noGrp="1"/>
          </p:cNvSpPr>
          <p:nvPr>
            <p:ph type="dt" sz="half" idx="2"/>
          </p:nvPr>
        </p:nvSpPr>
        <p:spPr>
          <a:xfrm>
            <a:off x="609600" y="6356986"/>
            <a:ext cx="2844800" cy="363854"/>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8E0B26FB-DAF0-4540-BE3C-2D35163600A4}"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3"/>
          </p:nvPr>
        </p:nvSpPr>
        <p:spPr>
          <a:xfrm>
            <a:off x="4165600" y="6356986"/>
            <a:ext cx="3860800" cy="363854"/>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4"/>
          </p:nvPr>
        </p:nvSpPr>
        <p:spPr>
          <a:xfrm>
            <a:off x="8737600" y="6356986"/>
            <a:ext cx="2844800" cy="363854"/>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CCB0430F-FEB3-4757-90A6-822BFF471C32}"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300210558"/>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Lst>
  <p:transition spd="slow">
    <p:cover/>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585B669-227B-465F-B90A-A33ACE29EC01}"/>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471C645A-936D-4B16-9A84-99F6A9DBE1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4B87FD-74DA-4757-85DC-9F6B1EEE9677}"/>
              </a:ext>
            </a:extLst>
          </p:cNvPr>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
        <p:nvSpPr>
          <p:cNvPr id="5" name="Footer Placeholder 4">
            <a:extLst>
              <a:ext uri="{FF2B5EF4-FFF2-40B4-BE49-F238E27FC236}">
                <a16:creationId xmlns:a16="http://schemas.microsoft.com/office/drawing/2014/main" id="{5BCCA770-C4B9-4B5B-B92B-0C223902D057}"/>
              </a:ext>
            </a:extLst>
          </p:cNvPr>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
        <p:nvSpPr>
          <p:cNvPr id="6" name="Slide Number Placeholder 5">
            <a:extLst>
              <a:ext uri="{FF2B5EF4-FFF2-40B4-BE49-F238E27FC236}">
                <a16:creationId xmlns:a16="http://schemas.microsoft.com/office/drawing/2014/main" id="{944565F3-00FE-4E22-B7D4-E77A2091FF19}"/>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FD8526C-9AE6-4005-878F-EFD71AB9C8A8}" type="slidenum">
              <a:rPr kumimoji="0" lang="en-ID" sz="1200" b="0" i="0" u="none" strike="noStrike" kern="1200" cap="none" spc="0" normalizeH="0" baseline="0" noProof="0" smtClean="0">
                <a:ln>
                  <a:noFill/>
                </a:ln>
                <a:solidFill>
                  <a:srgbClr val="445469">
                    <a:tint val="75000"/>
                  </a:srgb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D"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Tree>
    <p:extLst>
      <p:ext uri="{BB962C8B-B14F-4D97-AF65-F5344CB8AC3E}">
        <p14:creationId xmlns:p14="http://schemas.microsoft.com/office/powerpoint/2010/main" val="4167920061"/>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1 Başlık Yer Tutucusu"/>
          <p:cNvSpPr>
            <a:spLocks noGrp="1"/>
          </p:cNvSpPr>
          <p:nvPr>
            <p:ph type="title"/>
          </p:nvPr>
        </p:nvSpPr>
        <p:spPr bwMode="auto">
          <a:xfrm>
            <a:off x="609600" y="27432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tr-TR" altLang="tr-TR" smtClean="0"/>
              <a:t>Asıl başlık stili için tıklatın</a:t>
            </a:r>
          </a:p>
        </p:txBody>
      </p:sp>
      <p:sp>
        <p:nvSpPr>
          <p:cNvPr id="1027" name="2 Metin Yer Tutucusu"/>
          <p:cNvSpPr>
            <a:spLocks noGrp="1"/>
          </p:cNvSpPr>
          <p:nvPr>
            <p:ph type="body" idx="1"/>
          </p:nvPr>
        </p:nvSpPr>
        <p:spPr bwMode="auto">
          <a:xfrm>
            <a:off x="609600" y="1600200"/>
            <a:ext cx="10972800" cy="4526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3 Veri Yer Tutucusu"/>
          <p:cNvSpPr>
            <a:spLocks noGrp="1"/>
          </p:cNvSpPr>
          <p:nvPr>
            <p:ph type="dt" sz="half" idx="2"/>
          </p:nvPr>
        </p:nvSpPr>
        <p:spPr>
          <a:xfrm>
            <a:off x="609600" y="6356986"/>
            <a:ext cx="2844800" cy="363854"/>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8E0B26FB-DAF0-4540-BE3C-2D35163600A4}" type="datetime1">
              <a:rPr lang="tr-TR" smtClean="0">
                <a:solidFill>
                  <a:prstClr val="black">
                    <a:tint val="75000"/>
                  </a:prstClr>
                </a:solidFill>
              </a:rPr>
              <a:pPr>
                <a:defRPr/>
              </a:pPr>
              <a:t>5.04.2021</a:t>
            </a:fld>
            <a:endParaRPr lang="tr-TR" dirty="0">
              <a:solidFill>
                <a:prstClr val="black">
                  <a:tint val="75000"/>
                </a:prstClr>
              </a:solidFill>
            </a:endParaRPr>
          </a:p>
        </p:txBody>
      </p:sp>
      <p:sp>
        <p:nvSpPr>
          <p:cNvPr id="5" name="4 Altbilgi Yer Tutucusu"/>
          <p:cNvSpPr>
            <a:spLocks noGrp="1"/>
          </p:cNvSpPr>
          <p:nvPr>
            <p:ph type="ftr" sz="quarter" idx="3"/>
          </p:nvPr>
        </p:nvSpPr>
        <p:spPr>
          <a:xfrm>
            <a:off x="4165600" y="6356986"/>
            <a:ext cx="3860800" cy="363854"/>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tr-TR">
              <a:solidFill>
                <a:prstClr val="black">
                  <a:tint val="75000"/>
                </a:prstClr>
              </a:solidFill>
            </a:endParaRPr>
          </a:p>
        </p:txBody>
      </p:sp>
      <p:sp>
        <p:nvSpPr>
          <p:cNvPr id="6" name="5 Slayt Numarası Yer Tutucusu"/>
          <p:cNvSpPr>
            <a:spLocks noGrp="1"/>
          </p:cNvSpPr>
          <p:nvPr>
            <p:ph type="sldNum" sz="quarter" idx="4"/>
          </p:nvPr>
        </p:nvSpPr>
        <p:spPr>
          <a:xfrm>
            <a:off x="8737600" y="6356986"/>
            <a:ext cx="2844800" cy="363854"/>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CCB0430F-FEB3-4757-90A6-822BFF471C32}" type="slidenum">
              <a:rPr lang="tr-TR" smtClean="0">
                <a:solidFill>
                  <a:prstClr val="black">
                    <a:tint val="75000"/>
                  </a:prstClr>
                </a:solidFill>
              </a:rPr>
              <a:pPr>
                <a:defRPr/>
              </a:pPr>
              <a:t>‹#›</a:t>
            </a:fld>
            <a:endParaRPr lang="tr-TR" dirty="0">
              <a:solidFill>
                <a:prstClr val="black">
                  <a:tint val="75000"/>
                </a:prstClr>
              </a:solidFill>
            </a:endParaRPr>
          </a:p>
        </p:txBody>
      </p:sp>
    </p:spTree>
    <p:extLst>
      <p:ext uri="{BB962C8B-B14F-4D97-AF65-F5344CB8AC3E}">
        <p14:creationId xmlns:p14="http://schemas.microsoft.com/office/powerpoint/2010/main" val="427870353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Lst>
  <p:transition spd="slow">
    <p:cover/>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9600" y="274680"/>
            <a:ext cx="10972800" cy="1143000"/>
          </a:xfrm>
          <a:prstGeom prst="rect">
            <a:avLst/>
          </a:prstGeom>
        </p:spPr>
        <p:txBody>
          <a:bodyPr vert="horz" lIns="91411" tIns="45706" rIns="91411" bIns="45706"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9600" y="1600293"/>
            <a:ext cx="10972800" cy="4525963"/>
          </a:xfrm>
          <a:prstGeom prst="rect">
            <a:avLst/>
          </a:prstGeom>
        </p:spPr>
        <p:txBody>
          <a:bodyPr vert="horz" lIns="91411" tIns="45706" rIns="91411" bIns="45706"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9600" y="6356498"/>
            <a:ext cx="2844800" cy="365125"/>
          </a:xfrm>
          <a:prstGeom prst="rect">
            <a:avLst/>
          </a:prstGeom>
        </p:spPr>
        <p:txBody>
          <a:bodyPr vert="horz" lIns="91411" tIns="45706" rIns="91411" bIns="45706" rtlCol="0" anchor="ctr"/>
          <a:lstStyle>
            <a:lvl1pPr algn="l">
              <a:defRPr sz="1204">
                <a:solidFill>
                  <a:schemeClr val="tx1">
                    <a:tint val="75000"/>
                  </a:schemeClr>
                </a:solidFill>
              </a:defRPr>
            </a:lvl1pPr>
          </a:lstStyle>
          <a:p>
            <a:pPr defTabSz="917783" fontAlgn="base">
              <a:spcBef>
                <a:spcPct val="0"/>
              </a:spcBef>
              <a:spcAft>
                <a:spcPct val="0"/>
              </a:spcAft>
              <a:defRPr/>
            </a:pPr>
            <a:fld id="{3D3E391B-CB8B-480C-A6DB-E7A8C071C073}" type="datetime1">
              <a:rPr lang="en-US" smtClean="0">
                <a:solidFill>
                  <a:prstClr val="black">
                    <a:tint val="75000"/>
                  </a:prstClr>
                </a:solidFill>
                <a:ea typeface="ヒラギノ角ゴ Pro W3" pitchFamily="1" charset="-128"/>
              </a:rPr>
              <a:pPr defTabSz="917783"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3"/>
          </p:nvPr>
        </p:nvSpPr>
        <p:spPr>
          <a:xfrm>
            <a:off x="4165600" y="6356498"/>
            <a:ext cx="3860800" cy="365125"/>
          </a:xfrm>
          <a:prstGeom prst="rect">
            <a:avLst/>
          </a:prstGeom>
        </p:spPr>
        <p:txBody>
          <a:bodyPr vert="horz" lIns="91411" tIns="45706" rIns="91411" bIns="45706" rtlCol="0" anchor="ctr"/>
          <a:lstStyle>
            <a:lvl1pPr algn="ctr">
              <a:defRPr sz="1204">
                <a:solidFill>
                  <a:schemeClr val="tx1">
                    <a:tint val="75000"/>
                  </a:schemeClr>
                </a:solidFill>
              </a:defRPr>
            </a:lvl1pPr>
          </a:lstStyle>
          <a:p>
            <a:pPr defTabSz="917783"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4"/>
          </p:nvPr>
        </p:nvSpPr>
        <p:spPr>
          <a:xfrm>
            <a:off x="8737600" y="6356498"/>
            <a:ext cx="2844800" cy="365125"/>
          </a:xfrm>
          <a:prstGeom prst="rect">
            <a:avLst/>
          </a:prstGeom>
        </p:spPr>
        <p:txBody>
          <a:bodyPr vert="horz" lIns="91411" tIns="45706" rIns="91411" bIns="45706" rtlCol="0" anchor="ctr"/>
          <a:lstStyle>
            <a:lvl1pPr algn="r">
              <a:defRPr sz="1204">
                <a:solidFill>
                  <a:schemeClr val="tx1">
                    <a:tint val="75000"/>
                  </a:schemeClr>
                </a:solidFill>
              </a:defRPr>
            </a:lvl1p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95000805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hdr="0" ftr="0" dt="0"/>
  <p:txStyles>
    <p:titleStyle>
      <a:lvl1pPr algn="ctr" defTabSz="917496" rtl="0" eaLnBrk="1" latinLnBrk="0" hangingPunct="1">
        <a:spcBef>
          <a:spcPct val="0"/>
        </a:spcBef>
        <a:buNone/>
        <a:defRPr sz="4416" kern="1200">
          <a:solidFill>
            <a:schemeClr val="tx1"/>
          </a:solidFill>
          <a:latin typeface="+mj-lt"/>
          <a:ea typeface="+mj-ea"/>
          <a:cs typeface="+mj-cs"/>
        </a:defRPr>
      </a:lvl1pPr>
    </p:titleStyle>
    <p:bodyStyle>
      <a:lvl1pPr marL="344060" indent="-344060" algn="l" defTabSz="917496" rtl="0" eaLnBrk="1" latinLnBrk="0" hangingPunct="1">
        <a:spcBef>
          <a:spcPct val="20000"/>
        </a:spcBef>
        <a:buFont typeface="Arial" pitchFamily="34" charset="0"/>
        <a:buChar char="•"/>
        <a:defRPr sz="3111" kern="1200">
          <a:solidFill>
            <a:schemeClr val="tx1"/>
          </a:solidFill>
          <a:latin typeface="+mn-lt"/>
          <a:ea typeface="+mn-ea"/>
          <a:cs typeface="+mn-cs"/>
        </a:defRPr>
      </a:lvl1pPr>
      <a:lvl2pPr marL="745465" indent="-286718" algn="l" defTabSz="917496" rtl="0" eaLnBrk="1" latinLnBrk="0" hangingPunct="1">
        <a:spcBef>
          <a:spcPct val="20000"/>
        </a:spcBef>
        <a:buFont typeface="Arial" pitchFamily="34" charset="0"/>
        <a:buChar char="–"/>
        <a:defRPr sz="2810" kern="1200">
          <a:solidFill>
            <a:schemeClr val="tx1"/>
          </a:solidFill>
          <a:latin typeface="+mn-lt"/>
          <a:ea typeface="+mn-ea"/>
          <a:cs typeface="+mn-cs"/>
        </a:defRPr>
      </a:lvl2pPr>
      <a:lvl3pPr marL="1146869" indent="-229375" algn="l" defTabSz="917496" rtl="0" eaLnBrk="1" latinLnBrk="0" hangingPunct="1">
        <a:spcBef>
          <a:spcPct val="20000"/>
        </a:spcBef>
        <a:buFont typeface="Arial" pitchFamily="34" charset="0"/>
        <a:buChar char="•"/>
        <a:defRPr sz="2409" kern="1200">
          <a:solidFill>
            <a:schemeClr val="tx1"/>
          </a:solidFill>
          <a:latin typeface="+mn-lt"/>
          <a:ea typeface="+mn-ea"/>
          <a:cs typeface="+mn-cs"/>
        </a:defRPr>
      </a:lvl3pPr>
      <a:lvl4pPr marL="1605618" indent="-229375" algn="l" defTabSz="917496" rtl="0" eaLnBrk="1" latinLnBrk="0" hangingPunct="1">
        <a:spcBef>
          <a:spcPct val="20000"/>
        </a:spcBef>
        <a:buFont typeface="Arial" pitchFamily="34" charset="0"/>
        <a:buChar char="–"/>
        <a:defRPr sz="2007" kern="1200">
          <a:solidFill>
            <a:schemeClr val="tx1"/>
          </a:solidFill>
          <a:latin typeface="+mn-lt"/>
          <a:ea typeface="+mn-ea"/>
          <a:cs typeface="+mn-cs"/>
        </a:defRPr>
      </a:lvl4pPr>
      <a:lvl5pPr marL="2064367" indent="-229375" algn="l" defTabSz="917496" rtl="0" eaLnBrk="1" latinLnBrk="0" hangingPunct="1">
        <a:spcBef>
          <a:spcPct val="20000"/>
        </a:spcBef>
        <a:buFont typeface="Arial" pitchFamily="34" charset="0"/>
        <a:buChar char="»"/>
        <a:defRPr sz="2007" kern="1200">
          <a:solidFill>
            <a:schemeClr val="tx1"/>
          </a:solidFill>
          <a:latin typeface="+mn-lt"/>
          <a:ea typeface="+mn-ea"/>
          <a:cs typeface="+mn-cs"/>
        </a:defRPr>
      </a:lvl5pPr>
      <a:lvl6pPr marL="2523115" indent="-229375" algn="l" defTabSz="917496" rtl="0" eaLnBrk="1" latinLnBrk="0" hangingPunct="1">
        <a:spcBef>
          <a:spcPct val="20000"/>
        </a:spcBef>
        <a:buFont typeface="Arial" pitchFamily="34" charset="0"/>
        <a:buChar char="•"/>
        <a:defRPr sz="2007" kern="1200">
          <a:solidFill>
            <a:schemeClr val="tx1"/>
          </a:solidFill>
          <a:latin typeface="+mn-lt"/>
          <a:ea typeface="+mn-ea"/>
          <a:cs typeface="+mn-cs"/>
        </a:defRPr>
      </a:lvl6pPr>
      <a:lvl7pPr marL="2981862" indent="-229375" algn="l" defTabSz="917496" rtl="0" eaLnBrk="1" latinLnBrk="0" hangingPunct="1">
        <a:spcBef>
          <a:spcPct val="20000"/>
        </a:spcBef>
        <a:buFont typeface="Arial" pitchFamily="34" charset="0"/>
        <a:buChar char="•"/>
        <a:defRPr sz="2007" kern="1200">
          <a:solidFill>
            <a:schemeClr val="tx1"/>
          </a:solidFill>
          <a:latin typeface="+mn-lt"/>
          <a:ea typeface="+mn-ea"/>
          <a:cs typeface="+mn-cs"/>
        </a:defRPr>
      </a:lvl7pPr>
      <a:lvl8pPr marL="3440610" indent="-229375" algn="l" defTabSz="917496" rtl="0" eaLnBrk="1" latinLnBrk="0" hangingPunct="1">
        <a:spcBef>
          <a:spcPct val="20000"/>
        </a:spcBef>
        <a:buFont typeface="Arial" pitchFamily="34" charset="0"/>
        <a:buChar char="•"/>
        <a:defRPr sz="2007" kern="1200">
          <a:solidFill>
            <a:schemeClr val="tx1"/>
          </a:solidFill>
          <a:latin typeface="+mn-lt"/>
          <a:ea typeface="+mn-ea"/>
          <a:cs typeface="+mn-cs"/>
        </a:defRPr>
      </a:lvl8pPr>
      <a:lvl9pPr marL="3899358" indent="-229375" algn="l" defTabSz="917496" rtl="0" eaLnBrk="1" latinLnBrk="0" hangingPunct="1">
        <a:spcBef>
          <a:spcPct val="20000"/>
        </a:spcBef>
        <a:buFont typeface="Arial" pitchFamily="34" charset="0"/>
        <a:buChar char="•"/>
        <a:defRPr sz="2007" kern="1200">
          <a:solidFill>
            <a:schemeClr val="tx1"/>
          </a:solidFill>
          <a:latin typeface="+mn-lt"/>
          <a:ea typeface="+mn-ea"/>
          <a:cs typeface="+mn-cs"/>
        </a:defRPr>
      </a:lvl9pPr>
    </p:bodyStyle>
    <p:otherStyle>
      <a:defPPr>
        <a:defRPr lang="tr-TR"/>
      </a:defPPr>
      <a:lvl1pPr marL="0" algn="l" defTabSz="917496" rtl="0" eaLnBrk="1" latinLnBrk="0" hangingPunct="1">
        <a:defRPr sz="1807" kern="1200">
          <a:solidFill>
            <a:schemeClr val="tx1"/>
          </a:solidFill>
          <a:latin typeface="+mn-lt"/>
          <a:ea typeface="+mn-ea"/>
          <a:cs typeface="+mn-cs"/>
        </a:defRPr>
      </a:lvl1pPr>
      <a:lvl2pPr marL="458747" algn="l" defTabSz="917496" rtl="0" eaLnBrk="1" latinLnBrk="0" hangingPunct="1">
        <a:defRPr sz="1807" kern="1200">
          <a:solidFill>
            <a:schemeClr val="tx1"/>
          </a:solidFill>
          <a:latin typeface="+mn-lt"/>
          <a:ea typeface="+mn-ea"/>
          <a:cs typeface="+mn-cs"/>
        </a:defRPr>
      </a:lvl2pPr>
      <a:lvl3pPr marL="917496" algn="l" defTabSz="917496" rtl="0" eaLnBrk="1" latinLnBrk="0" hangingPunct="1">
        <a:defRPr sz="1807" kern="1200">
          <a:solidFill>
            <a:schemeClr val="tx1"/>
          </a:solidFill>
          <a:latin typeface="+mn-lt"/>
          <a:ea typeface="+mn-ea"/>
          <a:cs typeface="+mn-cs"/>
        </a:defRPr>
      </a:lvl3pPr>
      <a:lvl4pPr marL="1376244" algn="l" defTabSz="917496" rtl="0" eaLnBrk="1" latinLnBrk="0" hangingPunct="1">
        <a:defRPr sz="1807" kern="1200">
          <a:solidFill>
            <a:schemeClr val="tx1"/>
          </a:solidFill>
          <a:latin typeface="+mn-lt"/>
          <a:ea typeface="+mn-ea"/>
          <a:cs typeface="+mn-cs"/>
        </a:defRPr>
      </a:lvl4pPr>
      <a:lvl5pPr marL="1834991" algn="l" defTabSz="917496" rtl="0" eaLnBrk="1" latinLnBrk="0" hangingPunct="1">
        <a:defRPr sz="1807" kern="1200">
          <a:solidFill>
            <a:schemeClr val="tx1"/>
          </a:solidFill>
          <a:latin typeface="+mn-lt"/>
          <a:ea typeface="+mn-ea"/>
          <a:cs typeface="+mn-cs"/>
        </a:defRPr>
      </a:lvl5pPr>
      <a:lvl6pPr marL="2293740" algn="l" defTabSz="917496" rtl="0" eaLnBrk="1" latinLnBrk="0" hangingPunct="1">
        <a:defRPr sz="1807" kern="1200">
          <a:solidFill>
            <a:schemeClr val="tx1"/>
          </a:solidFill>
          <a:latin typeface="+mn-lt"/>
          <a:ea typeface="+mn-ea"/>
          <a:cs typeface="+mn-cs"/>
        </a:defRPr>
      </a:lvl6pPr>
      <a:lvl7pPr marL="2752490" algn="l" defTabSz="917496" rtl="0" eaLnBrk="1" latinLnBrk="0" hangingPunct="1">
        <a:defRPr sz="1807" kern="1200">
          <a:solidFill>
            <a:schemeClr val="tx1"/>
          </a:solidFill>
          <a:latin typeface="+mn-lt"/>
          <a:ea typeface="+mn-ea"/>
          <a:cs typeface="+mn-cs"/>
        </a:defRPr>
      </a:lvl7pPr>
      <a:lvl8pPr marL="3211236" algn="l" defTabSz="917496" rtl="0" eaLnBrk="1" latinLnBrk="0" hangingPunct="1">
        <a:defRPr sz="1807" kern="1200">
          <a:solidFill>
            <a:schemeClr val="tx1"/>
          </a:solidFill>
          <a:latin typeface="+mn-lt"/>
          <a:ea typeface="+mn-ea"/>
          <a:cs typeface="+mn-cs"/>
        </a:defRPr>
      </a:lvl8pPr>
      <a:lvl9pPr marL="3669984" algn="l" defTabSz="917496" rtl="0" eaLnBrk="1" latinLnBrk="0" hangingPunct="1">
        <a:defRPr sz="180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585B669-227B-465F-B90A-A33ACE29EC01}"/>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471C645A-936D-4B16-9A84-99F6A9DBE1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4B87FD-74DA-4757-85DC-9F6B1EEE9677}"/>
              </a:ext>
            </a:extLst>
          </p:cNvPr>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
        <p:nvSpPr>
          <p:cNvPr id="5" name="Footer Placeholder 4">
            <a:extLst>
              <a:ext uri="{FF2B5EF4-FFF2-40B4-BE49-F238E27FC236}">
                <a16:creationId xmlns:a16="http://schemas.microsoft.com/office/drawing/2014/main" id="{5BCCA770-C4B9-4B5B-B92B-0C223902D057}"/>
              </a:ext>
            </a:extLst>
          </p:cNvPr>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
        <p:nvSpPr>
          <p:cNvPr id="6" name="Slide Number Placeholder 5">
            <a:extLst>
              <a:ext uri="{FF2B5EF4-FFF2-40B4-BE49-F238E27FC236}">
                <a16:creationId xmlns:a16="http://schemas.microsoft.com/office/drawing/2014/main" id="{944565F3-00FE-4E22-B7D4-E77A2091FF19}"/>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FD8526C-9AE6-4005-878F-EFD71AB9C8A8}" type="slidenum">
              <a:rPr kumimoji="0" lang="en-ID" sz="1200" b="0" i="0" u="none" strike="noStrike" kern="1200" cap="none" spc="0" normalizeH="0" baseline="0" noProof="0" smtClean="0">
                <a:ln>
                  <a:noFill/>
                </a:ln>
                <a:solidFill>
                  <a:srgbClr val="445469">
                    <a:tint val="75000"/>
                  </a:srgb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D"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Tree>
    <p:extLst>
      <p:ext uri="{BB962C8B-B14F-4D97-AF65-F5344CB8AC3E}">
        <p14:creationId xmlns:p14="http://schemas.microsoft.com/office/powerpoint/2010/main" val="1991456464"/>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58"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9601" y="274680"/>
            <a:ext cx="10972800" cy="1143000"/>
          </a:xfrm>
          <a:prstGeom prst="rect">
            <a:avLst/>
          </a:prstGeom>
        </p:spPr>
        <p:txBody>
          <a:bodyPr vert="horz" lIns="91440" tIns="45720" rIns="91440" bIns="45720" rtlCol="0" anchor="ctr">
            <a:normAutofit/>
          </a:bodyPr>
          <a:lstStyle/>
          <a:p>
            <a:r>
              <a:rPr lang="tr-TR"/>
              <a:t>Asıl başlık stili için tıklatın</a:t>
            </a:r>
          </a:p>
        </p:txBody>
      </p:sp>
      <p:sp>
        <p:nvSpPr>
          <p:cNvPr id="3" name="2 Metin Yer Tutucusu"/>
          <p:cNvSpPr>
            <a:spLocks noGrp="1"/>
          </p:cNvSpPr>
          <p:nvPr>
            <p:ph type="body" idx="1"/>
          </p:nvPr>
        </p:nvSpPr>
        <p:spPr>
          <a:xfrm>
            <a:off x="609601" y="1600241"/>
            <a:ext cx="10972800" cy="4525963"/>
          </a:xfrm>
          <a:prstGeom prst="rect">
            <a:avLst/>
          </a:prstGeom>
        </p:spPr>
        <p:txBody>
          <a:bodyPr vert="horz" lIns="91440" tIns="45720" rIns="91440" bIns="45720" rtlCol="0">
            <a:normAutofit/>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Veri Yer Tutucusu"/>
          <p:cNvSpPr>
            <a:spLocks noGrp="1"/>
          </p:cNvSpPr>
          <p:nvPr>
            <p:ph type="dt" sz="half" idx="2"/>
          </p:nvPr>
        </p:nvSpPr>
        <p:spPr>
          <a:xfrm>
            <a:off x="609600" y="6356444"/>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DA2E6529-E53F-4ACC-9245-472361B20AB7}"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3"/>
          </p:nvPr>
        </p:nvSpPr>
        <p:spPr>
          <a:xfrm>
            <a:off x="4165600" y="6356444"/>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4"/>
          </p:nvPr>
        </p:nvSpPr>
        <p:spPr>
          <a:xfrm>
            <a:off x="8737600" y="6356444"/>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003910396"/>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Lst>
  <p:hf hdr="0" ftr="0" dt="0"/>
  <p:txStyles>
    <p:titleStyle>
      <a:lvl1pPr algn="ctr" defTabSz="1219275" rtl="0" eaLnBrk="1" latinLnBrk="0" hangingPunct="1">
        <a:spcBef>
          <a:spcPct val="0"/>
        </a:spcBef>
        <a:buNone/>
        <a:defRPr sz="5867" kern="1200">
          <a:solidFill>
            <a:schemeClr val="tx1"/>
          </a:solidFill>
          <a:latin typeface="+mj-lt"/>
          <a:ea typeface="+mj-ea"/>
          <a:cs typeface="+mj-cs"/>
        </a:defRPr>
      </a:lvl1pPr>
    </p:titleStyle>
    <p:bodyStyle>
      <a:lvl1pPr marL="457229" indent="-457229" algn="l" defTabSz="1219275"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661" indent="-381024" algn="l" defTabSz="1219275" rtl="0" eaLnBrk="1" latinLnBrk="0" hangingPunct="1">
        <a:spcBef>
          <a:spcPct val="20000"/>
        </a:spcBef>
        <a:buFont typeface="Arial" pitchFamily="34" charset="0"/>
        <a:buChar char="–"/>
        <a:defRPr sz="3734" kern="1200">
          <a:solidFill>
            <a:schemeClr val="tx1"/>
          </a:solidFill>
          <a:latin typeface="+mn-lt"/>
          <a:ea typeface="+mn-ea"/>
          <a:cs typeface="+mn-cs"/>
        </a:defRPr>
      </a:lvl2pPr>
      <a:lvl3pPr marL="1524094" indent="-304819" algn="l" defTabSz="1219275"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732" indent="-304819" algn="l" defTabSz="1219275"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369" indent="-304819" algn="l" defTabSz="1219275"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3006" indent="-304819" algn="l" defTabSz="1219275"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644" indent="-304819" algn="l" defTabSz="1219275"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2282" indent="-304819" algn="l" defTabSz="1219275"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919" indent="-304819" algn="l" defTabSz="1219275"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tr-TR"/>
      </a:defPPr>
      <a:lvl1pPr marL="0" algn="l" defTabSz="1219275" rtl="0" eaLnBrk="1" latinLnBrk="0" hangingPunct="1">
        <a:defRPr sz="2400" kern="1200">
          <a:solidFill>
            <a:schemeClr val="tx1"/>
          </a:solidFill>
          <a:latin typeface="+mn-lt"/>
          <a:ea typeface="+mn-ea"/>
          <a:cs typeface="+mn-cs"/>
        </a:defRPr>
      </a:lvl1pPr>
      <a:lvl2pPr marL="609637" algn="l" defTabSz="1219275" rtl="0" eaLnBrk="1" latinLnBrk="0" hangingPunct="1">
        <a:defRPr sz="2400" kern="1200">
          <a:solidFill>
            <a:schemeClr val="tx1"/>
          </a:solidFill>
          <a:latin typeface="+mn-lt"/>
          <a:ea typeface="+mn-ea"/>
          <a:cs typeface="+mn-cs"/>
        </a:defRPr>
      </a:lvl2pPr>
      <a:lvl3pPr marL="1219275" algn="l" defTabSz="1219275" rtl="0" eaLnBrk="1" latinLnBrk="0" hangingPunct="1">
        <a:defRPr sz="2400" kern="1200">
          <a:solidFill>
            <a:schemeClr val="tx1"/>
          </a:solidFill>
          <a:latin typeface="+mn-lt"/>
          <a:ea typeface="+mn-ea"/>
          <a:cs typeface="+mn-cs"/>
        </a:defRPr>
      </a:lvl3pPr>
      <a:lvl4pPr marL="1828913" algn="l" defTabSz="1219275" rtl="0" eaLnBrk="1" latinLnBrk="0" hangingPunct="1">
        <a:defRPr sz="2400" kern="1200">
          <a:solidFill>
            <a:schemeClr val="tx1"/>
          </a:solidFill>
          <a:latin typeface="+mn-lt"/>
          <a:ea typeface="+mn-ea"/>
          <a:cs typeface="+mn-cs"/>
        </a:defRPr>
      </a:lvl4pPr>
      <a:lvl5pPr marL="2438550" algn="l" defTabSz="1219275" rtl="0" eaLnBrk="1" latinLnBrk="0" hangingPunct="1">
        <a:defRPr sz="2400" kern="1200">
          <a:solidFill>
            <a:schemeClr val="tx1"/>
          </a:solidFill>
          <a:latin typeface="+mn-lt"/>
          <a:ea typeface="+mn-ea"/>
          <a:cs typeface="+mn-cs"/>
        </a:defRPr>
      </a:lvl5pPr>
      <a:lvl6pPr marL="3048188" algn="l" defTabSz="1219275" rtl="0" eaLnBrk="1" latinLnBrk="0" hangingPunct="1">
        <a:defRPr sz="2400" kern="1200">
          <a:solidFill>
            <a:schemeClr val="tx1"/>
          </a:solidFill>
          <a:latin typeface="+mn-lt"/>
          <a:ea typeface="+mn-ea"/>
          <a:cs typeface="+mn-cs"/>
        </a:defRPr>
      </a:lvl6pPr>
      <a:lvl7pPr marL="3657825" algn="l" defTabSz="1219275" rtl="0" eaLnBrk="1" latinLnBrk="0" hangingPunct="1">
        <a:defRPr sz="2400" kern="1200">
          <a:solidFill>
            <a:schemeClr val="tx1"/>
          </a:solidFill>
          <a:latin typeface="+mn-lt"/>
          <a:ea typeface="+mn-ea"/>
          <a:cs typeface="+mn-cs"/>
        </a:defRPr>
      </a:lvl7pPr>
      <a:lvl8pPr marL="4267462" algn="l" defTabSz="1219275" rtl="0" eaLnBrk="1" latinLnBrk="0" hangingPunct="1">
        <a:defRPr sz="2400" kern="1200">
          <a:solidFill>
            <a:schemeClr val="tx1"/>
          </a:solidFill>
          <a:latin typeface="+mn-lt"/>
          <a:ea typeface="+mn-ea"/>
          <a:cs typeface="+mn-cs"/>
        </a:defRPr>
      </a:lvl8pPr>
      <a:lvl9pPr marL="4877101" algn="l" defTabSz="121927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l="-34000" r="-34000"/>
          </a:stretch>
        </a:blipFill>
        <a:effectLst/>
      </p:bgPr>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9601" y="274680"/>
            <a:ext cx="10972800" cy="1143000"/>
          </a:xfrm>
          <a:prstGeom prst="rect">
            <a:avLst/>
          </a:prstGeom>
        </p:spPr>
        <p:txBody>
          <a:bodyPr vert="horz" lIns="91440" tIns="45720" rIns="91440" bIns="45720"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9601" y="1600293"/>
            <a:ext cx="10972800" cy="4525963"/>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9600" y="6356496"/>
            <a:ext cx="2844800" cy="365125"/>
          </a:xfrm>
          <a:prstGeom prst="rect">
            <a:avLst/>
          </a:prstGeom>
        </p:spPr>
        <p:txBody>
          <a:bodyPr vert="horz" lIns="91440" tIns="45720" rIns="91440" bIns="45720" rtlCol="0" anchor="ctr"/>
          <a:lstStyle>
            <a:lvl1pPr algn="l">
              <a:defRPr sz="1204">
                <a:solidFill>
                  <a:schemeClr val="tx1">
                    <a:tint val="75000"/>
                  </a:schemeClr>
                </a:solidFill>
              </a:defRPr>
            </a:lvl1pPr>
          </a:lstStyle>
          <a:p>
            <a:pPr marL="0" marR="0" lvl="0" indent="0" algn="l" defTabSz="917783" rtl="0" eaLnBrk="1" fontAlgn="base" latinLnBrk="0" hangingPunct="1">
              <a:lnSpc>
                <a:spcPct val="100000"/>
              </a:lnSpc>
              <a:spcBef>
                <a:spcPct val="0"/>
              </a:spcBef>
              <a:spcAft>
                <a:spcPct val="0"/>
              </a:spcAft>
              <a:buClrTx/>
              <a:buSzTx/>
              <a:buFontTx/>
              <a:buNone/>
              <a:tabLst/>
              <a:defRPr/>
            </a:pPr>
            <a:fld id="{3FE93F87-0169-4269-843D-8CF2F9A6B907}"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7783"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3"/>
          </p:nvPr>
        </p:nvSpPr>
        <p:spPr>
          <a:xfrm>
            <a:off x="4165600" y="6356496"/>
            <a:ext cx="3860800" cy="365125"/>
          </a:xfrm>
          <a:prstGeom prst="rect">
            <a:avLst/>
          </a:prstGeom>
        </p:spPr>
        <p:txBody>
          <a:bodyPr vert="horz" lIns="91440" tIns="45720" rIns="91440" bIns="45720" rtlCol="0" anchor="ctr"/>
          <a:lstStyle>
            <a:lvl1pPr algn="ctr">
              <a:defRPr sz="1204">
                <a:solidFill>
                  <a:schemeClr val="tx1">
                    <a:tint val="75000"/>
                  </a:schemeClr>
                </a:solidFill>
              </a:defRPr>
            </a:lvl1p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4"/>
          </p:nvPr>
        </p:nvSpPr>
        <p:spPr>
          <a:xfrm>
            <a:off x="8737600" y="6356496"/>
            <a:ext cx="2844800" cy="365125"/>
          </a:xfrm>
          <a:prstGeom prst="rect">
            <a:avLst/>
          </a:prstGeom>
        </p:spPr>
        <p:txBody>
          <a:bodyPr vert="horz" lIns="91440" tIns="45720" rIns="91440" bIns="45720" rtlCol="0" anchor="ctr"/>
          <a:lstStyle>
            <a:lvl1pPr algn="r">
              <a:defRPr sz="1204">
                <a:solidFill>
                  <a:schemeClr val="tx1">
                    <a:tint val="75000"/>
                  </a:schemeClr>
                </a:solidFill>
              </a:defRPr>
            </a:lvl1p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2702185004"/>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Lst>
  <p:hf hdr="0" ftr="0" dt="0"/>
  <p:txStyles>
    <p:titleStyle>
      <a:lvl1pPr algn="ctr" defTabSz="917783" rtl="0" eaLnBrk="1" latinLnBrk="0" hangingPunct="1">
        <a:spcBef>
          <a:spcPct val="0"/>
        </a:spcBef>
        <a:buNone/>
        <a:defRPr sz="4416" kern="1200">
          <a:solidFill>
            <a:schemeClr val="tx1"/>
          </a:solidFill>
          <a:latin typeface="+mj-lt"/>
          <a:ea typeface="+mj-ea"/>
          <a:cs typeface="+mj-cs"/>
        </a:defRPr>
      </a:lvl1pPr>
    </p:titleStyle>
    <p:bodyStyle>
      <a:lvl1pPr marL="344169" indent="-344169" algn="l" defTabSz="917783" rtl="0" eaLnBrk="1" latinLnBrk="0" hangingPunct="1">
        <a:spcBef>
          <a:spcPct val="20000"/>
        </a:spcBef>
        <a:buFont typeface="Arial" pitchFamily="34" charset="0"/>
        <a:buChar char="•"/>
        <a:defRPr sz="3212" kern="1200">
          <a:solidFill>
            <a:schemeClr val="tx1"/>
          </a:solidFill>
          <a:latin typeface="+mn-lt"/>
          <a:ea typeface="+mn-ea"/>
          <a:cs typeface="+mn-cs"/>
        </a:defRPr>
      </a:lvl1pPr>
      <a:lvl2pPr marL="745699" indent="-286807" algn="l" defTabSz="917783" rtl="0" eaLnBrk="1" latinLnBrk="0" hangingPunct="1">
        <a:spcBef>
          <a:spcPct val="20000"/>
        </a:spcBef>
        <a:buFont typeface="Arial" pitchFamily="34" charset="0"/>
        <a:buChar char="–"/>
        <a:defRPr sz="2810" kern="1200">
          <a:solidFill>
            <a:schemeClr val="tx1"/>
          </a:solidFill>
          <a:latin typeface="+mn-lt"/>
          <a:ea typeface="+mn-ea"/>
          <a:cs typeface="+mn-cs"/>
        </a:defRPr>
      </a:lvl2pPr>
      <a:lvl3pPr marL="1147229" indent="-229446" algn="l" defTabSz="917783" rtl="0" eaLnBrk="1" latinLnBrk="0" hangingPunct="1">
        <a:spcBef>
          <a:spcPct val="20000"/>
        </a:spcBef>
        <a:buFont typeface="Arial" pitchFamily="34" charset="0"/>
        <a:buChar char="•"/>
        <a:defRPr sz="2409" kern="1200">
          <a:solidFill>
            <a:schemeClr val="tx1"/>
          </a:solidFill>
          <a:latin typeface="+mn-lt"/>
          <a:ea typeface="+mn-ea"/>
          <a:cs typeface="+mn-cs"/>
        </a:defRPr>
      </a:lvl3pPr>
      <a:lvl4pPr marL="1606121" indent="-229446" algn="l" defTabSz="917783" rtl="0" eaLnBrk="1" latinLnBrk="0" hangingPunct="1">
        <a:spcBef>
          <a:spcPct val="20000"/>
        </a:spcBef>
        <a:buFont typeface="Arial" pitchFamily="34" charset="0"/>
        <a:buChar char="–"/>
        <a:defRPr sz="2007" kern="1200">
          <a:solidFill>
            <a:schemeClr val="tx1"/>
          </a:solidFill>
          <a:latin typeface="+mn-lt"/>
          <a:ea typeface="+mn-ea"/>
          <a:cs typeface="+mn-cs"/>
        </a:defRPr>
      </a:lvl4pPr>
      <a:lvl5pPr marL="2065012" indent="-229446" algn="l" defTabSz="917783" rtl="0" eaLnBrk="1" latinLnBrk="0" hangingPunct="1">
        <a:spcBef>
          <a:spcPct val="20000"/>
        </a:spcBef>
        <a:buFont typeface="Arial" pitchFamily="34" charset="0"/>
        <a:buChar char="»"/>
        <a:defRPr sz="2007" kern="1200">
          <a:solidFill>
            <a:schemeClr val="tx1"/>
          </a:solidFill>
          <a:latin typeface="+mn-lt"/>
          <a:ea typeface="+mn-ea"/>
          <a:cs typeface="+mn-cs"/>
        </a:defRPr>
      </a:lvl5pPr>
      <a:lvl6pPr marL="2523904" indent="-229446" algn="l" defTabSz="917783" rtl="0" eaLnBrk="1" latinLnBrk="0" hangingPunct="1">
        <a:spcBef>
          <a:spcPct val="20000"/>
        </a:spcBef>
        <a:buFont typeface="Arial" pitchFamily="34" charset="0"/>
        <a:buChar char="•"/>
        <a:defRPr sz="2007" kern="1200">
          <a:solidFill>
            <a:schemeClr val="tx1"/>
          </a:solidFill>
          <a:latin typeface="+mn-lt"/>
          <a:ea typeface="+mn-ea"/>
          <a:cs typeface="+mn-cs"/>
        </a:defRPr>
      </a:lvl6pPr>
      <a:lvl7pPr marL="2982796" indent="-229446" algn="l" defTabSz="917783" rtl="0" eaLnBrk="1" latinLnBrk="0" hangingPunct="1">
        <a:spcBef>
          <a:spcPct val="20000"/>
        </a:spcBef>
        <a:buFont typeface="Arial" pitchFamily="34" charset="0"/>
        <a:buChar char="•"/>
        <a:defRPr sz="2007" kern="1200">
          <a:solidFill>
            <a:schemeClr val="tx1"/>
          </a:solidFill>
          <a:latin typeface="+mn-lt"/>
          <a:ea typeface="+mn-ea"/>
          <a:cs typeface="+mn-cs"/>
        </a:defRPr>
      </a:lvl7pPr>
      <a:lvl8pPr marL="3441687" indent="-229446" algn="l" defTabSz="917783" rtl="0" eaLnBrk="1" latinLnBrk="0" hangingPunct="1">
        <a:spcBef>
          <a:spcPct val="20000"/>
        </a:spcBef>
        <a:buFont typeface="Arial" pitchFamily="34" charset="0"/>
        <a:buChar char="•"/>
        <a:defRPr sz="2007" kern="1200">
          <a:solidFill>
            <a:schemeClr val="tx1"/>
          </a:solidFill>
          <a:latin typeface="+mn-lt"/>
          <a:ea typeface="+mn-ea"/>
          <a:cs typeface="+mn-cs"/>
        </a:defRPr>
      </a:lvl8pPr>
      <a:lvl9pPr marL="3900579" indent="-229446" algn="l" defTabSz="917783" rtl="0" eaLnBrk="1" latinLnBrk="0" hangingPunct="1">
        <a:spcBef>
          <a:spcPct val="20000"/>
        </a:spcBef>
        <a:buFont typeface="Arial" pitchFamily="34" charset="0"/>
        <a:buChar char="•"/>
        <a:defRPr sz="2007" kern="1200">
          <a:solidFill>
            <a:schemeClr val="tx1"/>
          </a:solidFill>
          <a:latin typeface="+mn-lt"/>
          <a:ea typeface="+mn-ea"/>
          <a:cs typeface="+mn-cs"/>
        </a:defRPr>
      </a:lvl9pPr>
    </p:bodyStyle>
    <p:otherStyle>
      <a:defPPr>
        <a:defRPr lang="tr-TR"/>
      </a:defPPr>
      <a:lvl1pPr marL="0" algn="l" defTabSz="917783" rtl="0" eaLnBrk="1" latinLnBrk="0" hangingPunct="1">
        <a:defRPr sz="1807" kern="1200">
          <a:solidFill>
            <a:schemeClr val="tx1"/>
          </a:solidFill>
          <a:latin typeface="+mn-lt"/>
          <a:ea typeface="+mn-ea"/>
          <a:cs typeface="+mn-cs"/>
        </a:defRPr>
      </a:lvl1pPr>
      <a:lvl2pPr marL="458892" algn="l" defTabSz="917783" rtl="0" eaLnBrk="1" latinLnBrk="0" hangingPunct="1">
        <a:defRPr sz="1807" kern="1200">
          <a:solidFill>
            <a:schemeClr val="tx1"/>
          </a:solidFill>
          <a:latin typeface="+mn-lt"/>
          <a:ea typeface="+mn-ea"/>
          <a:cs typeface="+mn-cs"/>
        </a:defRPr>
      </a:lvl2pPr>
      <a:lvl3pPr marL="917783" algn="l" defTabSz="917783" rtl="0" eaLnBrk="1" latinLnBrk="0" hangingPunct="1">
        <a:defRPr sz="1807" kern="1200">
          <a:solidFill>
            <a:schemeClr val="tx1"/>
          </a:solidFill>
          <a:latin typeface="+mn-lt"/>
          <a:ea typeface="+mn-ea"/>
          <a:cs typeface="+mn-cs"/>
        </a:defRPr>
      </a:lvl3pPr>
      <a:lvl4pPr marL="1376675" algn="l" defTabSz="917783" rtl="0" eaLnBrk="1" latinLnBrk="0" hangingPunct="1">
        <a:defRPr sz="1807" kern="1200">
          <a:solidFill>
            <a:schemeClr val="tx1"/>
          </a:solidFill>
          <a:latin typeface="+mn-lt"/>
          <a:ea typeface="+mn-ea"/>
          <a:cs typeface="+mn-cs"/>
        </a:defRPr>
      </a:lvl4pPr>
      <a:lvl5pPr marL="1835567" algn="l" defTabSz="917783" rtl="0" eaLnBrk="1" latinLnBrk="0" hangingPunct="1">
        <a:defRPr sz="1807" kern="1200">
          <a:solidFill>
            <a:schemeClr val="tx1"/>
          </a:solidFill>
          <a:latin typeface="+mn-lt"/>
          <a:ea typeface="+mn-ea"/>
          <a:cs typeface="+mn-cs"/>
        </a:defRPr>
      </a:lvl5pPr>
      <a:lvl6pPr marL="2294458" algn="l" defTabSz="917783" rtl="0" eaLnBrk="1" latinLnBrk="0" hangingPunct="1">
        <a:defRPr sz="1807" kern="1200">
          <a:solidFill>
            <a:schemeClr val="tx1"/>
          </a:solidFill>
          <a:latin typeface="+mn-lt"/>
          <a:ea typeface="+mn-ea"/>
          <a:cs typeface="+mn-cs"/>
        </a:defRPr>
      </a:lvl6pPr>
      <a:lvl7pPr marL="2753350" algn="l" defTabSz="917783" rtl="0" eaLnBrk="1" latinLnBrk="0" hangingPunct="1">
        <a:defRPr sz="1807" kern="1200">
          <a:solidFill>
            <a:schemeClr val="tx1"/>
          </a:solidFill>
          <a:latin typeface="+mn-lt"/>
          <a:ea typeface="+mn-ea"/>
          <a:cs typeface="+mn-cs"/>
        </a:defRPr>
      </a:lvl7pPr>
      <a:lvl8pPr marL="3212241" algn="l" defTabSz="917783" rtl="0" eaLnBrk="1" latinLnBrk="0" hangingPunct="1">
        <a:defRPr sz="1807" kern="1200">
          <a:solidFill>
            <a:schemeClr val="tx1"/>
          </a:solidFill>
          <a:latin typeface="+mn-lt"/>
          <a:ea typeface="+mn-ea"/>
          <a:cs typeface="+mn-cs"/>
        </a:defRPr>
      </a:lvl8pPr>
      <a:lvl9pPr marL="3671133" algn="l" defTabSz="917783" rtl="0" eaLnBrk="1" latinLnBrk="0" hangingPunct="1">
        <a:defRPr sz="180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9601" y="274681"/>
            <a:ext cx="10972800" cy="1143000"/>
          </a:xfrm>
          <a:prstGeom prst="rect">
            <a:avLst/>
          </a:prstGeom>
        </p:spPr>
        <p:txBody>
          <a:bodyPr vert="horz" lIns="91440" tIns="45720" rIns="91440" bIns="45720"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9601" y="1600242"/>
            <a:ext cx="10972800" cy="4525963"/>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9600" y="6356445"/>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pPr marL="0" marR="0" lvl="0" indent="0" algn="l" defTabSz="914388" rtl="0" eaLnBrk="1" fontAlgn="base" latinLnBrk="0" hangingPunct="1">
              <a:lnSpc>
                <a:spcPct val="100000"/>
              </a:lnSpc>
              <a:spcBef>
                <a:spcPct val="0"/>
              </a:spcBef>
              <a:spcAft>
                <a:spcPct val="0"/>
              </a:spcAft>
              <a:buClrTx/>
              <a:buSzTx/>
              <a:buFontTx/>
              <a:buNone/>
              <a:tabLst/>
              <a:defRPr/>
            </a:pPr>
            <a:fld id="{A059D37D-B19D-4E31-9F0A-7764A65849CB}" type="datetime1">
              <a:rPr kumimoji="0" lang="en-US"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388" rtl="0" eaLnBrk="1" fontAlgn="base" latinLnBrk="0" hangingPunct="1">
                <a:lnSpc>
                  <a:spcPct val="100000"/>
                </a:lnSpc>
                <a:spcBef>
                  <a:spcPct val="0"/>
                </a:spcBef>
                <a:spcAft>
                  <a:spcPct val="0"/>
                </a:spcAft>
                <a:buClrTx/>
                <a:buSzTx/>
                <a:buFontTx/>
                <a:buNone/>
                <a:tabLst/>
                <a:defRPr/>
              </a:pPr>
              <a:t>4/5/20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3"/>
          </p:nvPr>
        </p:nvSpPr>
        <p:spPr>
          <a:xfrm>
            <a:off x="4165600" y="6356445"/>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pPr marL="0" marR="0" lvl="0" indent="0" algn="ctr" defTabSz="914388" rtl="0" eaLnBrk="1" fontAlgn="base" latinLnBrk="0" hangingPunct="1">
              <a:lnSpc>
                <a:spcPct val="100000"/>
              </a:lnSpc>
              <a:spcBef>
                <a:spcPct val="0"/>
              </a:spcBef>
              <a:spcAft>
                <a:spcPct val="0"/>
              </a:spcAft>
              <a:buClrTx/>
              <a:buSzTx/>
              <a:buFontTx/>
              <a:buNone/>
              <a:tabLst/>
              <a:defRPr/>
            </a:pPr>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4"/>
          </p:nvPr>
        </p:nvSpPr>
        <p:spPr>
          <a:xfrm>
            <a:off x="8737600" y="6356445"/>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pPr marL="0" marR="0" lvl="0" indent="0" algn="r" defTabSz="914388"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base" latinLnBrk="0" hangingPunct="1">
                <a:lnSpc>
                  <a:spcPct val="100000"/>
                </a:lnSpc>
                <a:spcBef>
                  <a:spcPct val="0"/>
                </a:spcBef>
                <a:spcAft>
                  <a:spcPct val="0"/>
                </a:spcAft>
                <a:buClrTx/>
                <a:buSzTx/>
                <a:buFontTx/>
                <a:buNone/>
                <a:tabLst/>
                <a:defRPr/>
              </a:pPr>
              <a:t>‹#›</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93739658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hf hdr="0" ftr="0" dt="0"/>
  <p:txStyles>
    <p:titleStyle>
      <a:lvl1pPr algn="ctr" defTabSz="1219259" rtl="0" eaLnBrk="1" latinLnBrk="0" hangingPunct="1">
        <a:spcBef>
          <a:spcPct val="0"/>
        </a:spcBef>
        <a:buNone/>
        <a:defRPr sz="5867" kern="1200">
          <a:solidFill>
            <a:schemeClr val="tx1"/>
          </a:solidFill>
          <a:latin typeface="+mj-lt"/>
          <a:ea typeface="+mj-ea"/>
          <a:cs typeface="+mj-cs"/>
        </a:defRPr>
      </a:lvl1pPr>
    </p:titleStyle>
    <p:bodyStyle>
      <a:lvl1pPr marL="457222" indent="-457222" algn="l" defTabSz="1219259"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648" indent="-381019" algn="l" defTabSz="1219259" rtl="0" eaLnBrk="1" latinLnBrk="0" hangingPunct="1">
        <a:spcBef>
          <a:spcPct val="20000"/>
        </a:spcBef>
        <a:buFont typeface="Arial" pitchFamily="34" charset="0"/>
        <a:buChar char="–"/>
        <a:defRPr sz="3734" kern="1200">
          <a:solidFill>
            <a:schemeClr val="tx1"/>
          </a:solidFill>
          <a:latin typeface="+mn-lt"/>
          <a:ea typeface="+mn-ea"/>
          <a:cs typeface="+mn-cs"/>
        </a:defRPr>
      </a:lvl2pPr>
      <a:lvl3pPr marL="1524073" indent="-304815" algn="l" defTabSz="1219259"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703" indent="-304815" algn="l" defTabSz="1219259"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332" indent="-304815" algn="l" defTabSz="1219259"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960" indent="-304815" algn="l" defTabSz="121925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590" indent="-304815" algn="l" defTabSz="121925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2220" indent="-304815" algn="l" defTabSz="1219259"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848" indent="-304815" algn="l" defTabSz="121925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tr-TR"/>
      </a:defPPr>
      <a:lvl1pPr marL="0" algn="l" defTabSz="1219259" rtl="0" eaLnBrk="1" latinLnBrk="0" hangingPunct="1">
        <a:defRPr sz="2400" kern="1200">
          <a:solidFill>
            <a:schemeClr val="tx1"/>
          </a:solidFill>
          <a:latin typeface="+mn-lt"/>
          <a:ea typeface="+mn-ea"/>
          <a:cs typeface="+mn-cs"/>
        </a:defRPr>
      </a:lvl1pPr>
      <a:lvl2pPr marL="609628" algn="l" defTabSz="1219259" rtl="0" eaLnBrk="1" latinLnBrk="0" hangingPunct="1">
        <a:defRPr sz="2400" kern="1200">
          <a:solidFill>
            <a:schemeClr val="tx1"/>
          </a:solidFill>
          <a:latin typeface="+mn-lt"/>
          <a:ea typeface="+mn-ea"/>
          <a:cs typeface="+mn-cs"/>
        </a:defRPr>
      </a:lvl2pPr>
      <a:lvl3pPr marL="1219259" algn="l" defTabSz="1219259" rtl="0" eaLnBrk="1" latinLnBrk="0" hangingPunct="1">
        <a:defRPr sz="2400" kern="1200">
          <a:solidFill>
            <a:schemeClr val="tx1"/>
          </a:solidFill>
          <a:latin typeface="+mn-lt"/>
          <a:ea typeface="+mn-ea"/>
          <a:cs typeface="+mn-cs"/>
        </a:defRPr>
      </a:lvl3pPr>
      <a:lvl4pPr marL="1828888" algn="l" defTabSz="1219259" rtl="0" eaLnBrk="1" latinLnBrk="0" hangingPunct="1">
        <a:defRPr sz="2400" kern="1200">
          <a:solidFill>
            <a:schemeClr val="tx1"/>
          </a:solidFill>
          <a:latin typeface="+mn-lt"/>
          <a:ea typeface="+mn-ea"/>
          <a:cs typeface="+mn-cs"/>
        </a:defRPr>
      </a:lvl4pPr>
      <a:lvl5pPr marL="2438516" algn="l" defTabSz="1219259" rtl="0" eaLnBrk="1" latinLnBrk="0" hangingPunct="1">
        <a:defRPr sz="2400" kern="1200">
          <a:solidFill>
            <a:schemeClr val="tx1"/>
          </a:solidFill>
          <a:latin typeface="+mn-lt"/>
          <a:ea typeface="+mn-ea"/>
          <a:cs typeface="+mn-cs"/>
        </a:defRPr>
      </a:lvl5pPr>
      <a:lvl6pPr marL="3048147" algn="l" defTabSz="1219259" rtl="0" eaLnBrk="1" latinLnBrk="0" hangingPunct="1">
        <a:defRPr sz="2400" kern="1200">
          <a:solidFill>
            <a:schemeClr val="tx1"/>
          </a:solidFill>
          <a:latin typeface="+mn-lt"/>
          <a:ea typeface="+mn-ea"/>
          <a:cs typeface="+mn-cs"/>
        </a:defRPr>
      </a:lvl6pPr>
      <a:lvl7pPr marL="3657775" algn="l" defTabSz="1219259" rtl="0" eaLnBrk="1" latinLnBrk="0" hangingPunct="1">
        <a:defRPr sz="2400" kern="1200">
          <a:solidFill>
            <a:schemeClr val="tx1"/>
          </a:solidFill>
          <a:latin typeface="+mn-lt"/>
          <a:ea typeface="+mn-ea"/>
          <a:cs typeface="+mn-cs"/>
        </a:defRPr>
      </a:lvl7pPr>
      <a:lvl8pPr marL="4267403" algn="l" defTabSz="1219259" rtl="0" eaLnBrk="1" latinLnBrk="0" hangingPunct="1">
        <a:defRPr sz="2400" kern="1200">
          <a:solidFill>
            <a:schemeClr val="tx1"/>
          </a:solidFill>
          <a:latin typeface="+mn-lt"/>
          <a:ea typeface="+mn-ea"/>
          <a:cs typeface="+mn-cs"/>
        </a:defRPr>
      </a:lvl8pPr>
      <a:lvl9pPr marL="4877035" algn="l" defTabSz="1219259"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9600" y="274654"/>
            <a:ext cx="10972800" cy="1143000"/>
          </a:xfrm>
          <a:prstGeom prst="rect">
            <a:avLst/>
          </a:prstGeom>
        </p:spPr>
        <p:txBody>
          <a:bodyPr vert="horz" lIns="91440" tIns="45720" rIns="91440" bIns="45720"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9600" y="1600216"/>
            <a:ext cx="10972800" cy="4525963"/>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9600" y="6356418"/>
            <a:ext cx="2844800" cy="365125"/>
          </a:xfrm>
          <a:prstGeom prst="rect">
            <a:avLst/>
          </a:prstGeom>
        </p:spPr>
        <p:txBody>
          <a:bodyPr vert="horz" lIns="91440" tIns="45720" rIns="91440" bIns="45720" rtlCol="0" anchor="ctr"/>
          <a:lstStyle>
            <a:lvl1pPr algn="l">
              <a:defRPr sz="1204">
                <a:solidFill>
                  <a:schemeClr val="tx1">
                    <a:tint val="75000"/>
                  </a:schemeClr>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F49AE564-CC52-48DB-BBEB-830E3A1B4296}" type="datetime1">
              <a:rPr kumimoji="0" lang="en-US"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4/5/2021</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3"/>
          </p:nvPr>
        </p:nvSpPr>
        <p:spPr>
          <a:xfrm>
            <a:off x="4165600" y="6356418"/>
            <a:ext cx="3860800" cy="365125"/>
          </a:xfrm>
          <a:prstGeom prst="rect">
            <a:avLst/>
          </a:prstGeom>
        </p:spPr>
        <p:txBody>
          <a:bodyPr vert="horz" lIns="91440" tIns="45720" rIns="91440" bIns="45720" rtlCol="0" anchor="ctr"/>
          <a:lstStyle>
            <a:lvl1pPr algn="ctr">
              <a:defRPr sz="1204">
                <a:solidFill>
                  <a:schemeClr val="tx1">
                    <a:tint val="7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4"/>
          </p:nvPr>
        </p:nvSpPr>
        <p:spPr>
          <a:xfrm>
            <a:off x="8737600" y="6356418"/>
            <a:ext cx="2844800" cy="365125"/>
          </a:xfrm>
          <a:prstGeom prst="rect">
            <a:avLst/>
          </a:prstGeom>
        </p:spPr>
        <p:txBody>
          <a:bodyPr vert="horz" lIns="91440" tIns="45720" rIns="91440" bIns="45720" rtlCol="0" anchor="ctr"/>
          <a:lstStyle>
            <a:lvl1pPr algn="r">
              <a:defRPr sz="1204">
                <a:solidFill>
                  <a:schemeClr val="tx1">
                    <a:tint val="75000"/>
                  </a:schemeClr>
                </a:solidFill>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533103683"/>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Lst>
  <p:transition spd="slow">
    <p:push dir="u"/>
  </p:transition>
  <p:hf hdr="0" ftr="0" dt="0"/>
  <p:txStyles>
    <p:titleStyle>
      <a:lvl1pPr algn="ctr" defTabSz="917783" rtl="0" eaLnBrk="1" latinLnBrk="0" hangingPunct="1">
        <a:spcBef>
          <a:spcPct val="0"/>
        </a:spcBef>
        <a:buNone/>
        <a:defRPr sz="4416" kern="1200">
          <a:solidFill>
            <a:schemeClr val="tx1"/>
          </a:solidFill>
          <a:latin typeface="+mj-lt"/>
          <a:ea typeface="+mj-ea"/>
          <a:cs typeface="+mj-cs"/>
        </a:defRPr>
      </a:lvl1pPr>
    </p:titleStyle>
    <p:bodyStyle>
      <a:lvl1pPr marL="344169" indent="-344169" algn="l" defTabSz="917783" rtl="0" eaLnBrk="1" latinLnBrk="0" hangingPunct="1">
        <a:spcBef>
          <a:spcPct val="20000"/>
        </a:spcBef>
        <a:buFont typeface="Arial" pitchFamily="34" charset="0"/>
        <a:buChar char="•"/>
        <a:defRPr sz="3212" kern="1200">
          <a:solidFill>
            <a:schemeClr val="tx1"/>
          </a:solidFill>
          <a:latin typeface="+mn-lt"/>
          <a:ea typeface="+mn-ea"/>
          <a:cs typeface="+mn-cs"/>
        </a:defRPr>
      </a:lvl1pPr>
      <a:lvl2pPr marL="745699" indent="-286807" algn="l" defTabSz="917783" rtl="0" eaLnBrk="1" latinLnBrk="0" hangingPunct="1">
        <a:spcBef>
          <a:spcPct val="20000"/>
        </a:spcBef>
        <a:buFont typeface="Arial" pitchFamily="34" charset="0"/>
        <a:buChar char="–"/>
        <a:defRPr sz="2810" kern="1200">
          <a:solidFill>
            <a:schemeClr val="tx1"/>
          </a:solidFill>
          <a:latin typeface="+mn-lt"/>
          <a:ea typeface="+mn-ea"/>
          <a:cs typeface="+mn-cs"/>
        </a:defRPr>
      </a:lvl2pPr>
      <a:lvl3pPr marL="1147229" indent="-229446" algn="l" defTabSz="917783" rtl="0" eaLnBrk="1" latinLnBrk="0" hangingPunct="1">
        <a:spcBef>
          <a:spcPct val="20000"/>
        </a:spcBef>
        <a:buFont typeface="Arial" pitchFamily="34" charset="0"/>
        <a:buChar char="•"/>
        <a:defRPr sz="2409" kern="1200">
          <a:solidFill>
            <a:schemeClr val="tx1"/>
          </a:solidFill>
          <a:latin typeface="+mn-lt"/>
          <a:ea typeface="+mn-ea"/>
          <a:cs typeface="+mn-cs"/>
        </a:defRPr>
      </a:lvl3pPr>
      <a:lvl4pPr marL="1606121" indent="-229446" algn="l" defTabSz="917783" rtl="0" eaLnBrk="1" latinLnBrk="0" hangingPunct="1">
        <a:spcBef>
          <a:spcPct val="20000"/>
        </a:spcBef>
        <a:buFont typeface="Arial" pitchFamily="34" charset="0"/>
        <a:buChar char="–"/>
        <a:defRPr sz="2007" kern="1200">
          <a:solidFill>
            <a:schemeClr val="tx1"/>
          </a:solidFill>
          <a:latin typeface="+mn-lt"/>
          <a:ea typeface="+mn-ea"/>
          <a:cs typeface="+mn-cs"/>
        </a:defRPr>
      </a:lvl4pPr>
      <a:lvl5pPr marL="2065012" indent="-229446" algn="l" defTabSz="917783" rtl="0" eaLnBrk="1" latinLnBrk="0" hangingPunct="1">
        <a:spcBef>
          <a:spcPct val="20000"/>
        </a:spcBef>
        <a:buFont typeface="Arial" pitchFamily="34" charset="0"/>
        <a:buChar char="»"/>
        <a:defRPr sz="2007" kern="1200">
          <a:solidFill>
            <a:schemeClr val="tx1"/>
          </a:solidFill>
          <a:latin typeface="+mn-lt"/>
          <a:ea typeface="+mn-ea"/>
          <a:cs typeface="+mn-cs"/>
        </a:defRPr>
      </a:lvl5pPr>
      <a:lvl6pPr marL="2523904" indent="-229446" algn="l" defTabSz="917783" rtl="0" eaLnBrk="1" latinLnBrk="0" hangingPunct="1">
        <a:spcBef>
          <a:spcPct val="20000"/>
        </a:spcBef>
        <a:buFont typeface="Arial" pitchFamily="34" charset="0"/>
        <a:buChar char="•"/>
        <a:defRPr sz="2007" kern="1200">
          <a:solidFill>
            <a:schemeClr val="tx1"/>
          </a:solidFill>
          <a:latin typeface="+mn-lt"/>
          <a:ea typeface="+mn-ea"/>
          <a:cs typeface="+mn-cs"/>
        </a:defRPr>
      </a:lvl6pPr>
      <a:lvl7pPr marL="2982796" indent="-229446" algn="l" defTabSz="917783" rtl="0" eaLnBrk="1" latinLnBrk="0" hangingPunct="1">
        <a:spcBef>
          <a:spcPct val="20000"/>
        </a:spcBef>
        <a:buFont typeface="Arial" pitchFamily="34" charset="0"/>
        <a:buChar char="•"/>
        <a:defRPr sz="2007" kern="1200">
          <a:solidFill>
            <a:schemeClr val="tx1"/>
          </a:solidFill>
          <a:latin typeface="+mn-lt"/>
          <a:ea typeface="+mn-ea"/>
          <a:cs typeface="+mn-cs"/>
        </a:defRPr>
      </a:lvl7pPr>
      <a:lvl8pPr marL="3441687" indent="-229446" algn="l" defTabSz="917783" rtl="0" eaLnBrk="1" latinLnBrk="0" hangingPunct="1">
        <a:spcBef>
          <a:spcPct val="20000"/>
        </a:spcBef>
        <a:buFont typeface="Arial" pitchFamily="34" charset="0"/>
        <a:buChar char="•"/>
        <a:defRPr sz="2007" kern="1200">
          <a:solidFill>
            <a:schemeClr val="tx1"/>
          </a:solidFill>
          <a:latin typeface="+mn-lt"/>
          <a:ea typeface="+mn-ea"/>
          <a:cs typeface="+mn-cs"/>
        </a:defRPr>
      </a:lvl8pPr>
      <a:lvl9pPr marL="3900579" indent="-229446" algn="l" defTabSz="917783" rtl="0" eaLnBrk="1" latinLnBrk="0" hangingPunct="1">
        <a:spcBef>
          <a:spcPct val="20000"/>
        </a:spcBef>
        <a:buFont typeface="Arial" pitchFamily="34" charset="0"/>
        <a:buChar char="•"/>
        <a:defRPr sz="2007" kern="1200">
          <a:solidFill>
            <a:schemeClr val="tx1"/>
          </a:solidFill>
          <a:latin typeface="+mn-lt"/>
          <a:ea typeface="+mn-ea"/>
          <a:cs typeface="+mn-cs"/>
        </a:defRPr>
      </a:lvl9pPr>
    </p:bodyStyle>
    <p:otherStyle>
      <a:defPPr>
        <a:defRPr lang="tr-TR"/>
      </a:defPPr>
      <a:lvl1pPr marL="0" algn="l" defTabSz="917783" rtl="0" eaLnBrk="1" latinLnBrk="0" hangingPunct="1">
        <a:defRPr sz="1807" kern="1200">
          <a:solidFill>
            <a:schemeClr val="tx1"/>
          </a:solidFill>
          <a:latin typeface="+mn-lt"/>
          <a:ea typeface="+mn-ea"/>
          <a:cs typeface="+mn-cs"/>
        </a:defRPr>
      </a:lvl1pPr>
      <a:lvl2pPr marL="458892" algn="l" defTabSz="917783" rtl="0" eaLnBrk="1" latinLnBrk="0" hangingPunct="1">
        <a:defRPr sz="1807" kern="1200">
          <a:solidFill>
            <a:schemeClr val="tx1"/>
          </a:solidFill>
          <a:latin typeface="+mn-lt"/>
          <a:ea typeface="+mn-ea"/>
          <a:cs typeface="+mn-cs"/>
        </a:defRPr>
      </a:lvl2pPr>
      <a:lvl3pPr marL="917783" algn="l" defTabSz="917783" rtl="0" eaLnBrk="1" latinLnBrk="0" hangingPunct="1">
        <a:defRPr sz="1807" kern="1200">
          <a:solidFill>
            <a:schemeClr val="tx1"/>
          </a:solidFill>
          <a:latin typeface="+mn-lt"/>
          <a:ea typeface="+mn-ea"/>
          <a:cs typeface="+mn-cs"/>
        </a:defRPr>
      </a:lvl3pPr>
      <a:lvl4pPr marL="1376675" algn="l" defTabSz="917783" rtl="0" eaLnBrk="1" latinLnBrk="0" hangingPunct="1">
        <a:defRPr sz="1807" kern="1200">
          <a:solidFill>
            <a:schemeClr val="tx1"/>
          </a:solidFill>
          <a:latin typeface="+mn-lt"/>
          <a:ea typeface="+mn-ea"/>
          <a:cs typeface="+mn-cs"/>
        </a:defRPr>
      </a:lvl4pPr>
      <a:lvl5pPr marL="1835567" algn="l" defTabSz="917783" rtl="0" eaLnBrk="1" latinLnBrk="0" hangingPunct="1">
        <a:defRPr sz="1807" kern="1200">
          <a:solidFill>
            <a:schemeClr val="tx1"/>
          </a:solidFill>
          <a:latin typeface="+mn-lt"/>
          <a:ea typeface="+mn-ea"/>
          <a:cs typeface="+mn-cs"/>
        </a:defRPr>
      </a:lvl5pPr>
      <a:lvl6pPr marL="2294458" algn="l" defTabSz="917783" rtl="0" eaLnBrk="1" latinLnBrk="0" hangingPunct="1">
        <a:defRPr sz="1807" kern="1200">
          <a:solidFill>
            <a:schemeClr val="tx1"/>
          </a:solidFill>
          <a:latin typeface="+mn-lt"/>
          <a:ea typeface="+mn-ea"/>
          <a:cs typeface="+mn-cs"/>
        </a:defRPr>
      </a:lvl6pPr>
      <a:lvl7pPr marL="2753350" algn="l" defTabSz="917783" rtl="0" eaLnBrk="1" latinLnBrk="0" hangingPunct="1">
        <a:defRPr sz="1807" kern="1200">
          <a:solidFill>
            <a:schemeClr val="tx1"/>
          </a:solidFill>
          <a:latin typeface="+mn-lt"/>
          <a:ea typeface="+mn-ea"/>
          <a:cs typeface="+mn-cs"/>
        </a:defRPr>
      </a:lvl7pPr>
      <a:lvl8pPr marL="3212241" algn="l" defTabSz="917783" rtl="0" eaLnBrk="1" latinLnBrk="0" hangingPunct="1">
        <a:defRPr sz="1807" kern="1200">
          <a:solidFill>
            <a:schemeClr val="tx1"/>
          </a:solidFill>
          <a:latin typeface="+mn-lt"/>
          <a:ea typeface="+mn-ea"/>
          <a:cs typeface="+mn-cs"/>
        </a:defRPr>
      </a:lvl8pPr>
      <a:lvl9pPr marL="3671133" algn="l" defTabSz="917783" rtl="0" eaLnBrk="1" latinLnBrk="0" hangingPunct="1">
        <a:defRPr sz="1807"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9603" y="274376"/>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1544" tIns="35772" rIns="71544" bIns="35772" numCol="1" anchor="ctr" anchorCtr="0" compatLnSpc="1">
            <a:prstTxWarp prst="textNoShape">
              <a:avLst/>
            </a:prstTxWarp>
          </a:bodyPr>
          <a:lstStyle/>
          <a:p>
            <a:pPr lvl="0"/>
            <a:r>
              <a:rPr lang="tr-TR" altLang="tr-TR"/>
              <a:t>Asıl başlık stili için tıklatın</a:t>
            </a:r>
          </a:p>
        </p:txBody>
      </p:sp>
      <p:sp>
        <p:nvSpPr>
          <p:cNvPr id="1027" name="Metin Yer Tutucusu 2"/>
          <p:cNvSpPr>
            <a:spLocks noGrp="1"/>
          </p:cNvSpPr>
          <p:nvPr>
            <p:ph type="body" idx="1"/>
          </p:nvPr>
        </p:nvSpPr>
        <p:spPr bwMode="auto">
          <a:xfrm>
            <a:off x="609603" y="1600200"/>
            <a:ext cx="10972800" cy="4526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1544" tIns="35772" rIns="71544" bIns="35772" numCol="1" anchor="t" anchorCtr="0" compatLnSpc="1">
            <a:prstTxWarp prst="textNoShape">
              <a:avLst/>
            </a:prstTxWarp>
          </a:bodyPr>
          <a:lstStyle/>
          <a:p>
            <a:pPr lvl="0"/>
            <a:r>
              <a:rPr lang="tr-TR" altLang="tr-TR"/>
              <a:t>Asıl metin stillerini düzenlemek için tıklatın</a:t>
            </a:r>
          </a:p>
          <a:p>
            <a:pPr lvl="1"/>
            <a:r>
              <a:rPr lang="tr-TR" altLang="tr-TR"/>
              <a:t>İkinci düzey</a:t>
            </a:r>
          </a:p>
          <a:p>
            <a:pPr lvl="2"/>
            <a:r>
              <a:rPr lang="tr-TR" altLang="tr-TR"/>
              <a:t>Üçüncü düzey</a:t>
            </a:r>
          </a:p>
          <a:p>
            <a:pPr lvl="3"/>
            <a:r>
              <a:rPr lang="tr-TR" altLang="tr-TR"/>
              <a:t>Dördüncü düzey</a:t>
            </a:r>
          </a:p>
          <a:p>
            <a:pPr lvl="4"/>
            <a:r>
              <a:rPr lang="tr-TR" altLang="tr-TR"/>
              <a:t>Beşinci düzey</a:t>
            </a:r>
          </a:p>
        </p:txBody>
      </p:sp>
      <p:sp>
        <p:nvSpPr>
          <p:cNvPr id="4" name="Veri Yer Tutucusu 3"/>
          <p:cNvSpPr>
            <a:spLocks noGrp="1"/>
          </p:cNvSpPr>
          <p:nvPr>
            <p:ph type="dt" sz="half" idx="2"/>
          </p:nvPr>
        </p:nvSpPr>
        <p:spPr>
          <a:xfrm>
            <a:off x="609600" y="6357041"/>
            <a:ext cx="2844800" cy="363854"/>
          </a:xfrm>
          <a:prstGeom prst="rect">
            <a:avLst/>
          </a:prstGeom>
        </p:spPr>
        <p:txBody>
          <a:bodyPr vert="horz" lIns="71544" tIns="35772" rIns="71544" bIns="35772" rtlCol="0" anchor="ctr"/>
          <a:lstStyle>
            <a:lvl1pPr algn="l" fontAlgn="auto">
              <a:spcBef>
                <a:spcPts val="0"/>
              </a:spcBef>
              <a:spcAft>
                <a:spcPts val="0"/>
              </a:spcAft>
              <a:defRPr sz="1080">
                <a:solidFill>
                  <a:schemeClr val="tx1"/>
                </a:solidFill>
                <a:latin typeface="+mn-lt"/>
                <a:cs typeface="+mn-cs"/>
              </a:defRPr>
            </a:lvl1pPr>
          </a:lstStyle>
          <a:p>
            <a:pPr defTabSz="1097280">
              <a:defRPr/>
            </a:pPr>
            <a:fld id="{9CD21F11-9943-4C1A-BF3A-C2E619347BF1}" type="datetime1">
              <a:rPr lang="en-US" smtClean="0">
                <a:solidFill>
                  <a:prstClr val="black">
                    <a:tint val="75000"/>
                  </a:prstClr>
                </a:solidFill>
                <a:ea typeface="ヒラギノ角ゴ Pro W3" pitchFamily="1" charset="-128"/>
              </a:rPr>
              <a:pPr defTabSz="1097280">
                <a:defRPr/>
              </a:pPr>
              <a:t>4/5/2021</a:t>
            </a:fld>
            <a:endParaRPr lang="en-CA">
              <a:solidFill>
                <a:prstClr val="black">
                  <a:tint val="75000"/>
                </a:prstClr>
              </a:solidFill>
              <a:ea typeface="ヒラギノ角ゴ Pro W3" pitchFamily="1" charset="-128"/>
            </a:endParaRPr>
          </a:p>
        </p:txBody>
      </p:sp>
      <p:sp>
        <p:nvSpPr>
          <p:cNvPr id="5" name="Altbilgi Yer Tutucusu 4"/>
          <p:cNvSpPr>
            <a:spLocks noGrp="1"/>
          </p:cNvSpPr>
          <p:nvPr>
            <p:ph type="ftr" sz="quarter" idx="3"/>
          </p:nvPr>
        </p:nvSpPr>
        <p:spPr>
          <a:xfrm>
            <a:off x="4165600" y="6357041"/>
            <a:ext cx="3860800" cy="363854"/>
          </a:xfrm>
          <a:prstGeom prst="rect">
            <a:avLst/>
          </a:prstGeom>
        </p:spPr>
        <p:txBody>
          <a:bodyPr vert="horz" lIns="71544" tIns="35772" rIns="71544" bIns="35772" rtlCol="0" anchor="ctr"/>
          <a:lstStyle>
            <a:lvl1pPr algn="ctr" fontAlgn="auto">
              <a:spcBef>
                <a:spcPts val="0"/>
              </a:spcBef>
              <a:spcAft>
                <a:spcPts val="0"/>
              </a:spcAft>
              <a:defRPr sz="1080">
                <a:solidFill>
                  <a:schemeClr val="tx1"/>
                </a:solidFill>
                <a:latin typeface="+mn-lt"/>
                <a:cs typeface="+mn-cs"/>
              </a:defRPr>
            </a:lvl1pPr>
          </a:lstStyle>
          <a:p>
            <a:pPr defTabSz="1097280">
              <a:defRPr/>
            </a:pPr>
            <a:endParaRPr lang="en-CA">
              <a:solidFill>
                <a:prstClr val="black">
                  <a:tint val="75000"/>
                </a:prstClr>
              </a:solidFill>
              <a:ea typeface="ヒラギノ角ゴ Pro W3" pitchFamily="1" charset="-128"/>
            </a:endParaRPr>
          </a:p>
        </p:txBody>
      </p:sp>
      <p:sp>
        <p:nvSpPr>
          <p:cNvPr id="6" name="Slayt Numarası Yer Tutucusu 5"/>
          <p:cNvSpPr>
            <a:spLocks noGrp="1"/>
          </p:cNvSpPr>
          <p:nvPr>
            <p:ph type="sldNum" sz="quarter" idx="4"/>
          </p:nvPr>
        </p:nvSpPr>
        <p:spPr>
          <a:xfrm>
            <a:off x="8737600" y="6357041"/>
            <a:ext cx="2844800" cy="363854"/>
          </a:xfrm>
          <a:prstGeom prst="rect">
            <a:avLst/>
          </a:prstGeom>
        </p:spPr>
        <p:txBody>
          <a:bodyPr vert="horz" lIns="71544" tIns="35772" rIns="71544" bIns="35772" rtlCol="0" anchor="ctr"/>
          <a:lstStyle>
            <a:lvl1pPr algn="r" fontAlgn="auto">
              <a:spcBef>
                <a:spcPts val="0"/>
              </a:spcBef>
              <a:spcAft>
                <a:spcPts val="0"/>
              </a:spcAft>
              <a:defRPr sz="1080">
                <a:solidFill>
                  <a:schemeClr val="tx1"/>
                </a:solidFill>
                <a:latin typeface="+mn-lt"/>
                <a:cs typeface="+mn-cs"/>
              </a:defRPr>
            </a:lvl1pPr>
          </a:lstStyle>
          <a:p>
            <a:pPr defTabSz="1097280">
              <a:defRPr/>
            </a:pPr>
            <a:fld id="{FF16F97C-866D-4F85-A1F6-DDF39F62CB6A}" type="slidenum">
              <a:rPr lang="en-CA" smtClean="0">
                <a:solidFill>
                  <a:prstClr val="black">
                    <a:tint val="75000"/>
                  </a:prstClr>
                </a:solidFill>
                <a:ea typeface="ヒラギノ角ゴ Pro W3" pitchFamily="1" charset="-128"/>
              </a:rPr>
              <a:pPr defTabSz="1097280">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27713983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Lst>
  <p:transition spd="slow">
    <p:push dir="u"/>
  </p:transition>
  <p:hf hdr="0" ftr="0" dt="0"/>
  <p:txStyles>
    <p:titleStyle>
      <a:lvl1pPr algn="ctr" rtl="0" eaLnBrk="1" fontAlgn="base" hangingPunct="1">
        <a:spcBef>
          <a:spcPct val="0"/>
        </a:spcBef>
        <a:spcAft>
          <a:spcPct val="0"/>
        </a:spcAft>
        <a:defRPr sz="4080" kern="1200">
          <a:solidFill>
            <a:schemeClr val="tx1"/>
          </a:solidFill>
          <a:latin typeface="+mj-lt"/>
          <a:ea typeface="+mj-ea"/>
          <a:cs typeface="+mj-cs"/>
        </a:defRPr>
      </a:lvl1pPr>
      <a:lvl2pPr algn="ctr" rtl="0" eaLnBrk="1" fontAlgn="base" hangingPunct="1">
        <a:spcBef>
          <a:spcPct val="0"/>
        </a:spcBef>
        <a:spcAft>
          <a:spcPct val="0"/>
        </a:spcAft>
        <a:defRPr sz="4080">
          <a:solidFill>
            <a:schemeClr val="tx1"/>
          </a:solidFill>
          <a:latin typeface="Frutiger 95 Ultra Black" pitchFamily="50" charset="0"/>
        </a:defRPr>
      </a:lvl2pPr>
      <a:lvl3pPr algn="ctr" rtl="0" eaLnBrk="1" fontAlgn="base" hangingPunct="1">
        <a:spcBef>
          <a:spcPct val="0"/>
        </a:spcBef>
        <a:spcAft>
          <a:spcPct val="0"/>
        </a:spcAft>
        <a:defRPr sz="4080">
          <a:solidFill>
            <a:schemeClr val="tx1"/>
          </a:solidFill>
          <a:latin typeface="Frutiger 95 Ultra Black" pitchFamily="50" charset="0"/>
        </a:defRPr>
      </a:lvl3pPr>
      <a:lvl4pPr algn="ctr" rtl="0" eaLnBrk="1" fontAlgn="base" hangingPunct="1">
        <a:spcBef>
          <a:spcPct val="0"/>
        </a:spcBef>
        <a:spcAft>
          <a:spcPct val="0"/>
        </a:spcAft>
        <a:defRPr sz="4080">
          <a:solidFill>
            <a:schemeClr val="tx1"/>
          </a:solidFill>
          <a:latin typeface="Frutiger 95 Ultra Black" pitchFamily="50" charset="0"/>
        </a:defRPr>
      </a:lvl4pPr>
      <a:lvl5pPr algn="ctr" rtl="0" eaLnBrk="1" fontAlgn="base" hangingPunct="1">
        <a:spcBef>
          <a:spcPct val="0"/>
        </a:spcBef>
        <a:spcAft>
          <a:spcPct val="0"/>
        </a:spcAft>
        <a:defRPr sz="4080">
          <a:solidFill>
            <a:schemeClr val="tx1"/>
          </a:solidFill>
          <a:latin typeface="Frutiger 95 Ultra Black" pitchFamily="50" charset="0"/>
        </a:defRPr>
      </a:lvl5pPr>
      <a:lvl6pPr marL="429265" algn="ctr" rtl="0" eaLnBrk="1" fontAlgn="base" hangingPunct="1">
        <a:spcBef>
          <a:spcPct val="0"/>
        </a:spcBef>
        <a:spcAft>
          <a:spcPct val="0"/>
        </a:spcAft>
        <a:defRPr sz="4080">
          <a:solidFill>
            <a:schemeClr val="tx1"/>
          </a:solidFill>
          <a:latin typeface="Frutiger 95 Ultra Black" pitchFamily="50" charset="0"/>
        </a:defRPr>
      </a:lvl6pPr>
      <a:lvl7pPr marL="858530" algn="ctr" rtl="0" eaLnBrk="1" fontAlgn="base" hangingPunct="1">
        <a:spcBef>
          <a:spcPct val="0"/>
        </a:spcBef>
        <a:spcAft>
          <a:spcPct val="0"/>
        </a:spcAft>
        <a:defRPr sz="4080">
          <a:solidFill>
            <a:schemeClr val="tx1"/>
          </a:solidFill>
          <a:latin typeface="Frutiger 95 Ultra Black" pitchFamily="50" charset="0"/>
        </a:defRPr>
      </a:lvl7pPr>
      <a:lvl8pPr marL="1287793" algn="ctr" rtl="0" eaLnBrk="1" fontAlgn="base" hangingPunct="1">
        <a:spcBef>
          <a:spcPct val="0"/>
        </a:spcBef>
        <a:spcAft>
          <a:spcPct val="0"/>
        </a:spcAft>
        <a:defRPr sz="4080">
          <a:solidFill>
            <a:schemeClr val="tx1"/>
          </a:solidFill>
          <a:latin typeface="Frutiger 95 Ultra Black" pitchFamily="50" charset="0"/>
        </a:defRPr>
      </a:lvl8pPr>
      <a:lvl9pPr marL="1717057" algn="ctr" rtl="0" eaLnBrk="1" fontAlgn="base" hangingPunct="1">
        <a:spcBef>
          <a:spcPct val="0"/>
        </a:spcBef>
        <a:spcAft>
          <a:spcPct val="0"/>
        </a:spcAft>
        <a:defRPr sz="4080">
          <a:solidFill>
            <a:schemeClr val="tx1"/>
          </a:solidFill>
          <a:latin typeface="Frutiger 95 Ultra Black" pitchFamily="50" charset="0"/>
        </a:defRPr>
      </a:lvl9pPr>
    </p:titleStyle>
    <p:bodyStyle>
      <a:lvl1pPr marL="321950" indent="-321950" algn="l" rtl="0" eaLnBrk="1" fontAlgn="base" hangingPunct="1">
        <a:spcBef>
          <a:spcPct val="20000"/>
        </a:spcBef>
        <a:spcAft>
          <a:spcPct val="0"/>
        </a:spcAft>
        <a:buFont typeface="Arial" pitchFamily="34" charset="0"/>
        <a:buChar char="•"/>
        <a:defRPr sz="3000" kern="1200">
          <a:solidFill>
            <a:schemeClr val="tx1"/>
          </a:solidFill>
          <a:latin typeface="+mn-lt"/>
          <a:ea typeface="+mn-ea"/>
          <a:cs typeface="+mn-cs"/>
        </a:defRPr>
      </a:lvl1pPr>
      <a:lvl2pPr marL="697555" indent="-268290" algn="l" rtl="0" eaLnBrk="1" fontAlgn="base" hangingPunct="1">
        <a:spcBef>
          <a:spcPct val="20000"/>
        </a:spcBef>
        <a:spcAft>
          <a:spcPct val="0"/>
        </a:spcAft>
        <a:buFont typeface="Arial" pitchFamily="34" charset="0"/>
        <a:buChar char="–"/>
        <a:defRPr sz="2640" kern="1200">
          <a:solidFill>
            <a:schemeClr val="tx1"/>
          </a:solidFill>
          <a:latin typeface="+mn-lt"/>
          <a:ea typeface="+mn-ea"/>
          <a:cs typeface="+mn-cs"/>
        </a:defRPr>
      </a:lvl2pPr>
      <a:lvl3pPr marL="1073160" indent="-214633" algn="l" rtl="0" eaLnBrk="1" fontAlgn="base" hangingPunct="1">
        <a:spcBef>
          <a:spcPct val="20000"/>
        </a:spcBef>
        <a:spcAft>
          <a:spcPct val="0"/>
        </a:spcAft>
        <a:buFont typeface="Arial" pitchFamily="34" charset="0"/>
        <a:buChar char="•"/>
        <a:defRPr sz="2280" kern="1200">
          <a:solidFill>
            <a:schemeClr val="tx1"/>
          </a:solidFill>
          <a:latin typeface="+mn-lt"/>
          <a:ea typeface="+mn-ea"/>
          <a:cs typeface="+mn-cs"/>
        </a:defRPr>
      </a:lvl3pPr>
      <a:lvl4pPr marL="1502426" indent="-214633" algn="l" rtl="0" eaLnBrk="1" fontAlgn="base" hangingPunct="1">
        <a:spcBef>
          <a:spcPct val="20000"/>
        </a:spcBef>
        <a:spcAft>
          <a:spcPct val="0"/>
        </a:spcAft>
        <a:buFont typeface="Arial" pitchFamily="34" charset="0"/>
        <a:buChar char="–"/>
        <a:defRPr sz="1920" kern="1200">
          <a:solidFill>
            <a:schemeClr val="tx1"/>
          </a:solidFill>
          <a:latin typeface="+mn-lt"/>
          <a:ea typeface="+mn-ea"/>
          <a:cs typeface="+mn-cs"/>
        </a:defRPr>
      </a:lvl4pPr>
      <a:lvl5pPr marL="1931689" indent="-214633" algn="l" rtl="0" eaLnBrk="1" fontAlgn="base" hangingPunct="1">
        <a:spcBef>
          <a:spcPct val="20000"/>
        </a:spcBef>
        <a:spcAft>
          <a:spcPct val="0"/>
        </a:spcAft>
        <a:buFont typeface="Arial" pitchFamily="34" charset="0"/>
        <a:buChar char="»"/>
        <a:defRPr sz="1920" kern="1200">
          <a:solidFill>
            <a:schemeClr val="tx1"/>
          </a:solidFill>
          <a:latin typeface="+mn-lt"/>
          <a:ea typeface="+mn-ea"/>
          <a:cs typeface="+mn-cs"/>
        </a:defRPr>
      </a:lvl5pPr>
      <a:lvl6pPr marL="2360952" indent="-214633" algn="l" defTabSz="858530" rtl="0" eaLnBrk="1" latinLnBrk="0" hangingPunct="1">
        <a:spcBef>
          <a:spcPct val="20000"/>
        </a:spcBef>
        <a:buFont typeface="Arial" pitchFamily="34" charset="0"/>
        <a:buChar char="•"/>
        <a:defRPr sz="1920" kern="1200">
          <a:solidFill>
            <a:schemeClr val="tx1"/>
          </a:solidFill>
          <a:latin typeface="+mn-lt"/>
          <a:ea typeface="+mn-ea"/>
          <a:cs typeface="+mn-cs"/>
        </a:defRPr>
      </a:lvl6pPr>
      <a:lvl7pPr marL="2790220" indent="-214633" algn="l" defTabSz="858530" rtl="0" eaLnBrk="1" latinLnBrk="0" hangingPunct="1">
        <a:spcBef>
          <a:spcPct val="20000"/>
        </a:spcBef>
        <a:buFont typeface="Arial" pitchFamily="34" charset="0"/>
        <a:buChar char="•"/>
        <a:defRPr sz="1920" kern="1200">
          <a:solidFill>
            <a:schemeClr val="tx1"/>
          </a:solidFill>
          <a:latin typeface="+mn-lt"/>
          <a:ea typeface="+mn-ea"/>
          <a:cs typeface="+mn-cs"/>
        </a:defRPr>
      </a:lvl7pPr>
      <a:lvl8pPr marL="3219485" indent="-214633" algn="l" defTabSz="858530" rtl="0" eaLnBrk="1" latinLnBrk="0" hangingPunct="1">
        <a:spcBef>
          <a:spcPct val="20000"/>
        </a:spcBef>
        <a:buFont typeface="Arial" pitchFamily="34" charset="0"/>
        <a:buChar char="•"/>
        <a:defRPr sz="1920" kern="1200">
          <a:solidFill>
            <a:schemeClr val="tx1"/>
          </a:solidFill>
          <a:latin typeface="+mn-lt"/>
          <a:ea typeface="+mn-ea"/>
          <a:cs typeface="+mn-cs"/>
        </a:defRPr>
      </a:lvl8pPr>
      <a:lvl9pPr marL="3648746" indent="-214633" algn="l" defTabSz="858530" rtl="0" eaLnBrk="1" latinLnBrk="0" hangingPunct="1">
        <a:spcBef>
          <a:spcPct val="20000"/>
        </a:spcBef>
        <a:buFont typeface="Arial" pitchFamily="34" charset="0"/>
        <a:buChar char="•"/>
        <a:defRPr sz="1920" kern="1200">
          <a:solidFill>
            <a:schemeClr val="tx1"/>
          </a:solidFill>
          <a:latin typeface="+mn-lt"/>
          <a:ea typeface="+mn-ea"/>
          <a:cs typeface="+mn-cs"/>
        </a:defRPr>
      </a:lvl9pPr>
    </p:bodyStyle>
    <p:otherStyle>
      <a:defPPr>
        <a:defRPr lang="tr-TR"/>
      </a:defPPr>
      <a:lvl1pPr marL="0" algn="l" defTabSz="858530" rtl="0" eaLnBrk="1" latinLnBrk="0" hangingPunct="1">
        <a:defRPr sz="1680" kern="1200">
          <a:solidFill>
            <a:schemeClr val="tx1"/>
          </a:solidFill>
          <a:latin typeface="+mn-lt"/>
          <a:ea typeface="+mn-ea"/>
          <a:cs typeface="+mn-cs"/>
        </a:defRPr>
      </a:lvl1pPr>
      <a:lvl2pPr marL="429265" algn="l" defTabSz="858530" rtl="0" eaLnBrk="1" latinLnBrk="0" hangingPunct="1">
        <a:defRPr sz="1680" kern="1200">
          <a:solidFill>
            <a:schemeClr val="tx1"/>
          </a:solidFill>
          <a:latin typeface="+mn-lt"/>
          <a:ea typeface="+mn-ea"/>
          <a:cs typeface="+mn-cs"/>
        </a:defRPr>
      </a:lvl2pPr>
      <a:lvl3pPr marL="858530" algn="l" defTabSz="858530" rtl="0" eaLnBrk="1" latinLnBrk="0" hangingPunct="1">
        <a:defRPr sz="1680" kern="1200">
          <a:solidFill>
            <a:schemeClr val="tx1"/>
          </a:solidFill>
          <a:latin typeface="+mn-lt"/>
          <a:ea typeface="+mn-ea"/>
          <a:cs typeface="+mn-cs"/>
        </a:defRPr>
      </a:lvl3pPr>
      <a:lvl4pPr marL="1287793" algn="l" defTabSz="858530" rtl="0" eaLnBrk="1" latinLnBrk="0" hangingPunct="1">
        <a:defRPr sz="1680" kern="1200">
          <a:solidFill>
            <a:schemeClr val="tx1"/>
          </a:solidFill>
          <a:latin typeface="+mn-lt"/>
          <a:ea typeface="+mn-ea"/>
          <a:cs typeface="+mn-cs"/>
        </a:defRPr>
      </a:lvl4pPr>
      <a:lvl5pPr marL="1717057" algn="l" defTabSz="858530" rtl="0" eaLnBrk="1" latinLnBrk="0" hangingPunct="1">
        <a:defRPr sz="1680" kern="1200">
          <a:solidFill>
            <a:schemeClr val="tx1"/>
          </a:solidFill>
          <a:latin typeface="+mn-lt"/>
          <a:ea typeface="+mn-ea"/>
          <a:cs typeface="+mn-cs"/>
        </a:defRPr>
      </a:lvl5pPr>
      <a:lvl6pPr marL="2146322" algn="l" defTabSz="858530" rtl="0" eaLnBrk="1" latinLnBrk="0" hangingPunct="1">
        <a:defRPr sz="1680" kern="1200">
          <a:solidFill>
            <a:schemeClr val="tx1"/>
          </a:solidFill>
          <a:latin typeface="+mn-lt"/>
          <a:ea typeface="+mn-ea"/>
          <a:cs typeface="+mn-cs"/>
        </a:defRPr>
      </a:lvl6pPr>
      <a:lvl7pPr marL="2575585" algn="l" defTabSz="858530" rtl="0" eaLnBrk="1" latinLnBrk="0" hangingPunct="1">
        <a:defRPr sz="1680" kern="1200">
          <a:solidFill>
            <a:schemeClr val="tx1"/>
          </a:solidFill>
          <a:latin typeface="+mn-lt"/>
          <a:ea typeface="+mn-ea"/>
          <a:cs typeface="+mn-cs"/>
        </a:defRPr>
      </a:lvl7pPr>
      <a:lvl8pPr marL="3004852" algn="l" defTabSz="858530" rtl="0" eaLnBrk="1" latinLnBrk="0" hangingPunct="1">
        <a:defRPr sz="1680" kern="1200">
          <a:solidFill>
            <a:schemeClr val="tx1"/>
          </a:solidFill>
          <a:latin typeface="+mn-lt"/>
          <a:ea typeface="+mn-ea"/>
          <a:cs typeface="+mn-cs"/>
        </a:defRPr>
      </a:lvl8pPr>
      <a:lvl9pPr marL="3434116" algn="l" defTabSz="858530" rtl="0" eaLnBrk="1" latinLnBrk="0" hangingPunct="1">
        <a:defRPr sz="168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l="-34000" r="-34000"/>
          </a:stretch>
        </a:blipFill>
        <a:effectLst/>
      </p:bgPr>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9604" y="274687"/>
            <a:ext cx="10972800" cy="1143000"/>
          </a:xfrm>
          <a:prstGeom prst="rect">
            <a:avLst/>
          </a:prstGeom>
        </p:spPr>
        <p:txBody>
          <a:bodyPr vert="horz" lIns="91400" tIns="45701" rIns="91400" bIns="45701"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9604" y="1600294"/>
            <a:ext cx="10972800" cy="4525963"/>
          </a:xfrm>
          <a:prstGeom prst="rect">
            <a:avLst/>
          </a:prstGeom>
        </p:spPr>
        <p:txBody>
          <a:bodyPr vert="horz" lIns="91400" tIns="45701" rIns="91400" bIns="45701"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9600" y="6356534"/>
            <a:ext cx="2844800" cy="365125"/>
          </a:xfrm>
          <a:prstGeom prst="rect">
            <a:avLst/>
          </a:prstGeom>
        </p:spPr>
        <p:txBody>
          <a:bodyPr vert="horz" lIns="91400" tIns="45701" rIns="91400" bIns="45701" rtlCol="0" anchor="ctr"/>
          <a:lstStyle>
            <a:lvl1pPr algn="l">
              <a:defRPr sz="1440">
                <a:solidFill>
                  <a:schemeClr val="tx1">
                    <a:tint val="75000"/>
                  </a:schemeClr>
                </a:solidFill>
              </a:defRPr>
            </a:lvl1pPr>
          </a:lstStyle>
          <a:p>
            <a:pPr defTabSz="1097150" fontAlgn="base">
              <a:spcBef>
                <a:spcPct val="0"/>
              </a:spcBef>
              <a:spcAft>
                <a:spcPct val="0"/>
              </a:spcAft>
              <a:defRPr/>
            </a:pPr>
            <a:fld id="{F97FD91F-FBC2-42BC-955A-2DB8FD3F4E2B}" type="datetime1">
              <a:rPr lang="en-US" smtClean="0">
                <a:solidFill>
                  <a:prstClr val="black">
                    <a:tint val="75000"/>
                  </a:prstClr>
                </a:solidFill>
                <a:ea typeface="ヒラギノ角ゴ Pro W3" pitchFamily="1" charset="-128"/>
              </a:rPr>
              <a:pPr defTabSz="1097150" fontAlgn="base">
                <a:spcBef>
                  <a:spcPct val="0"/>
                </a:spcBef>
                <a:spcAft>
                  <a:spcPct val="0"/>
                </a:spcAft>
                <a:defRPr/>
              </a:pPr>
              <a:t>4/5/2021</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3"/>
          </p:nvPr>
        </p:nvSpPr>
        <p:spPr>
          <a:xfrm>
            <a:off x="4165600" y="6356534"/>
            <a:ext cx="3860800" cy="365125"/>
          </a:xfrm>
          <a:prstGeom prst="rect">
            <a:avLst/>
          </a:prstGeom>
        </p:spPr>
        <p:txBody>
          <a:bodyPr vert="horz" lIns="91400" tIns="45701" rIns="91400" bIns="45701" rtlCol="0" anchor="ctr"/>
          <a:lstStyle>
            <a:lvl1pPr algn="ctr">
              <a:defRPr sz="1440">
                <a:solidFill>
                  <a:schemeClr val="tx1">
                    <a:tint val="75000"/>
                  </a:schemeClr>
                </a:solidFill>
              </a:defRPr>
            </a:lvl1pPr>
          </a:lstStyle>
          <a:p>
            <a:pPr defTabSz="1097150"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4"/>
          </p:nvPr>
        </p:nvSpPr>
        <p:spPr>
          <a:xfrm>
            <a:off x="8737600" y="6356534"/>
            <a:ext cx="2844800" cy="365125"/>
          </a:xfrm>
          <a:prstGeom prst="rect">
            <a:avLst/>
          </a:prstGeom>
        </p:spPr>
        <p:txBody>
          <a:bodyPr vert="horz" lIns="91400" tIns="45701" rIns="91400" bIns="45701" rtlCol="0" anchor="ctr"/>
          <a:lstStyle>
            <a:lvl1pPr algn="r">
              <a:defRPr sz="1440">
                <a:solidFill>
                  <a:schemeClr val="tx1">
                    <a:tint val="75000"/>
                  </a:schemeClr>
                </a:solidFill>
              </a:defRPr>
            </a:lvl1pPr>
          </a:lstStyle>
          <a:p>
            <a:pPr defTabSz="1097150"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1097150"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1773920189"/>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Lst>
  <p:hf hdr="0" ftr="0" dt="0"/>
  <p:txStyles>
    <p:titleStyle>
      <a:lvl1pPr algn="ctr" defTabSz="1096807" rtl="0" eaLnBrk="1" latinLnBrk="0" hangingPunct="1">
        <a:spcBef>
          <a:spcPct val="0"/>
        </a:spcBef>
        <a:buNone/>
        <a:defRPr sz="5280" kern="1200">
          <a:solidFill>
            <a:schemeClr val="tx1"/>
          </a:solidFill>
          <a:latin typeface="+mj-lt"/>
          <a:ea typeface="+mj-ea"/>
          <a:cs typeface="+mj-cs"/>
        </a:defRPr>
      </a:lvl1pPr>
    </p:titleStyle>
    <p:bodyStyle>
      <a:lvl1pPr marL="411302" indent="-411302" algn="l" defTabSz="1096807" rtl="0" eaLnBrk="1" latinLnBrk="0" hangingPunct="1">
        <a:spcBef>
          <a:spcPct val="20000"/>
        </a:spcBef>
        <a:buFont typeface="Arial" pitchFamily="34" charset="0"/>
        <a:buChar char="•"/>
        <a:defRPr sz="3720" kern="1200">
          <a:solidFill>
            <a:schemeClr val="tx1"/>
          </a:solidFill>
          <a:latin typeface="+mn-lt"/>
          <a:ea typeface="+mn-ea"/>
          <a:cs typeface="+mn-cs"/>
        </a:defRPr>
      </a:lvl1pPr>
      <a:lvl2pPr marL="891155" indent="-342752" algn="l" defTabSz="1096807" rtl="0" eaLnBrk="1" latinLnBrk="0" hangingPunct="1">
        <a:spcBef>
          <a:spcPct val="20000"/>
        </a:spcBef>
        <a:buFont typeface="Arial" pitchFamily="34" charset="0"/>
        <a:buChar char="–"/>
        <a:defRPr sz="3360" kern="1200">
          <a:solidFill>
            <a:schemeClr val="tx1"/>
          </a:solidFill>
          <a:latin typeface="+mn-lt"/>
          <a:ea typeface="+mn-ea"/>
          <a:cs typeface="+mn-cs"/>
        </a:defRPr>
      </a:lvl2pPr>
      <a:lvl3pPr marL="1371007" indent="-274202" algn="l" defTabSz="1096807" rtl="0" eaLnBrk="1" latinLnBrk="0" hangingPunct="1">
        <a:spcBef>
          <a:spcPct val="20000"/>
        </a:spcBef>
        <a:buFont typeface="Arial" pitchFamily="34" charset="0"/>
        <a:buChar char="•"/>
        <a:defRPr sz="2880" kern="1200">
          <a:solidFill>
            <a:schemeClr val="tx1"/>
          </a:solidFill>
          <a:latin typeface="+mn-lt"/>
          <a:ea typeface="+mn-ea"/>
          <a:cs typeface="+mn-cs"/>
        </a:defRPr>
      </a:lvl3pPr>
      <a:lvl4pPr marL="1919412" indent="-274202" algn="l" defTabSz="1096807"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467817" indent="-274202" algn="l" defTabSz="1096807"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3016220" indent="-274202" algn="l" defTabSz="109680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4623" indent="-274202" algn="l" defTabSz="109680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3025" indent="-274202" algn="l" defTabSz="109680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1430" indent="-274202" algn="l" defTabSz="109680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tr-TR"/>
      </a:defPPr>
      <a:lvl1pPr marL="0" algn="l" defTabSz="1096807" rtl="0" eaLnBrk="1" latinLnBrk="0" hangingPunct="1">
        <a:defRPr sz="2160" kern="1200">
          <a:solidFill>
            <a:schemeClr val="tx1"/>
          </a:solidFill>
          <a:latin typeface="+mn-lt"/>
          <a:ea typeface="+mn-ea"/>
          <a:cs typeface="+mn-cs"/>
        </a:defRPr>
      </a:lvl1pPr>
      <a:lvl2pPr marL="548402" algn="l" defTabSz="1096807" rtl="0" eaLnBrk="1" latinLnBrk="0" hangingPunct="1">
        <a:defRPr sz="2160" kern="1200">
          <a:solidFill>
            <a:schemeClr val="tx1"/>
          </a:solidFill>
          <a:latin typeface="+mn-lt"/>
          <a:ea typeface="+mn-ea"/>
          <a:cs typeface="+mn-cs"/>
        </a:defRPr>
      </a:lvl2pPr>
      <a:lvl3pPr marL="1096807" algn="l" defTabSz="1096807" rtl="0" eaLnBrk="1" latinLnBrk="0" hangingPunct="1">
        <a:defRPr sz="2160" kern="1200">
          <a:solidFill>
            <a:schemeClr val="tx1"/>
          </a:solidFill>
          <a:latin typeface="+mn-lt"/>
          <a:ea typeface="+mn-ea"/>
          <a:cs typeface="+mn-cs"/>
        </a:defRPr>
      </a:lvl3pPr>
      <a:lvl4pPr marL="1645211" algn="l" defTabSz="1096807" rtl="0" eaLnBrk="1" latinLnBrk="0" hangingPunct="1">
        <a:defRPr sz="2160" kern="1200">
          <a:solidFill>
            <a:schemeClr val="tx1"/>
          </a:solidFill>
          <a:latin typeface="+mn-lt"/>
          <a:ea typeface="+mn-ea"/>
          <a:cs typeface="+mn-cs"/>
        </a:defRPr>
      </a:lvl4pPr>
      <a:lvl5pPr marL="2193613" algn="l" defTabSz="1096807" rtl="0" eaLnBrk="1" latinLnBrk="0" hangingPunct="1">
        <a:defRPr sz="2160" kern="1200">
          <a:solidFill>
            <a:schemeClr val="tx1"/>
          </a:solidFill>
          <a:latin typeface="+mn-lt"/>
          <a:ea typeface="+mn-ea"/>
          <a:cs typeface="+mn-cs"/>
        </a:defRPr>
      </a:lvl5pPr>
      <a:lvl6pPr marL="2742016" algn="l" defTabSz="1096807" rtl="0" eaLnBrk="1" latinLnBrk="0" hangingPunct="1">
        <a:defRPr sz="2160" kern="1200">
          <a:solidFill>
            <a:schemeClr val="tx1"/>
          </a:solidFill>
          <a:latin typeface="+mn-lt"/>
          <a:ea typeface="+mn-ea"/>
          <a:cs typeface="+mn-cs"/>
        </a:defRPr>
      </a:lvl6pPr>
      <a:lvl7pPr marL="3290422" algn="l" defTabSz="1096807" rtl="0" eaLnBrk="1" latinLnBrk="0" hangingPunct="1">
        <a:defRPr sz="2160" kern="1200">
          <a:solidFill>
            <a:schemeClr val="tx1"/>
          </a:solidFill>
          <a:latin typeface="+mn-lt"/>
          <a:ea typeface="+mn-ea"/>
          <a:cs typeface="+mn-cs"/>
        </a:defRPr>
      </a:lvl7pPr>
      <a:lvl8pPr marL="3838824" algn="l" defTabSz="1096807" rtl="0" eaLnBrk="1" latinLnBrk="0" hangingPunct="1">
        <a:defRPr sz="2160" kern="1200">
          <a:solidFill>
            <a:schemeClr val="tx1"/>
          </a:solidFill>
          <a:latin typeface="+mn-lt"/>
          <a:ea typeface="+mn-ea"/>
          <a:cs typeface="+mn-cs"/>
        </a:defRPr>
      </a:lvl8pPr>
      <a:lvl9pPr marL="4387226" algn="l" defTabSz="1096807"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21" Type="http://schemas.openxmlformats.org/officeDocument/2006/relationships/tags" Target="../tags/tag27.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image" Target="../media/image15.png"/><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notesSlide" Target="../notesSlides/notesSlide7.xml"/><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slideLayout" Target="../slideLayouts/slideLayout34.xml"/></Relationships>
</file>

<file path=ppt/slides/_rels/slide100.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120.xml"/></Relationships>
</file>

<file path=ppt/slides/_rels/slide101.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120.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03.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64.xml"/><Relationship Id="rId1" Type="http://schemas.openxmlformats.org/officeDocument/2006/relationships/slideLayout" Target="../slideLayouts/slideLayout120.xml"/></Relationships>
</file>

<file path=ppt/slides/_rels/slide10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20.xml"/></Relationships>
</file>

<file path=ppt/slides/_rels/slide10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5.xml"/><Relationship Id="rId1" Type="http://schemas.openxmlformats.org/officeDocument/2006/relationships/slideLayout" Target="../slideLayouts/slideLayout120.xml"/></Relationships>
</file>

<file path=ppt/slides/_rels/slide10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66.xml"/><Relationship Id="rId1" Type="http://schemas.openxmlformats.org/officeDocument/2006/relationships/slideLayout" Target="../slideLayouts/slideLayout120.xml"/></Relationships>
</file>

<file path=ppt/slides/_rels/slide10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67.xml"/><Relationship Id="rId1" Type="http://schemas.openxmlformats.org/officeDocument/2006/relationships/slideLayout" Target="../slideLayouts/slideLayout32.xml"/></Relationships>
</file>

<file path=ppt/slides/_rels/slide108.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29.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109.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jpeg"/><Relationship Id="rId7" Type="http://schemas.openxmlformats.org/officeDocument/2006/relationships/image" Target="../media/image88.jpeg"/><Relationship Id="rId2" Type="http://schemas.openxmlformats.org/officeDocument/2006/relationships/image" Target="../media/image83.wmf"/><Relationship Id="rId1" Type="http://schemas.openxmlformats.org/officeDocument/2006/relationships/slideLayout" Target="../slideLayouts/slideLayout129.xml"/><Relationship Id="rId6" Type="http://schemas.openxmlformats.org/officeDocument/2006/relationships/image" Target="../media/image87.jpeg"/><Relationship Id="rId5" Type="http://schemas.openxmlformats.org/officeDocument/2006/relationships/image" Target="../media/image86.png"/><Relationship Id="rId10" Type="http://schemas.openxmlformats.org/officeDocument/2006/relationships/image" Target="../media/image91.jpeg"/><Relationship Id="rId4" Type="http://schemas.openxmlformats.org/officeDocument/2006/relationships/image" Target="../media/image85.wmf"/><Relationship Id="rId9" Type="http://schemas.openxmlformats.org/officeDocument/2006/relationships/image" Target="../media/image90.png"/></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0.xml"/><Relationship Id="rId7" Type="http://schemas.openxmlformats.org/officeDocument/2006/relationships/image" Target="../media/image25.jpe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Layout" Target="../slideLayouts/slideLayout34.xml"/><Relationship Id="rId5" Type="http://schemas.openxmlformats.org/officeDocument/2006/relationships/tags" Target="../tags/tag32.xml"/><Relationship Id="rId4" Type="http://schemas.openxmlformats.org/officeDocument/2006/relationships/tags" Target="../tags/tag31.xml"/></Relationships>
</file>

<file path=ppt/slides/_rels/slide110.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68.xml"/><Relationship Id="rId1" Type="http://schemas.openxmlformats.org/officeDocument/2006/relationships/slideLayout" Target="../slideLayouts/slideLayout140.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111.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69.xml"/><Relationship Id="rId1" Type="http://schemas.openxmlformats.org/officeDocument/2006/relationships/slideLayout" Target="../slideLayouts/slideLayout152.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95.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76.xml"/></Relationships>
</file>

<file path=ppt/slides/_rels/slide11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tags" Target="../tags/tag58.xml"/><Relationship Id="rId39" Type="http://schemas.openxmlformats.org/officeDocument/2006/relationships/tags" Target="../tags/tag71.xml"/><Relationship Id="rId21" Type="http://schemas.openxmlformats.org/officeDocument/2006/relationships/tags" Target="../tags/tag53.xml"/><Relationship Id="rId34" Type="http://schemas.openxmlformats.org/officeDocument/2006/relationships/tags" Target="../tags/tag66.xml"/><Relationship Id="rId42" Type="http://schemas.openxmlformats.org/officeDocument/2006/relationships/tags" Target="../tags/tag74.xml"/><Relationship Id="rId47" Type="http://schemas.openxmlformats.org/officeDocument/2006/relationships/tags" Target="../tags/tag79.xml"/><Relationship Id="rId50" Type="http://schemas.openxmlformats.org/officeDocument/2006/relationships/tags" Target="../tags/tag82.xml"/><Relationship Id="rId55" Type="http://schemas.openxmlformats.org/officeDocument/2006/relationships/notesSlide" Target="../notesSlides/notesSlide8.xml"/><Relationship Id="rId7" Type="http://schemas.openxmlformats.org/officeDocument/2006/relationships/tags" Target="../tags/tag39.xml"/><Relationship Id="rId2" Type="http://schemas.openxmlformats.org/officeDocument/2006/relationships/tags" Target="../tags/tag34.xml"/><Relationship Id="rId16" Type="http://schemas.openxmlformats.org/officeDocument/2006/relationships/tags" Target="../tags/tag48.xml"/><Relationship Id="rId29" Type="http://schemas.openxmlformats.org/officeDocument/2006/relationships/tags" Target="../tags/tag61.xml"/><Relationship Id="rId11" Type="http://schemas.openxmlformats.org/officeDocument/2006/relationships/tags" Target="../tags/tag43.xml"/><Relationship Id="rId24" Type="http://schemas.openxmlformats.org/officeDocument/2006/relationships/tags" Target="../tags/tag56.xml"/><Relationship Id="rId32" Type="http://schemas.openxmlformats.org/officeDocument/2006/relationships/tags" Target="../tags/tag64.xml"/><Relationship Id="rId37" Type="http://schemas.openxmlformats.org/officeDocument/2006/relationships/tags" Target="../tags/tag69.xml"/><Relationship Id="rId40" Type="http://schemas.openxmlformats.org/officeDocument/2006/relationships/tags" Target="../tags/tag72.xml"/><Relationship Id="rId45" Type="http://schemas.openxmlformats.org/officeDocument/2006/relationships/tags" Target="../tags/tag77.xml"/><Relationship Id="rId53" Type="http://schemas.openxmlformats.org/officeDocument/2006/relationships/tags" Target="../tags/tag85.xml"/><Relationship Id="rId5" Type="http://schemas.openxmlformats.org/officeDocument/2006/relationships/tags" Target="../tags/tag37.xml"/><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tags" Target="../tags/tag63.xml"/><Relationship Id="rId44" Type="http://schemas.openxmlformats.org/officeDocument/2006/relationships/tags" Target="../tags/tag76.xml"/><Relationship Id="rId52" Type="http://schemas.openxmlformats.org/officeDocument/2006/relationships/tags" Target="../tags/tag84.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tags" Target="../tags/tag59.xml"/><Relationship Id="rId30" Type="http://schemas.openxmlformats.org/officeDocument/2006/relationships/tags" Target="../tags/tag62.xml"/><Relationship Id="rId35" Type="http://schemas.openxmlformats.org/officeDocument/2006/relationships/tags" Target="../tags/tag67.xml"/><Relationship Id="rId43" Type="http://schemas.openxmlformats.org/officeDocument/2006/relationships/tags" Target="../tags/tag75.xml"/><Relationship Id="rId48" Type="http://schemas.openxmlformats.org/officeDocument/2006/relationships/tags" Target="../tags/tag80.xml"/><Relationship Id="rId56" Type="http://schemas.openxmlformats.org/officeDocument/2006/relationships/image" Target="../media/image15.png"/><Relationship Id="rId8" Type="http://schemas.openxmlformats.org/officeDocument/2006/relationships/tags" Target="../tags/tag40.xml"/><Relationship Id="rId51" Type="http://schemas.openxmlformats.org/officeDocument/2006/relationships/tags" Target="../tags/tag83.xml"/><Relationship Id="rId3" Type="http://schemas.openxmlformats.org/officeDocument/2006/relationships/tags" Target="../tags/tag35.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33" Type="http://schemas.openxmlformats.org/officeDocument/2006/relationships/tags" Target="../tags/tag65.xml"/><Relationship Id="rId38" Type="http://schemas.openxmlformats.org/officeDocument/2006/relationships/tags" Target="../tags/tag70.xml"/><Relationship Id="rId46" Type="http://schemas.openxmlformats.org/officeDocument/2006/relationships/tags" Target="../tags/tag78.xml"/><Relationship Id="rId20" Type="http://schemas.openxmlformats.org/officeDocument/2006/relationships/tags" Target="../tags/tag52.xml"/><Relationship Id="rId41" Type="http://schemas.openxmlformats.org/officeDocument/2006/relationships/tags" Target="../tags/tag73.xml"/><Relationship Id="rId54" Type="http://schemas.openxmlformats.org/officeDocument/2006/relationships/slideLayout" Target="../slideLayouts/slideLayout34.xml"/><Relationship Id="rId1" Type="http://schemas.openxmlformats.org/officeDocument/2006/relationships/tags" Target="../tags/tag33.xml"/><Relationship Id="rId6" Type="http://schemas.openxmlformats.org/officeDocument/2006/relationships/tags" Target="../tags/tag38.xml"/><Relationship Id="rId15" Type="http://schemas.openxmlformats.org/officeDocument/2006/relationships/tags" Target="../tags/tag47.xml"/><Relationship Id="rId23" Type="http://schemas.openxmlformats.org/officeDocument/2006/relationships/tags" Target="../tags/tag55.xml"/><Relationship Id="rId28" Type="http://schemas.openxmlformats.org/officeDocument/2006/relationships/tags" Target="../tags/tag60.xml"/><Relationship Id="rId36" Type="http://schemas.openxmlformats.org/officeDocument/2006/relationships/tags" Target="../tags/tag68.xml"/><Relationship Id="rId49" Type="http://schemas.openxmlformats.org/officeDocument/2006/relationships/tags" Target="../tags/tag81.xml"/></Relationships>
</file>

<file path=ppt/slides/_rels/slide12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72.xml"/><Relationship Id="rId1" Type="http://schemas.openxmlformats.org/officeDocument/2006/relationships/slideLayout" Target="../slideLayouts/slideLayout9.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13" Type="http://schemas.openxmlformats.org/officeDocument/2006/relationships/tags" Target="../tags/tag98.xml"/><Relationship Id="rId18" Type="http://schemas.openxmlformats.org/officeDocument/2006/relationships/tags" Target="../tags/tag103.xml"/><Relationship Id="rId26" Type="http://schemas.openxmlformats.org/officeDocument/2006/relationships/tags" Target="../tags/tag111.xml"/><Relationship Id="rId39" Type="http://schemas.openxmlformats.org/officeDocument/2006/relationships/slideLayout" Target="../slideLayouts/slideLayout30.xml"/><Relationship Id="rId21" Type="http://schemas.openxmlformats.org/officeDocument/2006/relationships/tags" Target="../tags/tag106.xml"/><Relationship Id="rId34" Type="http://schemas.openxmlformats.org/officeDocument/2006/relationships/tags" Target="../tags/tag119.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5" Type="http://schemas.openxmlformats.org/officeDocument/2006/relationships/tags" Target="../tags/tag110.xml"/><Relationship Id="rId33" Type="http://schemas.openxmlformats.org/officeDocument/2006/relationships/tags" Target="../tags/tag118.xml"/><Relationship Id="rId38" Type="http://schemas.openxmlformats.org/officeDocument/2006/relationships/tags" Target="../tags/tag123.xml"/><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tags" Target="../tags/tag105.xml"/><Relationship Id="rId29" Type="http://schemas.openxmlformats.org/officeDocument/2006/relationships/tags" Target="../tags/tag114.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tags" Target="../tags/tag109.xml"/><Relationship Id="rId32" Type="http://schemas.openxmlformats.org/officeDocument/2006/relationships/tags" Target="../tags/tag117.xml"/><Relationship Id="rId37" Type="http://schemas.openxmlformats.org/officeDocument/2006/relationships/tags" Target="../tags/tag122.xml"/><Relationship Id="rId40" Type="http://schemas.openxmlformats.org/officeDocument/2006/relationships/image" Target="../media/image15.png"/><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tags" Target="../tags/tag108.xml"/><Relationship Id="rId28" Type="http://schemas.openxmlformats.org/officeDocument/2006/relationships/tags" Target="../tags/tag113.xml"/><Relationship Id="rId36" Type="http://schemas.openxmlformats.org/officeDocument/2006/relationships/tags" Target="../tags/tag121.xml"/><Relationship Id="rId10" Type="http://schemas.openxmlformats.org/officeDocument/2006/relationships/tags" Target="../tags/tag95.xml"/><Relationship Id="rId19" Type="http://schemas.openxmlformats.org/officeDocument/2006/relationships/tags" Target="../tags/tag104.xml"/><Relationship Id="rId31" Type="http://schemas.openxmlformats.org/officeDocument/2006/relationships/tags" Target="../tags/tag116.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tags" Target="../tags/tag107.xml"/><Relationship Id="rId27" Type="http://schemas.openxmlformats.org/officeDocument/2006/relationships/tags" Target="../tags/tag112.xml"/><Relationship Id="rId30" Type="http://schemas.openxmlformats.org/officeDocument/2006/relationships/tags" Target="../tags/tag115.xml"/><Relationship Id="rId35" Type="http://schemas.openxmlformats.org/officeDocument/2006/relationships/tags" Target="../tags/tag120.xml"/><Relationship Id="rId8" Type="http://schemas.openxmlformats.org/officeDocument/2006/relationships/tags" Target="../tags/tag93.xml"/><Relationship Id="rId3" Type="http://schemas.openxmlformats.org/officeDocument/2006/relationships/tags" Target="../tags/tag88.xml"/></Relationships>
</file>

<file path=ppt/slides/_rels/slide1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9.xml"/><Relationship Id="rId1" Type="http://schemas.openxmlformats.org/officeDocument/2006/relationships/slideLayout" Target="../slideLayouts/slideLayout39.xml"/><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1.xml"/><Relationship Id="rId1" Type="http://schemas.openxmlformats.org/officeDocument/2006/relationships/tags" Target="../tags/tag124.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hyperlink" Target="KOSGEB_Taraf&#305;ndan_Desteklenen_Sekto&#776;rler.pdf" TargetMode="External"/><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6.jpg"/><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62.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57.xml"/><Relationship Id="rId1" Type="http://schemas.openxmlformats.org/officeDocument/2006/relationships/tags" Target="../tags/tag125.xml"/></Relationships>
</file>

<file path=ppt/slides/_rels/slide23.xml.rels><?xml version="1.0" encoding="UTF-8" standalone="yes"?>
<Relationships xmlns="http://schemas.openxmlformats.org/package/2006/relationships"><Relationship Id="rId8" Type="http://schemas.openxmlformats.org/officeDocument/2006/relationships/tags" Target="../tags/tag133.xml"/><Relationship Id="rId3" Type="http://schemas.openxmlformats.org/officeDocument/2006/relationships/tags" Target="../tags/tag128.xml"/><Relationship Id="rId7" Type="http://schemas.openxmlformats.org/officeDocument/2006/relationships/tags" Target="../tags/tag132.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image" Target="../media/image15.png"/><Relationship Id="rId5" Type="http://schemas.openxmlformats.org/officeDocument/2006/relationships/tags" Target="../tags/tag130.xml"/><Relationship Id="rId10" Type="http://schemas.openxmlformats.org/officeDocument/2006/relationships/notesSlide" Target="../notesSlides/notesSlide12.xml"/><Relationship Id="rId4" Type="http://schemas.openxmlformats.org/officeDocument/2006/relationships/tags" Target="../tags/tag129.xml"/><Relationship Id="rId9" Type="http://schemas.openxmlformats.org/officeDocument/2006/relationships/slideLayout" Target="../slideLayouts/slideLayout6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62.xml"/></Relationships>
</file>

<file path=ppt/slides/_rels/slide25.xml.rels><?xml version="1.0" encoding="UTF-8" standalone="yes"?>
<Relationships xmlns="http://schemas.openxmlformats.org/package/2006/relationships"><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tags" Target="../tags/tag159.xml"/><Relationship Id="rId39" Type="http://schemas.openxmlformats.org/officeDocument/2006/relationships/tags" Target="../tags/tag172.xml"/><Relationship Id="rId21" Type="http://schemas.openxmlformats.org/officeDocument/2006/relationships/tags" Target="../tags/tag154.xml"/><Relationship Id="rId34" Type="http://schemas.openxmlformats.org/officeDocument/2006/relationships/tags" Target="../tags/tag167.xml"/><Relationship Id="rId42" Type="http://schemas.openxmlformats.org/officeDocument/2006/relationships/tags" Target="../tags/tag175.xml"/><Relationship Id="rId47" Type="http://schemas.openxmlformats.org/officeDocument/2006/relationships/tags" Target="../tags/tag180.xml"/><Relationship Id="rId50" Type="http://schemas.openxmlformats.org/officeDocument/2006/relationships/tags" Target="../tags/tag183.xml"/><Relationship Id="rId55" Type="http://schemas.openxmlformats.org/officeDocument/2006/relationships/slideLayout" Target="../slideLayouts/slideLayout57.xml"/><Relationship Id="rId7" Type="http://schemas.openxmlformats.org/officeDocument/2006/relationships/tags" Target="../tags/tag140.xml"/><Relationship Id="rId2" Type="http://schemas.openxmlformats.org/officeDocument/2006/relationships/tags" Target="../tags/tag135.xml"/><Relationship Id="rId16" Type="http://schemas.openxmlformats.org/officeDocument/2006/relationships/tags" Target="../tags/tag149.xml"/><Relationship Id="rId29" Type="http://schemas.openxmlformats.org/officeDocument/2006/relationships/tags" Target="../tags/tag162.xml"/><Relationship Id="rId11" Type="http://schemas.openxmlformats.org/officeDocument/2006/relationships/tags" Target="../tags/tag144.xml"/><Relationship Id="rId24" Type="http://schemas.openxmlformats.org/officeDocument/2006/relationships/tags" Target="../tags/tag157.xml"/><Relationship Id="rId32" Type="http://schemas.openxmlformats.org/officeDocument/2006/relationships/tags" Target="../tags/tag165.xml"/><Relationship Id="rId37" Type="http://schemas.openxmlformats.org/officeDocument/2006/relationships/tags" Target="../tags/tag170.xml"/><Relationship Id="rId40" Type="http://schemas.openxmlformats.org/officeDocument/2006/relationships/tags" Target="../tags/tag173.xml"/><Relationship Id="rId45" Type="http://schemas.openxmlformats.org/officeDocument/2006/relationships/tags" Target="../tags/tag178.xml"/><Relationship Id="rId53" Type="http://schemas.openxmlformats.org/officeDocument/2006/relationships/tags" Target="../tags/tag186.xml"/><Relationship Id="rId5" Type="http://schemas.openxmlformats.org/officeDocument/2006/relationships/tags" Target="../tags/tag138.xml"/><Relationship Id="rId10" Type="http://schemas.openxmlformats.org/officeDocument/2006/relationships/tags" Target="../tags/tag143.xml"/><Relationship Id="rId19" Type="http://schemas.openxmlformats.org/officeDocument/2006/relationships/tags" Target="../tags/tag152.xml"/><Relationship Id="rId31" Type="http://schemas.openxmlformats.org/officeDocument/2006/relationships/tags" Target="../tags/tag164.xml"/><Relationship Id="rId44" Type="http://schemas.openxmlformats.org/officeDocument/2006/relationships/tags" Target="../tags/tag177.xml"/><Relationship Id="rId52" Type="http://schemas.openxmlformats.org/officeDocument/2006/relationships/tags" Target="../tags/tag185.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tags" Target="../tags/tag160.xml"/><Relationship Id="rId30" Type="http://schemas.openxmlformats.org/officeDocument/2006/relationships/tags" Target="../tags/tag163.xml"/><Relationship Id="rId35" Type="http://schemas.openxmlformats.org/officeDocument/2006/relationships/tags" Target="../tags/tag168.xml"/><Relationship Id="rId43" Type="http://schemas.openxmlformats.org/officeDocument/2006/relationships/tags" Target="../tags/tag176.xml"/><Relationship Id="rId48" Type="http://schemas.openxmlformats.org/officeDocument/2006/relationships/tags" Target="../tags/tag181.xml"/><Relationship Id="rId56" Type="http://schemas.openxmlformats.org/officeDocument/2006/relationships/image" Target="../media/image15.png"/><Relationship Id="rId8" Type="http://schemas.openxmlformats.org/officeDocument/2006/relationships/tags" Target="../tags/tag141.xml"/><Relationship Id="rId51" Type="http://schemas.openxmlformats.org/officeDocument/2006/relationships/tags" Target="../tags/tag184.xml"/><Relationship Id="rId3" Type="http://schemas.openxmlformats.org/officeDocument/2006/relationships/tags" Target="../tags/tag136.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33" Type="http://schemas.openxmlformats.org/officeDocument/2006/relationships/tags" Target="../tags/tag166.xml"/><Relationship Id="rId38" Type="http://schemas.openxmlformats.org/officeDocument/2006/relationships/tags" Target="../tags/tag171.xml"/><Relationship Id="rId46" Type="http://schemas.openxmlformats.org/officeDocument/2006/relationships/tags" Target="../tags/tag179.xml"/><Relationship Id="rId20" Type="http://schemas.openxmlformats.org/officeDocument/2006/relationships/tags" Target="../tags/tag153.xml"/><Relationship Id="rId41" Type="http://schemas.openxmlformats.org/officeDocument/2006/relationships/tags" Target="../tags/tag174.xml"/><Relationship Id="rId54" Type="http://schemas.openxmlformats.org/officeDocument/2006/relationships/tags" Target="../tags/tag187.xml"/><Relationship Id="rId1" Type="http://schemas.openxmlformats.org/officeDocument/2006/relationships/tags" Target="../tags/tag134.xml"/><Relationship Id="rId6" Type="http://schemas.openxmlformats.org/officeDocument/2006/relationships/tags" Target="../tags/tag139.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tags" Target="../tags/tag161.xml"/><Relationship Id="rId36" Type="http://schemas.openxmlformats.org/officeDocument/2006/relationships/tags" Target="../tags/tag169.xml"/><Relationship Id="rId49" Type="http://schemas.openxmlformats.org/officeDocument/2006/relationships/tags" Target="../tags/tag182.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57.xml"/><Relationship Id="rId1" Type="http://schemas.openxmlformats.org/officeDocument/2006/relationships/tags" Target="../tags/tag188.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image" Target="../media/image18.jp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2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slide" Target="slide2.xml"/><Relationship Id="rId5" Type="http://schemas.openxmlformats.org/officeDocument/2006/relationships/image" Target="../media/image15.png"/><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2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8" Type="http://schemas.openxmlformats.org/officeDocument/2006/relationships/tags" Target="../tags/tag196.xml"/><Relationship Id="rId3" Type="http://schemas.openxmlformats.org/officeDocument/2006/relationships/tags" Target="../tags/tag191.xml"/><Relationship Id="rId7" Type="http://schemas.openxmlformats.org/officeDocument/2006/relationships/tags" Target="../tags/tag195.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notesSlide" Target="../notesSlides/notesSlide19.xml"/><Relationship Id="rId5" Type="http://schemas.openxmlformats.org/officeDocument/2006/relationships/tags" Target="../tags/tag193.xml"/><Relationship Id="rId10" Type="http://schemas.openxmlformats.org/officeDocument/2006/relationships/slideLayout" Target="../slideLayouts/slideLayout29.xml"/><Relationship Id="rId4" Type="http://schemas.openxmlformats.org/officeDocument/2006/relationships/tags" Target="../tags/tag192.xml"/><Relationship Id="rId9" Type="http://schemas.openxmlformats.org/officeDocument/2006/relationships/tags" Target="../tags/tag197.xml"/></Relationships>
</file>

<file path=ppt/slides/_rels/slide34.xml.rels><?xml version="1.0" encoding="UTF-8" standalone="yes"?>
<Relationships xmlns="http://schemas.openxmlformats.org/package/2006/relationships"><Relationship Id="rId13" Type="http://schemas.openxmlformats.org/officeDocument/2006/relationships/tags" Target="../tags/tag210.xml"/><Relationship Id="rId18" Type="http://schemas.openxmlformats.org/officeDocument/2006/relationships/tags" Target="../tags/tag215.xml"/><Relationship Id="rId26" Type="http://schemas.openxmlformats.org/officeDocument/2006/relationships/tags" Target="../tags/tag223.xml"/><Relationship Id="rId39" Type="http://schemas.openxmlformats.org/officeDocument/2006/relationships/tags" Target="../tags/tag236.xml"/><Relationship Id="rId21" Type="http://schemas.openxmlformats.org/officeDocument/2006/relationships/tags" Target="../tags/tag218.xml"/><Relationship Id="rId34" Type="http://schemas.openxmlformats.org/officeDocument/2006/relationships/tags" Target="../tags/tag231.xml"/><Relationship Id="rId42" Type="http://schemas.openxmlformats.org/officeDocument/2006/relationships/tags" Target="../tags/tag239.xml"/><Relationship Id="rId47" Type="http://schemas.openxmlformats.org/officeDocument/2006/relationships/tags" Target="../tags/tag244.xml"/><Relationship Id="rId50" Type="http://schemas.openxmlformats.org/officeDocument/2006/relationships/notesSlide" Target="../notesSlides/notesSlide20.xml"/><Relationship Id="rId7" Type="http://schemas.openxmlformats.org/officeDocument/2006/relationships/tags" Target="../tags/tag204.xml"/><Relationship Id="rId2" Type="http://schemas.openxmlformats.org/officeDocument/2006/relationships/tags" Target="../tags/tag199.xml"/><Relationship Id="rId16" Type="http://schemas.openxmlformats.org/officeDocument/2006/relationships/tags" Target="../tags/tag213.xml"/><Relationship Id="rId29" Type="http://schemas.openxmlformats.org/officeDocument/2006/relationships/tags" Target="../tags/tag226.xml"/><Relationship Id="rId11" Type="http://schemas.openxmlformats.org/officeDocument/2006/relationships/tags" Target="../tags/tag208.xml"/><Relationship Id="rId24" Type="http://schemas.openxmlformats.org/officeDocument/2006/relationships/tags" Target="../tags/tag221.xml"/><Relationship Id="rId32" Type="http://schemas.openxmlformats.org/officeDocument/2006/relationships/tags" Target="../tags/tag229.xml"/><Relationship Id="rId37" Type="http://schemas.openxmlformats.org/officeDocument/2006/relationships/tags" Target="../tags/tag234.xml"/><Relationship Id="rId40" Type="http://schemas.openxmlformats.org/officeDocument/2006/relationships/tags" Target="../tags/tag237.xml"/><Relationship Id="rId45" Type="http://schemas.openxmlformats.org/officeDocument/2006/relationships/tags" Target="../tags/tag242.xml"/><Relationship Id="rId5" Type="http://schemas.openxmlformats.org/officeDocument/2006/relationships/tags" Target="../tags/tag202.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tags" Target="../tags/tag225.xml"/><Relationship Id="rId36" Type="http://schemas.openxmlformats.org/officeDocument/2006/relationships/tags" Target="../tags/tag233.xml"/><Relationship Id="rId49" Type="http://schemas.openxmlformats.org/officeDocument/2006/relationships/slideLayout" Target="../slideLayouts/slideLayout29.xml"/><Relationship Id="rId10" Type="http://schemas.openxmlformats.org/officeDocument/2006/relationships/tags" Target="../tags/tag207.xml"/><Relationship Id="rId19" Type="http://schemas.openxmlformats.org/officeDocument/2006/relationships/tags" Target="../tags/tag216.xml"/><Relationship Id="rId31" Type="http://schemas.openxmlformats.org/officeDocument/2006/relationships/tags" Target="../tags/tag228.xml"/><Relationship Id="rId44" Type="http://schemas.openxmlformats.org/officeDocument/2006/relationships/tags" Target="../tags/tag241.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tags" Target="../tags/tag227.xml"/><Relationship Id="rId35" Type="http://schemas.openxmlformats.org/officeDocument/2006/relationships/tags" Target="../tags/tag232.xml"/><Relationship Id="rId43" Type="http://schemas.openxmlformats.org/officeDocument/2006/relationships/tags" Target="../tags/tag240.xml"/><Relationship Id="rId48" Type="http://schemas.openxmlformats.org/officeDocument/2006/relationships/tags" Target="../tags/tag245.xml"/><Relationship Id="rId8" Type="http://schemas.openxmlformats.org/officeDocument/2006/relationships/tags" Target="../tags/tag205.xml"/><Relationship Id="rId3" Type="http://schemas.openxmlformats.org/officeDocument/2006/relationships/tags" Target="../tags/tag200.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tags" Target="../tags/tag230.xml"/><Relationship Id="rId38" Type="http://schemas.openxmlformats.org/officeDocument/2006/relationships/tags" Target="../tags/tag235.xml"/><Relationship Id="rId46" Type="http://schemas.openxmlformats.org/officeDocument/2006/relationships/tags" Target="../tags/tag243.xml"/><Relationship Id="rId20" Type="http://schemas.openxmlformats.org/officeDocument/2006/relationships/tags" Target="../tags/tag217.xml"/><Relationship Id="rId41" Type="http://schemas.openxmlformats.org/officeDocument/2006/relationships/tags" Target="../tags/tag238.xml"/><Relationship Id="rId1" Type="http://schemas.openxmlformats.org/officeDocument/2006/relationships/tags" Target="../tags/tag198.xml"/><Relationship Id="rId6" Type="http://schemas.openxmlformats.org/officeDocument/2006/relationships/tags" Target="../tags/tag203.xml"/></Relationships>
</file>

<file path=ppt/slides/_rels/slide3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1.xml"/><Relationship Id="rId1" Type="http://schemas.openxmlformats.org/officeDocument/2006/relationships/slideLayout" Target="../slideLayouts/slideLayout26.xml"/><Relationship Id="rId4" Type="http://schemas.openxmlformats.org/officeDocument/2006/relationships/image" Target="../media/image15.png"/></Relationships>
</file>

<file path=ppt/slides/_rels/slide36.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15.png"/><Relationship Id="rId7" Type="http://schemas.openxmlformats.org/officeDocument/2006/relationships/diagramColors" Target="../diagrams/colors4.xml"/><Relationship Id="rId2" Type="http://schemas.openxmlformats.org/officeDocument/2006/relationships/notesSlide" Target="../notesSlides/notesSlide22.xml"/><Relationship Id="rId1" Type="http://schemas.openxmlformats.org/officeDocument/2006/relationships/slideLayout" Target="../slideLayouts/slideLayout31.xml"/><Relationship Id="rId6" Type="http://schemas.openxmlformats.org/officeDocument/2006/relationships/diagramQuickStyle" Target="../diagrams/quickStyle4.xml"/><Relationship Id="rId11" Type="http://schemas.openxmlformats.org/officeDocument/2006/relationships/image" Target="../media/image30.png"/><Relationship Id="rId5" Type="http://schemas.openxmlformats.org/officeDocument/2006/relationships/diagramLayout" Target="../diagrams/layout4.xml"/><Relationship Id="rId10" Type="http://schemas.openxmlformats.org/officeDocument/2006/relationships/image" Target="NULL"/><Relationship Id="rId4" Type="http://schemas.openxmlformats.org/officeDocument/2006/relationships/diagramData" Target="../diagrams/data4.xml"/><Relationship Id="rId9" Type="http://schemas.openxmlformats.org/officeDocument/2006/relationships/image" Target="../media/image29.png"/></Relationships>
</file>

<file path=ppt/slides/_rels/slide37.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media/image35.png"/><Relationship Id="rId18" Type="http://schemas.openxmlformats.org/officeDocument/2006/relationships/image" Target="../media/image37.png"/><Relationship Id="rId3" Type="http://schemas.openxmlformats.org/officeDocument/2006/relationships/image" Target="../media/image15.png"/><Relationship Id="rId7" Type="http://schemas.openxmlformats.org/officeDocument/2006/relationships/image" Target="../media/image32.png"/><Relationship Id="rId12" Type="http://schemas.openxmlformats.org/officeDocument/2006/relationships/image" Target="NULL"/><Relationship Id="rId17" Type="http://schemas.openxmlformats.org/officeDocument/2006/relationships/image" Target="NULL"/><Relationship Id="rId2" Type="http://schemas.openxmlformats.org/officeDocument/2006/relationships/notesSlide" Target="../notesSlides/notesSlide23.xml"/><Relationship Id="rId16" Type="http://schemas.openxmlformats.org/officeDocument/2006/relationships/image" Target="../media/image36.png"/><Relationship Id="rId1" Type="http://schemas.openxmlformats.org/officeDocument/2006/relationships/slideLayout" Target="../slideLayouts/slideLayout30.xml"/><Relationship Id="rId6" Type="http://schemas.openxmlformats.org/officeDocument/2006/relationships/image" Target="NULL"/><Relationship Id="rId11" Type="http://schemas.openxmlformats.org/officeDocument/2006/relationships/image" Target="../media/image34.png"/><Relationship Id="rId5" Type="http://schemas.openxmlformats.org/officeDocument/2006/relationships/image" Target="../media/image31.png"/><Relationship Id="rId15" Type="http://schemas.openxmlformats.org/officeDocument/2006/relationships/image" Target="../media/image30.png"/><Relationship Id="rId10" Type="http://schemas.openxmlformats.org/officeDocument/2006/relationships/image" Target="NULL"/><Relationship Id="rId19" Type="http://schemas.openxmlformats.org/officeDocument/2006/relationships/image" Target="NULL"/><Relationship Id="rId4" Type="http://schemas.openxmlformats.org/officeDocument/2006/relationships/image" Target="../media/image27.jpg"/><Relationship Id="rId9" Type="http://schemas.openxmlformats.org/officeDocument/2006/relationships/image" Target="../media/image33.png"/><Relationship Id="rId14" Type="http://schemas.openxmlformats.org/officeDocument/2006/relationships/image" Target="NULL"/></Relationships>
</file>

<file path=ppt/slides/_rels/slide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30.xml"/><Relationship Id="rId6" Type="http://schemas.openxmlformats.org/officeDocument/2006/relationships/image" Target="../media/image38.jpg"/><Relationship Id="rId5" Type="http://schemas.openxmlformats.org/officeDocument/2006/relationships/image" Target="../media/image30.png"/><Relationship Id="rId4" Type="http://schemas.openxmlformats.org/officeDocument/2006/relationships/image" Target="../media/image27.jpg"/></Relationships>
</file>

<file path=ppt/slides/_rels/slide39.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image" Target="../media/image15.png"/><Relationship Id="rId7" Type="http://schemas.openxmlformats.org/officeDocument/2006/relationships/diagramLayout" Target="../diagrams/layout5.xml"/><Relationship Id="rId2" Type="http://schemas.openxmlformats.org/officeDocument/2006/relationships/notesSlide" Target="../notesSlides/notesSlide25.xml"/><Relationship Id="rId1" Type="http://schemas.openxmlformats.org/officeDocument/2006/relationships/slideLayout" Target="../slideLayouts/slideLayout30.xml"/><Relationship Id="rId6" Type="http://schemas.openxmlformats.org/officeDocument/2006/relationships/diagramData" Target="../diagrams/data5.xml"/><Relationship Id="rId5" Type="http://schemas.openxmlformats.org/officeDocument/2006/relationships/image" Target="../media/image30.png"/><Relationship Id="rId10" Type="http://schemas.microsoft.com/office/2007/relationships/diagramDrawing" Target="../diagrams/drawing5.xml"/><Relationship Id="rId4" Type="http://schemas.openxmlformats.org/officeDocument/2006/relationships/image" Target="../media/image27.jpg"/><Relationship Id="rId9" Type="http://schemas.openxmlformats.org/officeDocument/2006/relationships/diagramColors" Target="../diagrams/colors5.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41.jpg"/><Relationship Id="rId2" Type="http://schemas.openxmlformats.org/officeDocument/2006/relationships/notesSlide" Target="../notesSlides/notesSlide26.xml"/><Relationship Id="rId1" Type="http://schemas.openxmlformats.org/officeDocument/2006/relationships/slideLayout" Target="../slideLayouts/slideLayout30.xml"/><Relationship Id="rId6" Type="http://schemas.openxmlformats.org/officeDocument/2006/relationships/image" Target="../media/image40.jpeg"/><Relationship Id="rId5" Type="http://schemas.openxmlformats.org/officeDocument/2006/relationships/image" Target="../media/image30.png"/><Relationship Id="rId4" Type="http://schemas.openxmlformats.org/officeDocument/2006/relationships/image" Target="../media/image39.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30.png"/><Relationship Id="rId2" Type="http://schemas.openxmlformats.org/officeDocument/2006/relationships/slideLayout" Target="../slideLayouts/slideLayout30.xml"/><Relationship Id="rId1" Type="http://schemas.openxmlformats.org/officeDocument/2006/relationships/tags" Target="../tags/tag246.xml"/><Relationship Id="rId6" Type="http://schemas.openxmlformats.org/officeDocument/2006/relationships/image" Target="../media/image43.png"/><Relationship Id="rId5" Type="http://schemas.openxmlformats.org/officeDocument/2006/relationships/image" Target="../media/image15.png"/><Relationship Id="rId4" Type="http://schemas.openxmlformats.org/officeDocument/2006/relationships/image" Target="../media/image42.png"/></Relationships>
</file>

<file path=ppt/slides/_rels/slide42.xml.rels><?xml version="1.0" encoding="UTF-8" standalone="yes"?>
<Relationships xmlns="http://schemas.openxmlformats.org/package/2006/relationships"><Relationship Id="rId8" Type="http://schemas.openxmlformats.org/officeDocument/2006/relationships/image" Target="../media/image50.jp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26.xml"/><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30.png"/><Relationship Id="rId4" Type="http://schemas.openxmlformats.org/officeDocument/2006/relationships/image" Target="../media/image46.jpg"/><Relationship Id="rId9" Type="http://schemas.openxmlformats.org/officeDocument/2006/relationships/image" Target="../media/image15.png"/></Relationships>
</file>

<file path=ppt/slides/_rels/slide43.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tags" Target="../tags/tag259.xml"/><Relationship Id="rId18" Type="http://schemas.openxmlformats.org/officeDocument/2006/relationships/tags" Target="../tags/tag264.xml"/><Relationship Id="rId3" Type="http://schemas.openxmlformats.org/officeDocument/2006/relationships/tags" Target="../tags/tag249.xml"/><Relationship Id="rId21" Type="http://schemas.openxmlformats.org/officeDocument/2006/relationships/tags" Target="../tags/tag267.xml"/><Relationship Id="rId7" Type="http://schemas.openxmlformats.org/officeDocument/2006/relationships/tags" Target="../tags/tag253.xml"/><Relationship Id="rId12" Type="http://schemas.openxmlformats.org/officeDocument/2006/relationships/tags" Target="../tags/tag258.xml"/><Relationship Id="rId17" Type="http://schemas.openxmlformats.org/officeDocument/2006/relationships/tags" Target="../tags/tag263.xml"/><Relationship Id="rId25" Type="http://schemas.openxmlformats.org/officeDocument/2006/relationships/image" Target="../media/image15.png"/><Relationship Id="rId2" Type="http://schemas.openxmlformats.org/officeDocument/2006/relationships/tags" Target="../tags/tag248.xml"/><Relationship Id="rId16" Type="http://schemas.openxmlformats.org/officeDocument/2006/relationships/tags" Target="../tags/tag262.xml"/><Relationship Id="rId20" Type="http://schemas.openxmlformats.org/officeDocument/2006/relationships/tags" Target="../tags/tag266.xml"/><Relationship Id="rId1" Type="http://schemas.openxmlformats.org/officeDocument/2006/relationships/tags" Target="../tags/tag247.xml"/><Relationship Id="rId6" Type="http://schemas.openxmlformats.org/officeDocument/2006/relationships/tags" Target="../tags/tag252.xml"/><Relationship Id="rId11" Type="http://schemas.openxmlformats.org/officeDocument/2006/relationships/tags" Target="../tags/tag257.xml"/><Relationship Id="rId24" Type="http://schemas.openxmlformats.org/officeDocument/2006/relationships/slideLayout" Target="../slideLayouts/slideLayout30.xml"/><Relationship Id="rId5" Type="http://schemas.openxmlformats.org/officeDocument/2006/relationships/tags" Target="../tags/tag251.xml"/><Relationship Id="rId15" Type="http://schemas.openxmlformats.org/officeDocument/2006/relationships/tags" Target="../tags/tag261.xml"/><Relationship Id="rId23" Type="http://schemas.openxmlformats.org/officeDocument/2006/relationships/tags" Target="../tags/tag269.xml"/><Relationship Id="rId10" Type="http://schemas.openxmlformats.org/officeDocument/2006/relationships/tags" Target="../tags/tag256.xml"/><Relationship Id="rId19" Type="http://schemas.openxmlformats.org/officeDocument/2006/relationships/tags" Target="../tags/tag265.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tags" Target="../tags/tag260.xml"/><Relationship Id="rId22" Type="http://schemas.openxmlformats.org/officeDocument/2006/relationships/tags" Target="../tags/tag268.xml"/></Relationships>
</file>

<file path=ppt/slides/_rels/slide44.xml.rels><?xml version="1.0" encoding="UTF-8" standalone="yes"?>
<Relationships xmlns="http://schemas.openxmlformats.org/package/2006/relationships"><Relationship Id="rId13" Type="http://schemas.openxmlformats.org/officeDocument/2006/relationships/tags" Target="../tags/tag282.xml"/><Relationship Id="rId18" Type="http://schemas.openxmlformats.org/officeDocument/2006/relationships/tags" Target="../tags/tag287.xml"/><Relationship Id="rId26" Type="http://schemas.openxmlformats.org/officeDocument/2006/relationships/tags" Target="../tags/tag295.xml"/><Relationship Id="rId39" Type="http://schemas.openxmlformats.org/officeDocument/2006/relationships/tags" Target="../tags/tag308.xml"/><Relationship Id="rId21" Type="http://schemas.openxmlformats.org/officeDocument/2006/relationships/tags" Target="../tags/tag290.xml"/><Relationship Id="rId34" Type="http://schemas.openxmlformats.org/officeDocument/2006/relationships/tags" Target="../tags/tag303.xml"/><Relationship Id="rId42" Type="http://schemas.openxmlformats.org/officeDocument/2006/relationships/tags" Target="../tags/tag311.xml"/><Relationship Id="rId47" Type="http://schemas.openxmlformats.org/officeDocument/2006/relationships/tags" Target="../tags/tag316.xml"/><Relationship Id="rId50" Type="http://schemas.openxmlformats.org/officeDocument/2006/relationships/tags" Target="../tags/tag319.xml"/><Relationship Id="rId55" Type="http://schemas.openxmlformats.org/officeDocument/2006/relationships/image" Target="../media/image15.png"/><Relationship Id="rId7" Type="http://schemas.openxmlformats.org/officeDocument/2006/relationships/tags" Target="../tags/tag276.xml"/><Relationship Id="rId2" Type="http://schemas.openxmlformats.org/officeDocument/2006/relationships/tags" Target="../tags/tag271.xml"/><Relationship Id="rId16" Type="http://schemas.openxmlformats.org/officeDocument/2006/relationships/tags" Target="../tags/tag285.xml"/><Relationship Id="rId29" Type="http://schemas.openxmlformats.org/officeDocument/2006/relationships/tags" Target="../tags/tag298.xml"/><Relationship Id="rId11" Type="http://schemas.openxmlformats.org/officeDocument/2006/relationships/tags" Target="../tags/tag280.xml"/><Relationship Id="rId24" Type="http://schemas.openxmlformats.org/officeDocument/2006/relationships/tags" Target="../tags/tag293.xml"/><Relationship Id="rId32" Type="http://schemas.openxmlformats.org/officeDocument/2006/relationships/tags" Target="../tags/tag301.xml"/><Relationship Id="rId37" Type="http://schemas.openxmlformats.org/officeDocument/2006/relationships/tags" Target="../tags/tag306.xml"/><Relationship Id="rId40" Type="http://schemas.openxmlformats.org/officeDocument/2006/relationships/tags" Target="../tags/tag309.xml"/><Relationship Id="rId45" Type="http://schemas.openxmlformats.org/officeDocument/2006/relationships/tags" Target="../tags/tag314.xml"/><Relationship Id="rId53" Type="http://schemas.openxmlformats.org/officeDocument/2006/relationships/tags" Target="../tags/tag322.xml"/><Relationship Id="rId5" Type="http://schemas.openxmlformats.org/officeDocument/2006/relationships/tags" Target="../tags/tag274.xml"/><Relationship Id="rId10" Type="http://schemas.openxmlformats.org/officeDocument/2006/relationships/tags" Target="../tags/tag279.xml"/><Relationship Id="rId19" Type="http://schemas.openxmlformats.org/officeDocument/2006/relationships/tags" Target="../tags/tag288.xml"/><Relationship Id="rId31" Type="http://schemas.openxmlformats.org/officeDocument/2006/relationships/tags" Target="../tags/tag300.xml"/><Relationship Id="rId44" Type="http://schemas.openxmlformats.org/officeDocument/2006/relationships/tags" Target="../tags/tag313.xml"/><Relationship Id="rId52" Type="http://schemas.openxmlformats.org/officeDocument/2006/relationships/tags" Target="../tags/tag321.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2" Type="http://schemas.openxmlformats.org/officeDocument/2006/relationships/tags" Target="../tags/tag291.xml"/><Relationship Id="rId27" Type="http://schemas.openxmlformats.org/officeDocument/2006/relationships/tags" Target="../tags/tag296.xml"/><Relationship Id="rId30" Type="http://schemas.openxmlformats.org/officeDocument/2006/relationships/tags" Target="../tags/tag299.xml"/><Relationship Id="rId35" Type="http://schemas.openxmlformats.org/officeDocument/2006/relationships/tags" Target="../tags/tag304.xml"/><Relationship Id="rId43" Type="http://schemas.openxmlformats.org/officeDocument/2006/relationships/tags" Target="../tags/tag312.xml"/><Relationship Id="rId48" Type="http://schemas.openxmlformats.org/officeDocument/2006/relationships/tags" Target="../tags/tag317.xml"/><Relationship Id="rId8" Type="http://schemas.openxmlformats.org/officeDocument/2006/relationships/tags" Target="../tags/tag277.xml"/><Relationship Id="rId51" Type="http://schemas.openxmlformats.org/officeDocument/2006/relationships/tags" Target="../tags/tag320.xml"/><Relationship Id="rId3" Type="http://schemas.openxmlformats.org/officeDocument/2006/relationships/tags" Target="../tags/tag272.xml"/><Relationship Id="rId12" Type="http://schemas.openxmlformats.org/officeDocument/2006/relationships/tags" Target="../tags/tag281.xml"/><Relationship Id="rId17" Type="http://schemas.openxmlformats.org/officeDocument/2006/relationships/tags" Target="../tags/tag286.xml"/><Relationship Id="rId25" Type="http://schemas.openxmlformats.org/officeDocument/2006/relationships/tags" Target="../tags/tag294.xml"/><Relationship Id="rId33" Type="http://schemas.openxmlformats.org/officeDocument/2006/relationships/tags" Target="../tags/tag302.xml"/><Relationship Id="rId38" Type="http://schemas.openxmlformats.org/officeDocument/2006/relationships/tags" Target="../tags/tag307.xml"/><Relationship Id="rId46" Type="http://schemas.openxmlformats.org/officeDocument/2006/relationships/tags" Target="../tags/tag315.xml"/><Relationship Id="rId20" Type="http://schemas.openxmlformats.org/officeDocument/2006/relationships/tags" Target="../tags/tag289.xml"/><Relationship Id="rId41" Type="http://schemas.openxmlformats.org/officeDocument/2006/relationships/tags" Target="../tags/tag310.xml"/><Relationship Id="rId54" Type="http://schemas.openxmlformats.org/officeDocument/2006/relationships/slideLayout" Target="../slideLayouts/slideLayout30.xml"/><Relationship Id="rId1" Type="http://schemas.openxmlformats.org/officeDocument/2006/relationships/tags" Target="../tags/tag270.xml"/><Relationship Id="rId6" Type="http://schemas.openxmlformats.org/officeDocument/2006/relationships/tags" Target="../tags/tag275.xml"/><Relationship Id="rId15" Type="http://schemas.openxmlformats.org/officeDocument/2006/relationships/tags" Target="../tags/tag284.xml"/><Relationship Id="rId23" Type="http://schemas.openxmlformats.org/officeDocument/2006/relationships/tags" Target="../tags/tag292.xml"/><Relationship Id="rId28" Type="http://schemas.openxmlformats.org/officeDocument/2006/relationships/tags" Target="../tags/tag297.xml"/><Relationship Id="rId36" Type="http://schemas.openxmlformats.org/officeDocument/2006/relationships/tags" Target="../tags/tag305.xml"/><Relationship Id="rId49" Type="http://schemas.openxmlformats.org/officeDocument/2006/relationships/tags" Target="../tags/tag318.xml"/></Relationships>
</file>

<file path=ppt/slides/_rels/slide4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8.xml"/><Relationship Id="rId1"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15.png"/><Relationship Id="rId7" Type="http://schemas.openxmlformats.org/officeDocument/2006/relationships/diagramColors" Target="../diagrams/colors6.xml"/><Relationship Id="rId2" Type="http://schemas.openxmlformats.org/officeDocument/2006/relationships/notesSlide" Target="../notesSlides/notesSlide29.xml"/><Relationship Id="rId1" Type="http://schemas.openxmlformats.org/officeDocument/2006/relationships/slideLayout" Target="../slideLayouts/slideLayout31.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4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30.xml"/><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31.xml"/><Relationship Id="rId1" Type="http://schemas.openxmlformats.org/officeDocument/2006/relationships/slideLayout" Target="../slideLayouts/slideLayout30.xml"/><Relationship Id="rId4" Type="http://schemas.openxmlformats.org/officeDocument/2006/relationships/image" Target="../media/image59.jpeg"/></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2.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2" Type="http://schemas.openxmlformats.org/officeDocument/2006/relationships/hyperlink" Target="I&#775;leri%20Giris&#807;imci%20Program&#305;%20Faaliyet%20Konular&#305;%20Tablosu.pdf" TargetMode="External"/><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0.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5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4.xml"/><Relationship Id="rId1" Type="http://schemas.openxmlformats.org/officeDocument/2006/relationships/slideLayout" Target="../slideLayouts/slideLayout30.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57.xml.rels><?xml version="1.0" encoding="UTF-8" standalone="yes"?>
<Relationships xmlns="http://schemas.openxmlformats.org/package/2006/relationships"><Relationship Id="rId3" Type="http://schemas.openxmlformats.org/officeDocument/2006/relationships/tags" Target="../tags/tag325.xml"/><Relationship Id="rId2" Type="http://schemas.openxmlformats.org/officeDocument/2006/relationships/tags" Target="../tags/tag324.xml"/><Relationship Id="rId1" Type="http://schemas.openxmlformats.org/officeDocument/2006/relationships/tags" Target="../tags/tag323.xml"/><Relationship Id="rId5" Type="http://schemas.openxmlformats.org/officeDocument/2006/relationships/notesSlide" Target="../notesSlides/notesSlide35.xml"/><Relationship Id="rId4" Type="http://schemas.openxmlformats.org/officeDocument/2006/relationships/slideLayout" Target="../slideLayouts/slideLayout30.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0.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5.png"/><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0.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image" Target="../media/image65.jpeg"/><Relationship Id="rId3" Type="http://schemas.openxmlformats.org/officeDocument/2006/relationships/tags" Target="../tags/tag328.xml"/><Relationship Id="rId7" Type="http://schemas.openxmlformats.org/officeDocument/2006/relationships/tags" Target="../tags/tag332.xml"/><Relationship Id="rId12" Type="http://schemas.openxmlformats.org/officeDocument/2006/relationships/image" Target="../media/image64.jpeg"/><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tags" Target="../tags/tag331.xml"/><Relationship Id="rId11" Type="http://schemas.openxmlformats.org/officeDocument/2006/relationships/image" Target="../media/image63.jpeg"/><Relationship Id="rId5" Type="http://schemas.openxmlformats.org/officeDocument/2006/relationships/tags" Target="../tags/tag330.xml"/><Relationship Id="rId10" Type="http://schemas.openxmlformats.org/officeDocument/2006/relationships/image" Target="../media/image15.png"/><Relationship Id="rId4" Type="http://schemas.openxmlformats.org/officeDocument/2006/relationships/tags" Target="../tags/tag329.xml"/><Relationship Id="rId9" Type="http://schemas.openxmlformats.org/officeDocument/2006/relationships/notesSlide" Target="../notesSlides/notesSlide38.xml"/><Relationship Id="rId14" Type="http://schemas.openxmlformats.org/officeDocument/2006/relationships/image" Target="../media/image66.jpeg"/></Relationships>
</file>

<file path=ppt/slides/_rels/slide61.xml.rels><?xml version="1.0" encoding="UTF-8" standalone="yes"?>
<Relationships xmlns="http://schemas.openxmlformats.org/package/2006/relationships"><Relationship Id="rId8" Type="http://schemas.openxmlformats.org/officeDocument/2006/relationships/tags" Target="../tags/tag340.xml"/><Relationship Id="rId13" Type="http://schemas.openxmlformats.org/officeDocument/2006/relationships/tags" Target="../tags/tag345.xml"/><Relationship Id="rId18" Type="http://schemas.openxmlformats.org/officeDocument/2006/relationships/tags" Target="../tags/tag350.xml"/><Relationship Id="rId3" Type="http://schemas.openxmlformats.org/officeDocument/2006/relationships/tags" Target="../tags/tag335.xml"/><Relationship Id="rId21" Type="http://schemas.openxmlformats.org/officeDocument/2006/relationships/slideLayout" Target="../slideLayouts/slideLayout30.xml"/><Relationship Id="rId7" Type="http://schemas.openxmlformats.org/officeDocument/2006/relationships/tags" Target="../tags/tag339.xml"/><Relationship Id="rId12" Type="http://schemas.openxmlformats.org/officeDocument/2006/relationships/tags" Target="../tags/tag344.xml"/><Relationship Id="rId17" Type="http://schemas.openxmlformats.org/officeDocument/2006/relationships/tags" Target="../tags/tag349.xml"/><Relationship Id="rId2" Type="http://schemas.openxmlformats.org/officeDocument/2006/relationships/tags" Target="../tags/tag334.xml"/><Relationship Id="rId16" Type="http://schemas.openxmlformats.org/officeDocument/2006/relationships/tags" Target="../tags/tag348.xml"/><Relationship Id="rId20" Type="http://schemas.openxmlformats.org/officeDocument/2006/relationships/tags" Target="../tags/tag352.xml"/><Relationship Id="rId1" Type="http://schemas.openxmlformats.org/officeDocument/2006/relationships/tags" Target="../tags/tag333.xml"/><Relationship Id="rId6" Type="http://schemas.openxmlformats.org/officeDocument/2006/relationships/tags" Target="../tags/tag338.xml"/><Relationship Id="rId11" Type="http://schemas.openxmlformats.org/officeDocument/2006/relationships/tags" Target="../tags/tag343.xml"/><Relationship Id="rId24" Type="http://schemas.openxmlformats.org/officeDocument/2006/relationships/image" Target="../media/image67.png"/><Relationship Id="rId5" Type="http://schemas.openxmlformats.org/officeDocument/2006/relationships/tags" Target="../tags/tag337.xml"/><Relationship Id="rId15" Type="http://schemas.openxmlformats.org/officeDocument/2006/relationships/tags" Target="../tags/tag347.xml"/><Relationship Id="rId23" Type="http://schemas.openxmlformats.org/officeDocument/2006/relationships/image" Target="../media/image15.png"/><Relationship Id="rId10" Type="http://schemas.openxmlformats.org/officeDocument/2006/relationships/tags" Target="../tags/tag342.xml"/><Relationship Id="rId19" Type="http://schemas.openxmlformats.org/officeDocument/2006/relationships/tags" Target="../tags/tag351.xml"/><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tags" Target="../tags/tag346.xml"/><Relationship Id="rId22" Type="http://schemas.openxmlformats.org/officeDocument/2006/relationships/notesSlide" Target="../notesSlides/notesSlide39.xml"/></Relationships>
</file>

<file path=ppt/slides/_rels/slide62.xml.rels><?xml version="1.0" encoding="UTF-8" standalone="yes"?>
<Relationships xmlns="http://schemas.openxmlformats.org/package/2006/relationships"><Relationship Id="rId13" Type="http://schemas.openxmlformats.org/officeDocument/2006/relationships/tags" Target="../tags/tag365.xml"/><Relationship Id="rId18" Type="http://schemas.openxmlformats.org/officeDocument/2006/relationships/tags" Target="../tags/tag370.xml"/><Relationship Id="rId26" Type="http://schemas.openxmlformats.org/officeDocument/2006/relationships/tags" Target="../tags/tag378.xml"/><Relationship Id="rId39" Type="http://schemas.openxmlformats.org/officeDocument/2006/relationships/tags" Target="../tags/tag391.xml"/><Relationship Id="rId21" Type="http://schemas.openxmlformats.org/officeDocument/2006/relationships/tags" Target="../tags/tag373.xml"/><Relationship Id="rId34" Type="http://schemas.openxmlformats.org/officeDocument/2006/relationships/tags" Target="../tags/tag386.xml"/><Relationship Id="rId42" Type="http://schemas.openxmlformats.org/officeDocument/2006/relationships/tags" Target="../tags/tag394.xml"/><Relationship Id="rId47" Type="http://schemas.openxmlformats.org/officeDocument/2006/relationships/tags" Target="../tags/tag399.xml"/><Relationship Id="rId50" Type="http://schemas.openxmlformats.org/officeDocument/2006/relationships/tags" Target="../tags/tag402.xml"/><Relationship Id="rId55" Type="http://schemas.openxmlformats.org/officeDocument/2006/relationships/tags" Target="../tags/tag407.xml"/><Relationship Id="rId7" Type="http://schemas.openxmlformats.org/officeDocument/2006/relationships/tags" Target="../tags/tag359.xml"/><Relationship Id="rId2" Type="http://schemas.openxmlformats.org/officeDocument/2006/relationships/tags" Target="../tags/tag354.xml"/><Relationship Id="rId16" Type="http://schemas.openxmlformats.org/officeDocument/2006/relationships/tags" Target="../tags/tag368.xml"/><Relationship Id="rId29" Type="http://schemas.openxmlformats.org/officeDocument/2006/relationships/tags" Target="../tags/tag381.xml"/><Relationship Id="rId11" Type="http://schemas.openxmlformats.org/officeDocument/2006/relationships/tags" Target="../tags/tag363.xml"/><Relationship Id="rId24" Type="http://schemas.openxmlformats.org/officeDocument/2006/relationships/tags" Target="../tags/tag376.xml"/><Relationship Id="rId32" Type="http://schemas.openxmlformats.org/officeDocument/2006/relationships/tags" Target="../tags/tag384.xml"/><Relationship Id="rId37" Type="http://schemas.openxmlformats.org/officeDocument/2006/relationships/tags" Target="../tags/tag389.xml"/><Relationship Id="rId40" Type="http://schemas.openxmlformats.org/officeDocument/2006/relationships/tags" Target="../tags/tag392.xml"/><Relationship Id="rId45" Type="http://schemas.openxmlformats.org/officeDocument/2006/relationships/tags" Target="../tags/tag397.xml"/><Relationship Id="rId53" Type="http://schemas.openxmlformats.org/officeDocument/2006/relationships/tags" Target="../tags/tag405.xml"/><Relationship Id="rId58" Type="http://schemas.openxmlformats.org/officeDocument/2006/relationships/tags" Target="../tags/tag410.xml"/><Relationship Id="rId5" Type="http://schemas.openxmlformats.org/officeDocument/2006/relationships/tags" Target="../tags/tag357.xml"/><Relationship Id="rId61" Type="http://schemas.openxmlformats.org/officeDocument/2006/relationships/image" Target="../media/image15.png"/><Relationship Id="rId19" Type="http://schemas.openxmlformats.org/officeDocument/2006/relationships/tags" Target="../tags/tag371.xml"/><Relationship Id="rId14" Type="http://schemas.openxmlformats.org/officeDocument/2006/relationships/tags" Target="../tags/tag366.xml"/><Relationship Id="rId22" Type="http://schemas.openxmlformats.org/officeDocument/2006/relationships/tags" Target="../tags/tag374.xml"/><Relationship Id="rId27" Type="http://schemas.openxmlformats.org/officeDocument/2006/relationships/tags" Target="../tags/tag379.xml"/><Relationship Id="rId30" Type="http://schemas.openxmlformats.org/officeDocument/2006/relationships/tags" Target="../tags/tag382.xml"/><Relationship Id="rId35" Type="http://schemas.openxmlformats.org/officeDocument/2006/relationships/tags" Target="../tags/tag387.xml"/><Relationship Id="rId43" Type="http://schemas.openxmlformats.org/officeDocument/2006/relationships/tags" Target="../tags/tag395.xml"/><Relationship Id="rId48" Type="http://schemas.openxmlformats.org/officeDocument/2006/relationships/tags" Target="../tags/tag400.xml"/><Relationship Id="rId56" Type="http://schemas.openxmlformats.org/officeDocument/2006/relationships/tags" Target="../tags/tag408.xml"/><Relationship Id="rId8" Type="http://schemas.openxmlformats.org/officeDocument/2006/relationships/tags" Target="../tags/tag360.xml"/><Relationship Id="rId51" Type="http://schemas.openxmlformats.org/officeDocument/2006/relationships/tags" Target="../tags/tag403.xml"/><Relationship Id="rId3" Type="http://schemas.openxmlformats.org/officeDocument/2006/relationships/tags" Target="../tags/tag355.xml"/><Relationship Id="rId12" Type="http://schemas.openxmlformats.org/officeDocument/2006/relationships/tags" Target="../tags/tag364.xml"/><Relationship Id="rId17" Type="http://schemas.openxmlformats.org/officeDocument/2006/relationships/tags" Target="../tags/tag369.xml"/><Relationship Id="rId25" Type="http://schemas.openxmlformats.org/officeDocument/2006/relationships/tags" Target="../tags/tag377.xml"/><Relationship Id="rId33" Type="http://schemas.openxmlformats.org/officeDocument/2006/relationships/tags" Target="../tags/tag385.xml"/><Relationship Id="rId38" Type="http://schemas.openxmlformats.org/officeDocument/2006/relationships/tags" Target="../tags/tag390.xml"/><Relationship Id="rId46" Type="http://schemas.openxmlformats.org/officeDocument/2006/relationships/tags" Target="../tags/tag398.xml"/><Relationship Id="rId59" Type="http://schemas.openxmlformats.org/officeDocument/2006/relationships/tags" Target="../tags/tag411.xml"/><Relationship Id="rId20" Type="http://schemas.openxmlformats.org/officeDocument/2006/relationships/tags" Target="../tags/tag372.xml"/><Relationship Id="rId41" Type="http://schemas.openxmlformats.org/officeDocument/2006/relationships/tags" Target="../tags/tag393.xml"/><Relationship Id="rId54" Type="http://schemas.openxmlformats.org/officeDocument/2006/relationships/tags" Target="../tags/tag406.xml"/><Relationship Id="rId1" Type="http://schemas.openxmlformats.org/officeDocument/2006/relationships/tags" Target="../tags/tag353.xml"/><Relationship Id="rId6" Type="http://schemas.openxmlformats.org/officeDocument/2006/relationships/tags" Target="../tags/tag358.xml"/><Relationship Id="rId15" Type="http://schemas.openxmlformats.org/officeDocument/2006/relationships/tags" Target="../tags/tag367.xml"/><Relationship Id="rId23" Type="http://schemas.openxmlformats.org/officeDocument/2006/relationships/tags" Target="../tags/tag375.xml"/><Relationship Id="rId28" Type="http://schemas.openxmlformats.org/officeDocument/2006/relationships/tags" Target="../tags/tag380.xml"/><Relationship Id="rId36" Type="http://schemas.openxmlformats.org/officeDocument/2006/relationships/tags" Target="../tags/tag388.xml"/><Relationship Id="rId49" Type="http://schemas.openxmlformats.org/officeDocument/2006/relationships/tags" Target="../tags/tag401.xml"/><Relationship Id="rId57" Type="http://schemas.openxmlformats.org/officeDocument/2006/relationships/tags" Target="../tags/tag409.xml"/><Relationship Id="rId10" Type="http://schemas.openxmlformats.org/officeDocument/2006/relationships/tags" Target="../tags/tag362.xml"/><Relationship Id="rId31" Type="http://schemas.openxmlformats.org/officeDocument/2006/relationships/tags" Target="../tags/tag383.xml"/><Relationship Id="rId44" Type="http://schemas.openxmlformats.org/officeDocument/2006/relationships/tags" Target="../tags/tag396.xml"/><Relationship Id="rId52" Type="http://schemas.openxmlformats.org/officeDocument/2006/relationships/tags" Target="../tags/tag404.xml"/><Relationship Id="rId60" Type="http://schemas.openxmlformats.org/officeDocument/2006/relationships/slideLayout" Target="../slideLayouts/slideLayout30.xml"/><Relationship Id="rId4" Type="http://schemas.openxmlformats.org/officeDocument/2006/relationships/tags" Target="../tags/tag356.xml"/><Relationship Id="rId9" Type="http://schemas.openxmlformats.org/officeDocument/2006/relationships/tags" Target="../tags/tag361.xml"/></Relationships>
</file>

<file path=ppt/slides/_rels/slide6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0.xml"/><Relationship Id="rId1" Type="http://schemas.openxmlformats.org/officeDocument/2006/relationships/slideLayout" Target="../slideLayouts/slideLayout32.xml"/></Relationships>
</file>

<file path=ppt/slides/_rels/slide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1.xml"/><Relationship Id="rId1" Type="http://schemas.openxmlformats.org/officeDocument/2006/relationships/slideLayout" Target="../slideLayouts/slideLayout9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6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42.xml"/><Relationship Id="rId1" Type="http://schemas.openxmlformats.org/officeDocument/2006/relationships/slideLayout" Target="../slideLayouts/slideLayout84.xml"/><Relationship Id="rId4" Type="http://schemas.openxmlformats.org/officeDocument/2006/relationships/image" Target="../media/image15.png"/></Relationships>
</file>

<file path=ppt/slides/_rels/slide6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3.xml"/><Relationship Id="rId1" Type="http://schemas.openxmlformats.org/officeDocument/2006/relationships/slideLayout" Target="../slideLayouts/slideLayout84.xml"/><Relationship Id="rId5" Type="http://schemas.openxmlformats.org/officeDocument/2006/relationships/image" Target="../media/image69.jpeg"/><Relationship Id="rId4" Type="http://schemas.openxmlformats.org/officeDocument/2006/relationships/image" Target="../media/image68.jpeg"/></Relationships>
</file>

<file path=ppt/slides/_rels/slide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4.xml"/><Relationship Id="rId1" Type="http://schemas.openxmlformats.org/officeDocument/2006/relationships/slideLayout" Target="../slideLayouts/slideLayout84.xml"/></Relationships>
</file>

<file path=ppt/slides/_rels/slide6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5.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xml"/><Relationship Id="rId1" Type="http://schemas.openxmlformats.org/officeDocument/2006/relationships/slideLayout" Target="../slideLayouts/slideLayout39.xml"/><Relationship Id="rId4" Type="http://schemas.openxmlformats.org/officeDocument/2006/relationships/image" Target="../media/image15.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6.xml"/></Relationships>
</file>

<file path=ppt/slides/_rels/slide7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47.xml"/><Relationship Id="rId1" Type="http://schemas.openxmlformats.org/officeDocument/2006/relationships/slideLayout" Target="../slideLayouts/slideLayout8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72.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8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74.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48.xml"/><Relationship Id="rId1" Type="http://schemas.openxmlformats.org/officeDocument/2006/relationships/slideLayout" Target="../slideLayouts/slideLayout8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75.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49.xml"/><Relationship Id="rId1" Type="http://schemas.openxmlformats.org/officeDocument/2006/relationships/slideLayout" Target="../slideLayouts/slideLayout84.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7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0.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jpeg"/><Relationship Id="rId1" Type="http://schemas.openxmlformats.org/officeDocument/2006/relationships/slideLayout" Target="../slideLayouts/slideLayout3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4.xml"/></Relationships>
</file>

<file path=ppt/slides/_rels/slide82.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53.xml"/><Relationship Id="rId1" Type="http://schemas.openxmlformats.org/officeDocument/2006/relationships/slideLayout" Target="../slideLayouts/slideLayout8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83.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54.xml"/><Relationship Id="rId1" Type="http://schemas.openxmlformats.org/officeDocument/2006/relationships/slideLayout" Target="../slideLayouts/slideLayout8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84.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55.xml"/><Relationship Id="rId1" Type="http://schemas.openxmlformats.org/officeDocument/2006/relationships/slideLayout" Target="../slideLayouts/slideLayout84.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85.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56.xml"/><Relationship Id="rId1" Type="http://schemas.openxmlformats.org/officeDocument/2006/relationships/slideLayout" Target="../slideLayouts/slideLayout84.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8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57.xml"/><Relationship Id="rId1" Type="http://schemas.openxmlformats.org/officeDocument/2006/relationships/slideLayout" Target="../slideLayouts/slideLayout84.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8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8.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6.xml"/><Relationship Id="rId13" Type="http://schemas.openxmlformats.org/officeDocument/2006/relationships/image" Target="../media/image23.png"/><Relationship Id="rId3" Type="http://schemas.openxmlformats.org/officeDocument/2006/relationships/tags" Target="../tags/tag3.xml"/><Relationship Id="rId7" Type="http://schemas.openxmlformats.org/officeDocument/2006/relationships/slideLayout" Target="../slideLayouts/slideLayout34.xml"/><Relationship Id="rId12" Type="http://schemas.openxmlformats.org/officeDocument/2006/relationships/image" Target="../media/image2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1.jpeg"/><Relationship Id="rId5" Type="http://schemas.openxmlformats.org/officeDocument/2006/relationships/tags" Target="../tags/tag5.xml"/><Relationship Id="rId10" Type="http://schemas.openxmlformats.org/officeDocument/2006/relationships/image" Target="../media/image20.jpeg"/><Relationship Id="rId4" Type="http://schemas.openxmlformats.org/officeDocument/2006/relationships/tags" Target="../tags/tag4.xml"/><Relationship Id="rId9" Type="http://schemas.openxmlformats.org/officeDocument/2006/relationships/image" Target="../media/image15.png"/><Relationship Id="rId14" Type="http://schemas.openxmlformats.org/officeDocument/2006/relationships/image" Target="../media/image24.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20.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20.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93.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61.xml"/><Relationship Id="rId1" Type="http://schemas.openxmlformats.org/officeDocument/2006/relationships/slideLayout" Target="../slideLayouts/slideLayout120.xml"/></Relationships>
</file>

<file path=ppt/slides/_rels/slide94.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120.xml"/></Relationships>
</file>

<file path=ppt/slides/_rels/slide9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20.xml"/></Relationships>
</file>

<file path=ppt/slides/_rels/slide9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hyperlink" Target="Model%20Fabrikalar.xlsx" TargetMode="External"/><Relationship Id="rId1" Type="http://schemas.openxmlformats.org/officeDocument/2006/relationships/slideLayout" Target="../slideLayouts/slideLayout120.xml"/></Relationships>
</file>

<file path=ppt/slides/_rels/slide9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2.xml"/><Relationship Id="rId1" Type="http://schemas.openxmlformats.org/officeDocument/2006/relationships/slideLayout" Target="../slideLayouts/slideLayout120.xml"/><Relationship Id="rId4" Type="http://schemas.openxmlformats.org/officeDocument/2006/relationships/hyperlink" Target="nitelikli%20eleman%20hesab&#305;.xlsx"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63.xml"/><Relationship Id="rId1" Type="http://schemas.openxmlformats.org/officeDocument/2006/relationships/slideLayout" Target="../slideLayouts/slideLayout120.xml"/></Relationships>
</file>

<file path=ppt/slides/_rels/slide99.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2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3000" r="-27000"/>
          </a:stretch>
        </a:blipFill>
        <a:effectLst/>
      </p:bgPr>
    </p:bg>
    <p:spTree>
      <p:nvGrpSpPr>
        <p:cNvPr id="1" name=""/>
        <p:cNvGrpSpPr/>
        <p:nvPr/>
      </p:nvGrpSpPr>
      <p:grpSpPr>
        <a:xfrm>
          <a:off x="0" y="0"/>
          <a:ext cx="0" cy="0"/>
          <a:chOff x="0" y="0"/>
          <a:chExt cx="0" cy="0"/>
        </a:xfrm>
      </p:grpSpPr>
      <p:sp>
        <p:nvSpPr>
          <p:cNvPr id="15" name="5 Başlık"/>
          <p:cNvSpPr txBox="1">
            <a:spLocks/>
          </p:cNvSpPr>
          <p:nvPr/>
        </p:nvSpPr>
        <p:spPr>
          <a:xfrm>
            <a:off x="3485089" y="2962622"/>
            <a:ext cx="4697920" cy="2310435"/>
          </a:xfrm>
          <a:prstGeom prst="rect">
            <a:avLst/>
          </a:prstGeom>
        </p:spPr>
        <p:txBody>
          <a:bodyPr vert="horz" lIns="91751" tIns="45876" rIns="91751" bIns="45876" rtlCol="0" anchor="b">
            <a:noAutofit/>
          </a:bodyPr>
          <a:lstStyle/>
          <a:p>
            <a:pPr defTabSz="917783">
              <a:spcBef>
                <a:spcPct val="0"/>
              </a:spcBef>
              <a:defRPr/>
            </a:pPr>
            <a:r>
              <a:rPr lang="tr-TR" sz="4015" b="1" dirty="0">
                <a:solidFill>
                  <a:prstClr val="white"/>
                </a:solidFill>
                <a:latin typeface="Calibri"/>
                <a:ea typeface="ヒラギノ角ゴ Pro W3" pitchFamily="1" charset="-128"/>
              </a:rPr>
              <a:t/>
            </a:r>
            <a:br>
              <a:rPr lang="tr-TR" sz="4015" b="1" dirty="0">
                <a:solidFill>
                  <a:prstClr val="white"/>
                </a:solidFill>
                <a:latin typeface="Calibri"/>
                <a:ea typeface="ヒラギノ角ゴ Pro W3" pitchFamily="1" charset="-128"/>
              </a:rPr>
            </a:br>
            <a:endParaRPr lang="tr-TR" sz="2409" b="1" dirty="0">
              <a:solidFill>
                <a:prstClr val="white"/>
              </a:solidFill>
              <a:latin typeface="Calibri"/>
              <a:ea typeface="ヒラギノ角ゴ Pro W3" pitchFamily="1" charset="-128"/>
            </a:endParaRPr>
          </a:p>
        </p:txBody>
      </p:sp>
      <p:sp>
        <p:nvSpPr>
          <p:cNvPr id="2" name="Metin kutusu 1"/>
          <p:cNvSpPr txBox="1"/>
          <p:nvPr/>
        </p:nvSpPr>
        <p:spPr>
          <a:xfrm>
            <a:off x="3963867" y="5886373"/>
            <a:ext cx="4481093" cy="834057"/>
          </a:xfrm>
          <a:prstGeom prst="rect">
            <a:avLst/>
          </a:prstGeom>
          <a:noFill/>
          <a:ln>
            <a:noFill/>
          </a:ln>
        </p:spPr>
        <p:txBody>
          <a:bodyPr wrap="square" lIns="91751" tIns="45876" rIns="91751" bIns="45876" rtlCol="0">
            <a:spAutoFit/>
          </a:bodyPr>
          <a:lstStyle/>
          <a:p>
            <a:pPr algn="ctr" defTabSz="917783" fontAlgn="base">
              <a:spcBef>
                <a:spcPct val="0"/>
              </a:spcBef>
              <a:spcAft>
                <a:spcPct val="0"/>
              </a:spcAft>
            </a:pPr>
            <a:r>
              <a:rPr lang="tr-TR" sz="2409" b="1" dirty="0">
                <a:solidFill>
                  <a:prstClr val="white"/>
                </a:solidFill>
                <a:latin typeface="Calibri"/>
                <a:ea typeface="ヒラギノ角ゴ Pro W3" pitchFamily="1" charset="-128"/>
              </a:rPr>
              <a:t>0</a:t>
            </a:r>
            <a:r>
              <a:rPr lang="tr-TR" sz="2409" b="1" dirty="0" smtClean="0">
                <a:solidFill>
                  <a:prstClr val="white"/>
                </a:solidFill>
                <a:latin typeface="Calibri"/>
                <a:ea typeface="ヒラギノ角ゴ Pro W3" pitchFamily="1" charset="-128"/>
              </a:rPr>
              <a:t>6 NİSAN 2021</a:t>
            </a:r>
            <a:endParaRPr lang="tr-TR" sz="2409" b="1" dirty="0">
              <a:solidFill>
                <a:prstClr val="white"/>
              </a:solidFill>
              <a:latin typeface="Calibri"/>
              <a:ea typeface="ヒラギノ角ゴ Pro W3" pitchFamily="1" charset="-128"/>
            </a:endParaRPr>
          </a:p>
          <a:p>
            <a:pPr algn="ctr" defTabSz="917783" fontAlgn="base">
              <a:spcBef>
                <a:spcPct val="0"/>
              </a:spcBef>
              <a:spcAft>
                <a:spcPct val="0"/>
              </a:spcAft>
            </a:pPr>
            <a:r>
              <a:rPr lang="tr-TR" sz="2409" b="1" dirty="0">
                <a:solidFill>
                  <a:prstClr val="white"/>
                </a:solidFill>
                <a:latin typeface="Calibri"/>
                <a:ea typeface="ヒラギノ角ゴ Pro W3" pitchFamily="1" charset="-128"/>
              </a:rPr>
              <a:t>ANKARA </a:t>
            </a:r>
          </a:p>
        </p:txBody>
      </p:sp>
      <p:sp>
        <p:nvSpPr>
          <p:cNvPr id="3" name="Metin kutusu 2"/>
          <p:cNvSpPr txBox="1"/>
          <p:nvPr/>
        </p:nvSpPr>
        <p:spPr>
          <a:xfrm>
            <a:off x="2193113" y="2125742"/>
            <a:ext cx="3848777" cy="1328331"/>
          </a:xfrm>
          <a:prstGeom prst="rect">
            <a:avLst/>
          </a:prstGeom>
          <a:noFill/>
        </p:spPr>
        <p:txBody>
          <a:bodyPr wrap="square" lIns="91751" tIns="45876" rIns="91751" bIns="45876" rtlCol="0">
            <a:spAutoFit/>
          </a:bodyPr>
          <a:lstStyle/>
          <a:p>
            <a:pPr algn="r" defTabSz="917783" fontAlgn="base">
              <a:spcBef>
                <a:spcPct val="0"/>
              </a:spcBef>
              <a:spcAft>
                <a:spcPct val="0"/>
              </a:spcAft>
            </a:pPr>
            <a:r>
              <a:rPr lang="tr-TR" sz="8030" b="1" dirty="0">
                <a:solidFill>
                  <a:prstClr val="white"/>
                </a:solidFill>
                <a:effectLst>
                  <a:outerShdw blurRad="38100" dist="38100" dir="2700000" algn="tl">
                    <a:srgbClr val="000000">
                      <a:alpha val="43137"/>
                    </a:srgbClr>
                  </a:outerShdw>
                </a:effectLst>
                <a:latin typeface="Calibri" pitchFamily="34" charset="0"/>
                <a:ea typeface="ヒラギノ角ゴ Pro W3" pitchFamily="1" charset="-128"/>
              </a:rPr>
              <a:t> </a:t>
            </a:r>
          </a:p>
        </p:txBody>
      </p:sp>
      <p:sp>
        <p:nvSpPr>
          <p:cNvPr id="4" name="Metin kutusu 3"/>
          <p:cNvSpPr txBox="1"/>
          <p:nvPr/>
        </p:nvSpPr>
        <p:spPr>
          <a:xfrm>
            <a:off x="2084700" y="3104647"/>
            <a:ext cx="8239428" cy="648706"/>
          </a:xfrm>
          <a:prstGeom prst="rect">
            <a:avLst/>
          </a:prstGeom>
          <a:noFill/>
        </p:spPr>
        <p:txBody>
          <a:bodyPr wrap="square" lIns="91751" tIns="45876" rIns="91751" bIns="45876" rtlCol="0">
            <a:spAutoFit/>
          </a:bodyPr>
          <a:lstStyle/>
          <a:p>
            <a:pPr algn="ctr" defTabSz="917783" fontAlgn="base">
              <a:spcBef>
                <a:spcPct val="0"/>
              </a:spcBef>
              <a:spcAft>
                <a:spcPct val="0"/>
              </a:spcAft>
            </a:pPr>
            <a:endParaRPr lang="tr-TR" sz="3613" b="1" dirty="0">
              <a:solidFill>
                <a:srgbClr val="FF0000"/>
              </a:solidFill>
              <a:effectLst>
                <a:outerShdw blurRad="38100" dist="38100" dir="2700000" algn="tl">
                  <a:srgbClr val="000000">
                    <a:alpha val="43137"/>
                  </a:srgbClr>
                </a:outerShdw>
              </a:effectLst>
              <a:latin typeface="Calibri" pitchFamily="34" charset="0"/>
              <a:ea typeface="ヒラギノ角ゴ Pro W3" pitchFamily="1" charset="-128"/>
            </a:endParaRPr>
          </a:p>
        </p:txBody>
      </p:sp>
      <p:sp>
        <p:nvSpPr>
          <p:cNvPr id="5" name="Slayt Numarası Yer Tutucusu 4"/>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a:solidFill>
                  <a:prstClr val="black">
                    <a:tint val="75000"/>
                  </a:prstClr>
                </a:solidFill>
                <a:latin typeface="Calibri" pitchFamily="34" charset="0"/>
                <a:ea typeface="ヒラギノ角ゴ Pro W3" pitchFamily="1" charset="-128"/>
              </a:rPr>
              <a:pPr defTabSz="917783" fontAlgn="base">
                <a:spcBef>
                  <a:spcPct val="0"/>
                </a:spcBef>
                <a:spcAft>
                  <a:spcPct val="0"/>
                </a:spcAft>
                <a:defRPr/>
              </a:pPr>
              <a:t>1</a:t>
            </a:fld>
            <a:endParaRPr lang="en-CA" dirty="0">
              <a:solidFill>
                <a:prstClr val="black">
                  <a:tint val="75000"/>
                </a:prstClr>
              </a:solidFill>
              <a:latin typeface="Calibri" pitchFamily="34" charset="0"/>
              <a:ea typeface="ヒラギノ角ゴ Pro W3" pitchFamily="1" charset="-128"/>
            </a:endParaRPr>
          </a:p>
        </p:txBody>
      </p:sp>
      <p:sp>
        <p:nvSpPr>
          <p:cNvPr id="6" name="Metin kutusu 5"/>
          <p:cNvSpPr txBox="1"/>
          <p:nvPr/>
        </p:nvSpPr>
        <p:spPr>
          <a:xfrm>
            <a:off x="1759459" y="3125645"/>
            <a:ext cx="8745358" cy="926407"/>
          </a:xfrm>
          <a:prstGeom prst="rect">
            <a:avLst/>
          </a:prstGeom>
          <a:noFill/>
        </p:spPr>
        <p:txBody>
          <a:bodyPr wrap="square" rtlCol="0">
            <a:spAutoFit/>
          </a:bodyPr>
          <a:lstStyle/>
          <a:p>
            <a:pPr algn="ctr" defTabSz="917783" fontAlgn="base">
              <a:spcBef>
                <a:spcPct val="0"/>
              </a:spcBef>
              <a:spcAft>
                <a:spcPct val="0"/>
              </a:spcAft>
            </a:pPr>
            <a:r>
              <a:rPr lang="tr-TR" sz="5420" b="1" dirty="0" smtClean="0">
                <a:solidFill>
                  <a:prstClr val="white"/>
                </a:solidFill>
                <a:latin typeface="Calibri" pitchFamily="34" charset="0"/>
                <a:ea typeface="ヒラギノ角ゴ Pro W3" pitchFamily="1" charset="-128"/>
              </a:rPr>
              <a:t>KOSGEB DESTEKLERİ</a:t>
            </a:r>
            <a:endParaRPr lang="tr-TR" sz="5420" b="1" dirty="0">
              <a:solidFill>
                <a:prstClr val="white"/>
              </a:solidFill>
              <a:latin typeface="Calibri" pitchFamily="34" charset="0"/>
              <a:ea typeface="ヒラギノ角ゴ Pro W3" pitchFamily="1" charset="-128"/>
            </a:endParaRPr>
          </a:p>
        </p:txBody>
      </p:sp>
      <p:pic>
        <p:nvPicPr>
          <p:cNvPr id="7" name="Resim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106" y="948147"/>
            <a:ext cx="1653007" cy="1070519"/>
          </a:xfrm>
          <a:prstGeom prst="rect">
            <a:avLst/>
          </a:prstGeom>
        </p:spPr>
      </p:pic>
    </p:spTree>
    <p:extLst>
      <p:ext uri="{BB962C8B-B14F-4D97-AF65-F5344CB8AC3E}">
        <p14:creationId xmlns:p14="http://schemas.microsoft.com/office/powerpoint/2010/main" val="36579288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Chevron 36"/>
          <p:cNvSpPr/>
          <p:nvPr/>
        </p:nvSpPr>
        <p:spPr>
          <a:xfrm>
            <a:off x="8229693" y="1418891"/>
            <a:ext cx="2040170" cy="5196486"/>
          </a:xfrm>
          <a:prstGeom prst="chevron">
            <a:avLst>
              <a:gd name="adj" fmla="val 70143"/>
            </a:avLst>
          </a:prstGeom>
          <a:solidFill>
            <a:srgbClr val="F2F2F2"/>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24000" marR="0" lvl="0" indent="-152400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6" name="Group 5">
            <a:extLst>
              <a:ext uri="{FF2B5EF4-FFF2-40B4-BE49-F238E27FC236}">
                <a16:creationId xmlns:a16="http://schemas.microsoft.com/office/drawing/2014/main" id="{F5F248FA-10D4-4E36-8127-9382E46B68C6}"/>
              </a:ext>
            </a:extLst>
          </p:cNvPr>
          <p:cNvGrpSpPr/>
          <p:nvPr/>
        </p:nvGrpSpPr>
        <p:grpSpPr>
          <a:xfrm>
            <a:off x="121996" y="1328212"/>
            <a:ext cx="6263156" cy="950260"/>
            <a:chOff x="719958" y="1440175"/>
            <a:chExt cx="6263156" cy="1045286"/>
          </a:xfrm>
        </p:grpSpPr>
        <p:sp>
          <p:nvSpPr>
            <p:cNvPr id="5" name="Rectangle 4"/>
            <p:cNvSpPr/>
            <p:nvPr/>
          </p:nvSpPr>
          <p:spPr>
            <a:xfrm>
              <a:off x="1897040" y="1440177"/>
              <a:ext cx="5086074"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
                  <a:prstClr val="white">
                    <a:lumMod val="95000"/>
                  </a:prstClr>
                </a:buClr>
                <a:buSzTx/>
                <a:buFont typeface="Arial" panose="020B0604020202020204" pitchFamily="34" charset="0"/>
                <a:buChar char="•"/>
                <a:tabLst/>
                <a:defRPr/>
              </a:pPr>
              <a:r>
                <a:rPr kumimoji="0" lang="tr-TR" sz="1800"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Makine-Teçhizat, Donanım, Hammadde, Yazılım ve Hizmet Alımı Giderleri Desteği</a:t>
              </a:r>
              <a:endParaRPr kumimoji="0" lang="en-US" sz="1800" b="0" i="0" u="none" strike="noStrike" kern="0" cap="none" spc="0" normalizeH="0" baseline="0" noProof="0" dirty="0">
                <a:ln>
                  <a:noFill/>
                </a:ln>
                <a:solidFill>
                  <a:srgbClr val="1F497D"/>
                </a:solidFill>
                <a:effectLst/>
                <a:uLnTx/>
                <a:uFillTx/>
                <a:latin typeface="Calibri"/>
                <a:ea typeface="+mn-ea"/>
                <a:cs typeface="+mn-cs"/>
              </a:endParaRPr>
            </a:p>
          </p:txBody>
        </p:sp>
        <p:sp>
          <p:nvSpPr>
            <p:cNvPr id="11" name="Rectangle 10"/>
            <p:cNvSpPr/>
            <p:nvPr/>
          </p:nvSpPr>
          <p:spPr>
            <a:xfrm>
              <a:off x="719958" y="1440175"/>
              <a:ext cx="1177081" cy="1045284"/>
            </a:xfrm>
            <a:prstGeom prst="rect">
              <a:avLst/>
            </a:prstGeom>
            <a:solidFill>
              <a:schemeClr val="tx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dirty="0">
                <a:ln>
                  <a:noFill/>
                </a:ln>
                <a:solidFill>
                  <a:srgbClr val="464646"/>
                </a:solidFill>
                <a:effectLst/>
                <a:uLnTx/>
                <a:uFillTx/>
                <a:latin typeface="Calibri"/>
                <a:ea typeface="+mn-ea"/>
                <a:cs typeface="+mn-cs"/>
              </a:endParaRPr>
            </a:p>
          </p:txBody>
        </p:sp>
        <p:sp>
          <p:nvSpPr>
            <p:cNvPr id="7" name="Isosceles Triangle 6"/>
            <p:cNvSpPr>
              <a:spLocks noChangeAspect="1"/>
            </p:cNvSpPr>
            <p:nvPr/>
          </p:nvSpPr>
          <p:spPr>
            <a:xfrm rot="5400000">
              <a:off x="1880124" y="1815851"/>
              <a:ext cx="340958" cy="293930"/>
            </a:xfrm>
            <a:prstGeom prst="triangle">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4" name="Group 3">
            <a:extLst>
              <a:ext uri="{FF2B5EF4-FFF2-40B4-BE49-F238E27FC236}">
                <a16:creationId xmlns:a16="http://schemas.microsoft.com/office/drawing/2014/main" id="{3F2CD9B2-C5D6-478B-8E7C-219B532E0F96}"/>
              </a:ext>
            </a:extLst>
          </p:cNvPr>
          <p:cNvGrpSpPr/>
          <p:nvPr/>
        </p:nvGrpSpPr>
        <p:grpSpPr>
          <a:xfrm>
            <a:off x="121996" y="2389771"/>
            <a:ext cx="6263156" cy="950258"/>
            <a:chOff x="719958" y="2736554"/>
            <a:chExt cx="6263156" cy="1045284"/>
          </a:xfrm>
        </p:grpSpPr>
        <p:sp>
          <p:nvSpPr>
            <p:cNvPr id="13" name="Rectangle 12"/>
            <p:cNvSpPr/>
            <p:nvPr/>
          </p:nvSpPr>
          <p:spPr>
            <a:xfrm>
              <a:off x="719958" y="2736554"/>
              <a:ext cx="1177082" cy="1045284"/>
            </a:xfrm>
            <a:prstGeom prst="rect">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dirty="0">
                <a:ln>
                  <a:noFill/>
                </a:ln>
                <a:solidFill>
                  <a:srgbClr val="464646"/>
                </a:solidFill>
                <a:effectLst/>
                <a:uLnTx/>
                <a:uFillTx/>
                <a:latin typeface="Calibri"/>
                <a:ea typeface="+mn-ea"/>
                <a:cs typeface="+mn-cs"/>
              </a:endParaRPr>
            </a:p>
          </p:txBody>
        </p:sp>
        <p:sp>
          <p:nvSpPr>
            <p:cNvPr id="42" name="Rectangle 41"/>
            <p:cNvSpPr/>
            <p:nvPr/>
          </p:nvSpPr>
          <p:spPr>
            <a:xfrm>
              <a:off x="1897040" y="2736554"/>
              <a:ext cx="5086074"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44" marR="0" lvl="0" indent="-28574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1" i="0" u="none" strike="noStrike" kern="0" cap="none" spc="0" normalizeH="0" baseline="0" noProof="0" dirty="0">
                  <a:ln>
                    <a:noFill/>
                  </a:ln>
                  <a:solidFill>
                    <a:srgbClr val="4F81BD"/>
                  </a:solidFill>
                  <a:effectLst/>
                  <a:uLnTx/>
                  <a:uFillTx/>
                  <a:latin typeface="Times New Roman" panose="02020603050405020304" pitchFamily="18" charset="0"/>
                  <a:ea typeface="ヒラギノ角ゴ Pro W3" pitchFamily="1" charset="-128"/>
                  <a:cs typeface="Times New Roman" panose="02020603050405020304" pitchFamily="18" charset="0"/>
                </a:rPr>
                <a:t>Nitelikli </a:t>
              </a:r>
              <a:r>
                <a:rPr kumimoji="0" lang="en-US" sz="1800" b="1" i="0" u="none" strike="noStrike" kern="0" cap="none" spc="0" normalizeH="0" baseline="0" noProof="0" dirty="0" err="1">
                  <a:ln>
                    <a:noFill/>
                  </a:ln>
                  <a:solidFill>
                    <a:srgbClr val="4F81BD"/>
                  </a:solidFill>
                  <a:effectLst/>
                  <a:uLnTx/>
                  <a:uFillTx/>
                  <a:latin typeface="Times New Roman" panose="02020603050405020304" pitchFamily="18" charset="0"/>
                  <a:ea typeface="ヒラギノ角ゴ Pro W3" pitchFamily="1" charset="-128"/>
                  <a:cs typeface="Times New Roman" panose="02020603050405020304" pitchFamily="18" charset="0"/>
                </a:rPr>
                <a:t>Personel</a:t>
              </a:r>
              <a:r>
                <a:rPr kumimoji="0" lang="en-US" sz="1800" b="1" i="0" u="none" strike="noStrike" kern="0" cap="none" spc="0" normalizeH="0" baseline="0" noProof="0" dirty="0">
                  <a:ln>
                    <a:noFill/>
                  </a:ln>
                  <a:solidFill>
                    <a:srgbClr val="4F81BD"/>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tr-TR" sz="1800" b="1" i="0" u="none" strike="noStrike" kern="0" cap="none" spc="0" normalizeH="0" baseline="0" noProof="0" dirty="0">
                  <a:ln>
                    <a:noFill/>
                  </a:ln>
                  <a:solidFill>
                    <a:srgbClr val="4F81BD"/>
                  </a:solidFill>
                  <a:effectLst/>
                  <a:uLnTx/>
                  <a:uFillTx/>
                  <a:latin typeface="Times New Roman" panose="02020603050405020304" pitchFamily="18" charset="0"/>
                  <a:ea typeface="ヒラギノ角ゴ Pro W3" pitchFamily="1" charset="-128"/>
                  <a:cs typeface="Times New Roman" panose="02020603050405020304" pitchFamily="18" charset="0"/>
                </a:rPr>
                <a:t>Giderleri</a:t>
              </a:r>
              <a:r>
                <a:rPr kumimoji="0" lang="en-US" sz="1800" b="1" i="0" u="none" strike="noStrike" kern="0" cap="none" spc="0" normalizeH="0" baseline="0" noProof="0" dirty="0">
                  <a:ln>
                    <a:noFill/>
                  </a:ln>
                  <a:solidFill>
                    <a:srgbClr val="4F81BD"/>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800" b="1" i="0" u="none" strike="noStrike" kern="0" cap="none" spc="0" normalizeH="0" baseline="0" noProof="0" dirty="0" err="1">
                  <a:ln>
                    <a:noFill/>
                  </a:ln>
                  <a:solidFill>
                    <a:srgbClr val="4F81BD"/>
                  </a:solidFill>
                  <a:effectLst/>
                  <a:uLnTx/>
                  <a:uFillTx/>
                  <a:latin typeface="Times New Roman" panose="02020603050405020304" pitchFamily="18" charset="0"/>
                  <a:ea typeface="ヒラギノ角ゴ Pro W3" pitchFamily="1" charset="-128"/>
                  <a:cs typeface="Times New Roman" panose="02020603050405020304" pitchFamily="18" charset="0"/>
                </a:rPr>
                <a:t>Desteği</a:t>
              </a:r>
              <a:r>
                <a:rPr kumimoji="0" lang="en-US" sz="1800" b="1" i="0" u="none" strike="noStrike" kern="0" cap="none" spc="0" normalizeH="0" baseline="0" noProof="0" dirty="0">
                  <a:ln>
                    <a:noFill/>
                  </a:ln>
                  <a:solidFill>
                    <a:srgbClr val="4F81BD"/>
                  </a:solidFill>
                  <a:effectLst/>
                  <a:uLnTx/>
                  <a:uFillTx/>
                  <a:latin typeface="Times New Roman" panose="02020603050405020304" pitchFamily="18" charset="0"/>
                  <a:ea typeface="ヒラギノ角ゴ Pro W3" pitchFamily="1" charset="-128"/>
                  <a:cs typeface="Times New Roman" panose="02020603050405020304" pitchFamily="18" charset="0"/>
                </a:rPr>
                <a:t> </a:t>
              </a:r>
            </a:p>
          </p:txBody>
        </p:sp>
        <p:sp>
          <p:nvSpPr>
            <p:cNvPr id="40" name="Isosceles Triangle 39"/>
            <p:cNvSpPr>
              <a:spLocks noChangeAspect="1"/>
            </p:cNvSpPr>
            <p:nvPr/>
          </p:nvSpPr>
          <p:spPr>
            <a:xfrm rot="5400000">
              <a:off x="1880124" y="3112229"/>
              <a:ext cx="340958" cy="293930"/>
            </a:xfrm>
            <a:prstGeom prst="triangl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3" name="Group 2">
            <a:extLst>
              <a:ext uri="{FF2B5EF4-FFF2-40B4-BE49-F238E27FC236}">
                <a16:creationId xmlns:a16="http://schemas.microsoft.com/office/drawing/2014/main" id="{11CCB6B7-3042-424E-B34A-DB37ED7A94E4}"/>
              </a:ext>
            </a:extLst>
          </p:cNvPr>
          <p:cNvGrpSpPr/>
          <p:nvPr/>
        </p:nvGrpSpPr>
        <p:grpSpPr>
          <a:xfrm>
            <a:off x="121996" y="3451328"/>
            <a:ext cx="6263156" cy="950258"/>
            <a:chOff x="719958" y="4032931"/>
            <a:chExt cx="6263156" cy="1045284"/>
          </a:xfrm>
        </p:grpSpPr>
        <p:sp>
          <p:nvSpPr>
            <p:cNvPr id="15" name="Rectangle 14"/>
            <p:cNvSpPr/>
            <p:nvPr/>
          </p:nvSpPr>
          <p:spPr>
            <a:xfrm>
              <a:off x="719958" y="4032931"/>
              <a:ext cx="1177082" cy="1045284"/>
            </a:xfrm>
            <a:prstGeom prst="rect">
              <a:avLst/>
            </a:prstGeom>
            <a:solidFill>
              <a:schemeClr val="accent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dirty="0">
                <a:ln>
                  <a:noFill/>
                </a:ln>
                <a:solidFill>
                  <a:srgbClr val="464646"/>
                </a:solidFill>
                <a:effectLst/>
                <a:uLnTx/>
                <a:uFillTx/>
                <a:latin typeface="Calibri"/>
                <a:ea typeface="+mn-ea"/>
                <a:cs typeface="+mn-cs"/>
              </a:endParaRPr>
            </a:p>
          </p:txBody>
        </p:sp>
        <p:sp>
          <p:nvSpPr>
            <p:cNvPr id="43" name="Rectangle 42"/>
            <p:cNvSpPr/>
            <p:nvPr/>
          </p:nvSpPr>
          <p:spPr>
            <a:xfrm>
              <a:off x="1897039" y="4032931"/>
              <a:ext cx="5086075"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44" marR="0" lvl="0" indent="-28574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0" cap="none" spc="0" normalizeH="0" baseline="0" noProof="0" dirty="0" smtClean="0">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rPr>
                <a:t>S</a:t>
              </a:r>
              <a:r>
                <a:rPr kumimoji="0" lang="tr-TR" sz="1800" b="1" i="0" u="none" strike="noStrike" kern="0" cap="none" spc="0" normalizeH="0" baseline="0" noProof="0" dirty="0" smtClean="0">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rPr>
                <a:t>ı</a:t>
              </a:r>
              <a:r>
                <a:rPr kumimoji="0" lang="en-US" sz="1800" b="1" i="0" u="none" strike="noStrike" kern="0" cap="none" spc="0" normalizeH="0" baseline="0" noProof="0" dirty="0" err="1" smtClean="0">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rPr>
                <a:t>nai</a:t>
              </a:r>
              <a:r>
                <a:rPr kumimoji="0" lang="en-US" sz="1800" b="1" i="0" u="none" strike="noStrike" kern="0" cap="none" spc="0" normalizeH="0" baseline="0" noProof="0" dirty="0" smtClean="0">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800" b="1" i="0" u="none" strike="noStrike" kern="0" cap="none" spc="0" normalizeH="0" baseline="0" noProof="0" dirty="0" err="1">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rPr>
                <a:t>Mülkiyet</a:t>
              </a:r>
              <a:r>
                <a:rPr kumimoji="0" lang="en-US" sz="1800" b="1" i="0" u="none" strike="noStrike" kern="0" cap="none" spc="0" normalizeH="0" baseline="0" noProof="0" dirty="0">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800" b="1" i="0" u="none" strike="noStrike" kern="0" cap="none" spc="0" normalizeH="0" baseline="0" noProof="0" dirty="0" err="1">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rPr>
                <a:t>Haklar</a:t>
              </a:r>
              <a:r>
                <a:rPr kumimoji="0" lang="tr-TR" sz="1800" b="1" i="0" u="none" strike="noStrike" kern="0" cap="none" spc="0" normalizeH="0" baseline="0" noProof="0" dirty="0">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rPr>
                <a:t>ı</a:t>
              </a:r>
              <a:r>
                <a:rPr kumimoji="0" lang="en-US" sz="1800" b="1" i="0" u="none" strike="noStrike" kern="0" cap="none" spc="0" normalizeH="0" baseline="0" noProof="0" dirty="0">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800" b="1" i="0" u="none" strike="noStrike" kern="0" cap="none" spc="0" normalizeH="0" baseline="0" noProof="0" dirty="0" err="1">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rPr>
                <a:t>Giderleri</a:t>
              </a:r>
              <a:r>
                <a:rPr kumimoji="0" lang="en-US" sz="1800" b="1" i="0" u="none" strike="noStrike" kern="0" cap="none" spc="0" normalizeH="0" baseline="0" noProof="0" dirty="0">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800" b="1" i="0" u="none" strike="noStrike" kern="0" cap="none" spc="0" normalizeH="0" baseline="0" noProof="0" dirty="0" err="1">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rPr>
                <a:t>Desteği</a:t>
              </a:r>
              <a:endParaRPr kumimoji="0" lang="tr-TR" sz="1800" b="1" i="0" u="none" strike="noStrike" kern="0" cap="none" spc="0" normalizeH="0" baseline="0" noProof="0" dirty="0">
                <a:ln>
                  <a:noFill/>
                </a:ln>
                <a:solidFill>
                  <a:srgbClr val="C0504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45" name="Isosceles Triangle 44"/>
            <p:cNvSpPr>
              <a:spLocks noChangeAspect="1"/>
            </p:cNvSpPr>
            <p:nvPr/>
          </p:nvSpPr>
          <p:spPr>
            <a:xfrm rot="5400000">
              <a:off x="1880124" y="4408607"/>
              <a:ext cx="340958" cy="293930"/>
            </a:xfrm>
            <a:prstGeom prst="triangl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2" name="Group 1">
            <a:extLst>
              <a:ext uri="{FF2B5EF4-FFF2-40B4-BE49-F238E27FC236}">
                <a16:creationId xmlns:a16="http://schemas.microsoft.com/office/drawing/2014/main" id="{F24321EE-F858-45C1-B588-73348DD9647C}"/>
              </a:ext>
            </a:extLst>
          </p:cNvPr>
          <p:cNvGrpSpPr/>
          <p:nvPr/>
        </p:nvGrpSpPr>
        <p:grpSpPr>
          <a:xfrm>
            <a:off x="121996" y="4512885"/>
            <a:ext cx="6263157" cy="950258"/>
            <a:chOff x="719958" y="5329309"/>
            <a:chExt cx="6263157" cy="1045284"/>
          </a:xfrm>
        </p:grpSpPr>
        <p:sp>
          <p:nvSpPr>
            <p:cNvPr id="44" name="Rectangle 43"/>
            <p:cNvSpPr/>
            <p:nvPr/>
          </p:nvSpPr>
          <p:spPr>
            <a:xfrm>
              <a:off x="719958" y="5329309"/>
              <a:ext cx="1177082" cy="1045284"/>
            </a:xfrm>
            <a:prstGeom prst="rect">
              <a:avLst/>
            </a:prstGeom>
            <a:solidFill>
              <a:schemeClr val="accent3"/>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dirty="0">
                <a:ln>
                  <a:noFill/>
                </a:ln>
                <a:solidFill>
                  <a:srgbClr val="464646"/>
                </a:solidFill>
                <a:effectLst/>
                <a:uLnTx/>
                <a:uFillTx/>
                <a:latin typeface="Calibri"/>
                <a:ea typeface="+mn-ea"/>
                <a:cs typeface="+mn-cs"/>
              </a:endParaRPr>
            </a:p>
          </p:txBody>
        </p:sp>
        <p:sp>
          <p:nvSpPr>
            <p:cNvPr id="46" name="Rectangle 45"/>
            <p:cNvSpPr/>
            <p:nvPr/>
          </p:nvSpPr>
          <p:spPr>
            <a:xfrm>
              <a:off x="1897040" y="5329309"/>
              <a:ext cx="5086075"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44" marR="0" lvl="0" indent="-28574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1" i="0" u="none" strike="noStrike" kern="0" cap="none" spc="0" normalizeH="0" baseline="0" noProof="0" dirty="0">
                  <a:ln>
                    <a:noFill/>
                  </a:ln>
                  <a:solidFill>
                    <a:srgbClr val="9BBB59"/>
                  </a:solidFill>
                  <a:effectLst/>
                  <a:uLnTx/>
                  <a:uFillTx/>
                  <a:latin typeface="Times New Roman" panose="02020603050405020304" pitchFamily="18" charset="0"/>
                  <a:ea typeface="ヒラギノ角ゴ Pro W3" pitchFamily="1" charset="-128"/>
                  <a:cs typeface="Times New Roman" panose="02020603050405020304" pitchFamily="18" charset="0"/>
                </a:rPr>
                <a:t>Test-Analiz ve Belgelendirme Giderleri Desteği</a:t>
              </a:r>
            </a:p>
          </p:txBody>
        </p:sp>
        <p:sp>
          <p:nvSpPr>
            <p:cNvPr id="47" name="Isosceles Triangle 46"/>
            <p:cNvSpPr>
              <a:spLocks noChangeAspect="1"/>
            </p:cNvSpPr>
            <p:nvPr/>
          </p:nvSpPr>
          <p:spPr>
            <a:xfrm rot="5400000">
              <a:off x="1880124" y="5704986"/>
              <a:ext cx="340958" cy="293930"/>
            </a:xfrm>
            <a:prstGeom prst="triangl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37" name="Group 36">
            <a:extLst>
              <a:ext uri="{FF2B5EF4-FFF2-40B4-BE49-F238E27FC236}">
                <a16:creationId xmlns:a16="http://schemas.microsoft.com/office/drawing/2014/main" id="{88F1EC6E-AD1B-42FE-AE7D-AA583C82A1EF}"/>
              </a:ext>
            </a:extLst>
          </p:cNvPr>
          <p:cNvGrpSpPr/>
          <p:nvPr/>
        </p:nvGrpSpPr>
        <p:grpSpPr>
          <a:xfrm>
            <a:off x="121996" y="5574440"/>
            <a:ext cx="6263156" cy="950260"/>
            <a:chOff x="719958" y="1440175"/>
            <a:chExt cx="6263156" cy="1045286"/>
          </a:xfrm>
        </p:grpSpPr>
        <p:sp>
          <p:nvSpPr>
            <p:cNvPr id="38" name="Rectangle 37">
              <a:extLst>
                <a:ext uri="{FF2B5EF4-FFF2-40B4-BE49-F238E27FC236}">
                  <a16:creationId xmlns:a16="http://schemas.microsoft.com/office/drawing/2014/main" id="{3939B042-DCBF-499E-BE28-695AF81DC6E6}"/>
                </a:ext>
              </a:extLst>
            </p:cNvPr>
            <p:cNvSpPr/>
            <p:nvPr/>
          </p:nvSpPr>
          <p:spPr>
            <a:xfrm>
              <a:off x="1897040" y="1440177"/>
              <a:ext cx="5086074"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44" marR="0" lvl="0" indent="-28574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1" i="0" u="none" strike="noStrike" kern="1200" cap="none" spc="0" normalizeH="0" baseline="0" noProof="0" dirty="0">
                  <a:ln>
                    <a:noFill/>
                  </a:ln>
                  <a:solidFill>
                    <a:srgbClr val="8064A2"/>
                  </a:solidFill>
                  <a:effectLst/>
                  <a:uLnTx/>
                  <a:uFillTx/>
                  <a:latin typeface="Times New Roman" panose="02020603050405020304" pitchFamily="18" charset="0"/>
                  <a:ea typeface="ヒラギノ角ゴ Pro W3" pitchFamily="1" charset="-128"/>
                  <a:cs typeface="Times New Roman" panose="02020603050405020304" pitchFamily="18" charset="0"/>
                </a:rPr>
                <a:t>Diğer Giderler Desteği </a:t>
              </a:r>
            </a:p>
          </p:txBody>
        </p:sp>
        <p:sp>
          <p:nvSpPr>
            <p:cNvPr id="39" name="Rectangle 38">
              <a:extLst>
                <a:ext uri="{FF2B5EF4-FFF2-40B4-BE49-F238E27FC236}">
                  <a16:creationId xmlns:a16="http://schemas.microsoft.com/office/drawing/2014/main" id="{ED64E27A-E39C-4BD6-9DB1-EB4E29E55B31}"/>
                </a:ext>
              </a:extLst>
            </p:cNvPr>
            <p:cNvSpPr/>
            <p:nvPr/>
          </p:nvSpPr>
          <p:spPr>
            <a:xfrm>
              <a:off x="719958" y="1440175"/>
              <a:ext cx="1177082" cy="1045284"/>
            </a:xfrm>
            <a:prstGeom prst="rect">
              <a:avLst/>
            </a:prstGeom>
            <a:solidFill>
              <a:schemeClr val="accent4"/>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dirty="0">
                <a:ln>
                  <a:noFill/>
                </a:ln>
                <a:solidFill>
                  <a:srgbClr val="464646"/>
                </a:solidFill>
                <a:effectLst/>
                <a:uLnTx/>
                <a:uFillTx/>
                <a:latin typeface="Calibri"/>
                <a:ea typeface="+mn-ea"/>
                <a:cs typeface="+mn-cs"/>
              </a:endParaRPr>
            </a:p>
          </p:txBody>
        </p:sp>
        <p:sp>
          <p:nvSpPr>
            <p:cNvPr id="48" name="Isosceles Triangle 47">
              <a:extLst>
                <a:ext uri="{FF2B5EF4-FFF2-40B4-BE49-F238E27FC236}">
                  <a16:creationId xmlns:a16="http://schemas.microsoft.com/office/drawing/2014/main" id="{4EB85AB9-3723-451D-830B-B9BD7531F2FF}"/>
                </a:ext>
              </a:extLst>
            </p:cNvPr>
            <p:cNvSpPr>
              <a:spLocks noChangeAspect="1"/>
            </p:cNvSpPr>
            <p:nvPr/>
          </p:nvSpPr>
          <p:spPr>
            <a:xfrm rot="5400000">
              <a:off x="1880124" y="1815851"/>
              <a:ext cx="340958" cy="293930"/>
            </a:xfrm>
            <a:prstGeom prst="triangl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50" name="Gears"/>
          <p:cNvGrpSpPr>
            <a:grpSpLocks noChangeAspect="1"/>
          </p:cNvGrpSpPr>
          <p:nvPr>
            <p:custDataLst>
              <p:tags r:id="rId2"/>
            </p:custDataLst>
          </p:nvPr>
        </p:nvGrpSpPr>
        <p:grpSpPr bwMode="auto">
          <a:xfrm>
            <a:off x="405387" y="1469113"/>
            <a:ext cx="654223" cy="698130"/>
            <a:chOff x="8" y="8"/>
            <a:chExt cx="447" cy="477"/>
          </a:xfrm>
          <a:solidFill>
            <a:schemeClr val="bg1"/>
          </a:solidFill>
        </p:grpSpPr>
        <p:sp>
          <p:nvSpPr>
            <p:cNvPr id="51" name="Gears"/>
            <p:cNvSpPr>
              <a:spLocks noEditPoints="1"/>
            </p:cNvSpPr>
            <p:nvPr>
              <p:custDataLst>
                <p:tags r:id="rId18"/>
              </p:custDataLst>
            </p:nvPr>
          </p:nvSpPr>
          <p:spPr bwMode="auto">
            <a:xfrm>
              <a:off x="209" y="8"/>
              <a:ext cx="246" cy="246"/>
            </a:xfrm>
            <a:custGeom>
              <a:avLst/>
              <a:gdLst>
                <a:gd name="T0" fmla="*/ 569 w 630"/>
                <a:gd name="T1" fmla="*/ 128 h 630"/>
                <a:gd name="T2" fmla="*/ 501 w 630"/>
                <a:gd name="T3" fmla="*/ 63 h 630"/>
                <a:gd name="T4" fmla="*/ 415 w 630"/>
                <a:gd name="T5" fmla="*/ 101 h 630"/>
                <a:gd name="T6" fmla="*/ 372 w 630"/>
                <a:gd name="T7" fmla="*/ 86 h 630"/>
                <a:gd name="T8" fmla="*/ 325 w 630"/>
                <a:gd name="T9" fmla="*/ 0 h 630"/>
                <a:gd name="T10" fmla="*/ 305 w 630"/>
                <a:gd name="T11" fmla="*/ 0 h 630"/>
                <a:gd name="T12" fmla="*/ 262 w 630"/>
                <a:gd name="T13" fmla="*/ 85 h 630"/>
                <a:gd name="T14" fmla="*/ 245 w 630"/>
                <a:gd name="T15" fmla="*/ 89 h 630"/>
                <a:gd name="T16" fmla="*/ 191 w 630"/>
                <a:gd name="T17" fmla="*/ 114 h 630"/>
                <a:gd name="T18" fmla="*/ 127 w 630"/>
                <a:gd name="T19" fmla="*/ 61 h 630"/>
                <a:gd name="T20" fmla="*/ 91 w 630"/>
                <a:gd name="T21" fmla="*/ 94 h 630"/>
                <a:gd name="T22" fmla="*/ 62 w 630"/>
                <a:gd name="T23" fmla="*/ 129 h 630"/>
                <a:gd name="T24" fmla="*/ 100 w 630"/>
                <a:gd name="T25" fmla="*/ 215 h 630"/>
                <a:gd name="T26" fmla="*/ 85 w 630"/>
                <a:gd name="T27" fmla="*/ 260 h 630"/>
                <a:gd name="T28" fmla="*/ 0 w 630"/>
                <a:gd name="T29" fmla="*/ 308 h 630"/>
                <a:gd name="T30" fmla="*/ 85 w 630"/>
                <a:gd name="T31" fmla="*/ 370 h 630"/>
                <a:gd name="T32" fmla="*/ 100 w 630"/>
                <a:gd name="T33" fmla="*/ 416 h 630"/>
                <a:gd name="T34" fmla="*/ 64 w 630"/>
                <a:gd name="T35" fmla="*/ 504 h 630"/>
                <a:gd name="T36" fmla="*/ 131 w 630"/>
                <a:gd name="T37" fmla="*/ 570 h 630"/>
                <a:gd name="T38" fmla="*/ 193 w 630"/>
                <a:gd name="T39" fmla="*/ 519 h 630"/>
                <a:gd name="T40" fmla="*/ 248 w 630"/>
                <a:gd name="T41" fmla="*/ 543 h 630"/>
                <a:gd name="T42" fmla="*/ 270 w 630"/>
                <a:gd name="T43" fmla="*/ 628 h 630"/>
                <a:gd name="T44" fmla="*/ 324 w 630"/>
                <a:gd name="T45" fmla="*/ 630 h 630"/>
                <a:gd name="T46" fmla="*/ 372 w 630"/>
                <a:gd name="T47" fmla="*/ 545 h 630"/>
                <a:gd name="T48" fmla="*/ 384 w 630"/>
                <a:gd name="T49" fmla="*/ 541 h 630"/>
                <a:gd name="T50" fmla="*/ 441 w 630"/>
                <a:gd name="T51" fmla="*/ 515 h 630"/>
                <a:gd name="T52" fmla="*/ 505 w 630"/>
                <a:gd name="T53" fmla="*/ 568 h 630"/>
                <a:gd name="T54" fmla="*/ 538 w 630"/>
                <a:gd name="T55" fmla="*/ 538 h 630"/>
                <a:gd name="T56" fmla="*/ 518 w 630"/>
                <a:gd name="T57" fmla="*/ 438 h 630"/>
                <a:gd name="T58" fmla="*/ 530 w 630"/>
                <a:gd name="T59" fmla="*/ 415 h 630"/>
                <a:gd name="T60" fmla="*/ 542 w 630"/>
                <a:gd name="T61" fmla="*/ 383 h 630"/>
                <a:gd name="T62" fmla="*/ 626 w 630"/>
                <a:gd name="T63" fmla="*/ 364 h 630"/>
                <a:gd name="T64" fmla="*/ 630 w 630"/>
                <a:gd name="T65" fmla="*/ 315 h 630"/>
                <a:gd name="T66" fmla="*/ 626 w 630"/>
                <a:gd name="T67" fmla="*/ 268 h 630"/>
                <a:gd name="T68" fmla="*/ 542 w 630"/>
                <a:gd name="T69" fmla="*/ 249 h 630"/>
                <a:gd name="T70" fmla="*/ 517 w 630"/>
                <a:gd name="T71" fmla="*/ 191 h 630"/>
                <a:gd name="T72" fmla="*/ 235 w 630"/>
                <a:gd name="T73" fmla="*/ 233 h 630"/>
                <a:gd name="T74" fmla="*/ 399 w 630"/>
                <a:gd name="T75" fmla="*/ 233 h 630"/>
                <a:gd name="T76" fmla="*/ 399 w 630"/>
                <a:gd name="T77" fmla="*/ 396 h 630"/>
                <a:gd name="T78" fmla="*/ 235 w 630"/>
                <a:gd name="T79" fmla="*/ 396 h 630"/>
                <a:gd name="T80" fmla="*/ 235 w 630"/>
                <a:gd name="T81" fmla="*/ 23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0" h="630">
                  <a:moveTo>
                    <a:pt x="569" y="129"/>
                  </a:moveTo>
                  <a:lnTo>
                    <a:pt x="569" y="128"/>
                  </a:lnTo>
                  <a:cubicBezTo>
                    <a:pt x="550" y="103"/>
                    <a:pt x="527" y="81"/>
                    <a:pt x="501" y="61"/>
                  </a:cubicBezTo>
                  <a:lnTo>
                    <a:pt x="501" y="63"/>
                  </a:lnTo>
                  <a:cubicBezTo>
                    <a:pt x="480" y="79"/>
                    <a:pt x="458" y="96"/>
                    <a:pt x="438" y="114"/>
                  </a:cubicBezTo>
                  <a:cubicBezTo>
                    <a:pt x="430" y="109"/>
                    <a:pt x="422" y="105"/>
                    <a:pt x="415" y="101"/>
                  </a:cubicBezTo>
                  <a:cubicBezTo>
                    <a:pt x="405" y="96"/>
                    <a:pt x="395" y="91"/>
                    <a:pt x="383" y="89"/>
                  </a:cubicBezTo>
                  <a:cubicBezTo>
                    <a:pt x="380" y="88"/>
                    <a:pt x="376" y="86"/>
                    <a:pt x="372" y="86"/>
                  </a:cubicBezTo>
                  <a:cubicBezTo>
                    <a:pt x="370" y="59"/>
                    <a:pt x="367" y="31"/>
                    <a:pt x="363" y="4"/>
                  </a:cubicBezTo>
                  <a:cubicBezTo>
                    <a:pt x="351" y="1"/>
                    <a:pt x="338" y="1"/>
                    <a:pt x="325" y="0"/>
                  </a:cubicBezTo>
                  <a:lnTo>
                    <a:pt x="315" y="0"/>
                  </a:lnTo>
                  <a:lnTo>
                    <a:pt x="305" y="0"/>
                  </a:lnTo>
                  <a:cubicBezTo>
                    <a:pt x="292" y="1"/>
                    <a:pt x="281" y="1"/>
                    <a:pt x="270" y="4"/>
                  </a:cubicBezTo>
                  <a:cubicBezTo>
                    <a:pt x="266" y="30"/>
                    <a:pt x="263" y="57"/>
                    <a:pt x="262" y="85"/>
                  </a:cubicBezTo>
                  <a:cubicBezTo>
                    <a:pt x="257" y="85"/>
                    <a:pt x="253" y="86"/>
                    <a:pt x="248" y="88"/>
                  </a:cubicBezTo>
                  <a:cubicBezTo>
                    <a:pt x="247" y="88"/>
                    <a:pt x="246" y="88"/>
                    <a:pt x="245" y="89"/>
                  </a:cubicBezTo>
                  <a:cubicBezTo>
                    <a:pt x="235" y="91"/>
                    <a:pt x="225" y="96"/>
                    <a:pt x="215" y="101"/>
                  </a:cubicBezTo>
                  <a:cubicBezTo>
                    <a:pt x="206" y="105"/>
                    <a:pt x="198" y="109"/>
                    <a:pt x="191" y="114"/>
                  </a:cubicBezTo>
                  <a:cubicBezTo>
                    <a:pt x="170" y="96"/>
                    <a:pt x="150" y="80"/>
                    <a:pt x="128" y="63"/>
                  </a:cubicBezTo>
                  <a:lnTo>
                    <a:pt x="127" y="61"/>
                  </a:lnTo>
                  <a:cubicBezTo>
                    <a:pt x="122" y="65"/>
                    <a:pt x="117" y="69"/>
                    <a:pt x="113" y="73"/>
                  </a:cubicBezTo>
                  <a:cubicBezTo>
                    <a:pt x="105" y="79"/>
                    <a:pt x="97" y="86"/>
                    <a:pt x="91" y="94"/>
                  </a:cubicBezTo>
                  <a:cubicBezTo>
                    <a:pt x="80" y="104"/>
                    <a:pt x="71" y="116"/>
                    <a:pt x="61" y="129"/>
                  </a:cubicBezTo>
                  <a:lnTo>
                    <a:pt x="62" y="129"/>
                  </a:lnTo>
                  <a:cubicBezTo>
                    <a:pt x="78" y="150"/>
                    <a:pt x="96" y="170"/>
                    <a:pt x="114" y="191"/>
                  </a:cubicBezTo>
                  <a:cubicBezTo>
                    <a:pt x="109" y="199"/>
                    <a:pt x="104" y="208"/>
                    <a:pt x="100" y="215"/>
                  </a:cubicBezTo>
                  <a:cubicBezTo>
                    <a:pt x="95" y="225"/>
                    <a:pt x="91" y="236"/>
                    <a:pt x="89" y="246"/>
                  </a:cubicBezTo>
                  <a:cubicBezTo>
                    <a:pt x="86" y="251"/>
                    <a:pt x="85" y="256"/>
                    <a:pt x="85" y="260"/>
                  </a:cubicBezTo>
                  <a:cubicBezTo>
                    <a:pt x="57" y="263"/>
                    <a:pt x="30" y="265"/>
                    <a:pt x="4" y="269"/>
                  </a:cubicBezTo>
                  <a:cubicBezTo>
                    <a:pt x="1" y="281"/>
                    <a:pt x="0" y="294"/>
                    <a:pt x="0" y="308"/>
                  </a:cubicBezTo>
                  <a:cubicBezTo>
                    <a:pt x="0" y="326"/>
                    <a:pt x="1" y="345"/>
                    <a:pt x="5" y="363"/>
                  </a:cubicBezTo>
                  <a:cubicBezTo>
                    <a:pt x="31" y="365"/>
                    <a:pt x="57" y="368"/>
                    <a:pt x="85" y="370"/>
                  </a:cubicBezTo>
                  <a:cubicBezTo>
                    <a:pt x="85" y="375"/>
                    <a:pt x="86" y="380"/>
                    <a:pt x="89" y="384"/>
                  </a:cubicBezTo>
                  <a:cubicBezTo>
                    <a:pt x="91" y="395"/>
                    <a:pt x="95" y="405"/>
                    <a:pt x="100" y="416"/>
                  </a:cubicBezTo>
                  <a:cubicBezTo>
                    <a:pt x="105" y="425"/>
                    <a:pt x="109" y="434"/>
                    <a:pt x="115" y="441"/>
                  </a:cubicBezTo>
                  <a:cubicBezTo>
                    <a:pt x="97" y="463"/>
                    <a:pt x="80" y="483"/>
                    <a:pt x="64" y="504"/>
                  </a:cubicBezTo>
                  <a:cubicBezTo>
                    <a:pt x="82" y="530"/>
                    <a:pt x="105" y="553"/>
                    <a:pt x="131" y="571"/>
                  </a:cubicBezTo>
                  <a:lnTo>
                    <a:pt x="131" y="570"/>
                  </a:lnTo>
                  <a:cubicBezTo>
                    <a:pt x="151" y="554"/>
                    <a:pt x="172" y="536"/>
                    <a:pt x="192" y="519"/>
                  </a:cubicBezTo>
                  <a:lnTo>
                    <a:pt x="193" y="519"/>
                  </a:lnTo>
                  <a:cubicBezTo>
                    <a:pt x="200" y="523"/>
                    <a:pt x="207" y="526"/>
                    <a:pt x="214" y="530"/>
                  </a:cubicBezTo>
                  <a:cubicBezTo>
                    <a:pt x="225" y="535"/>
                    <a:pt x="237" y="540"/>
                    <a:pt x="248" y="543"/>
                  </a:cubicBezTo>
                  <a:cubicBezTo>
                    <a:pt x="253" y="544"/>
                    <a:pt x="257" y="545"/>
                    <a:pt x="261" y="546"/>
                  </a:cubicBezTo>
                  <a:cubicBezTo>
                    <a:pt x="264" y="573"/>
                    <a:pt x="266" y="600"/>
                    <a:pt x="270" y="628"/>
                  </a:cubicBezTo>
                  <a:cubicBezTo>
                    <a:pt x="281" y="629"/>
                    <a:pt x="292" y="630"/>
                    <a:pt x="305" y="630"/>
                  </a:cubicBezTo>
                  <a:lnTo>
                    <a:pt x="324" y="630"/>
                  </a:lnTo>
                  <a:cubicBezTo>
                    <a:pt x="337" y="630"/>
                    <a:pt x="351" y="629"/>
                    <a:pt x="365" y="626"/>
                  </a:cubicBezTo>
                  <a:cubicBezTo>
                    <a:pt x="367" y="600"/>
                    <a:pt x="370" y="573"/>
                    <a:pt x="372" y="545"/>
                  </a:cubicBezTo>
                  <a:lnTo>
                    <a:pt x="384" y="541"/>
                  </a:lnTo>
                  <a:lnTo>
                    <a:pt x="384" y="541"/>
                  </a:lnTo>
                  <a:cubicBezTo>
                    <a:pt x="395" y="539"/>
                    <a:pt x="405" y="535"/>
                    <a:pt x="415" y="530"/>
                  </a:cubicBezTo>
                  <a:cubicBezTo>
                    <a:pt x="424" y="526"/>
                    <a:pt x="432" y="521"/>
                    <a:pt x="441" y="515"/>
                  </a:cubicBezTo>
                  <a:cubicBezTo>
                    <a:pt x="441" y="516"/>
                    <a:pt x="441" y="516"/>
                    <a:pt x="442" y="516"/>
                  </a:cubicBezTo>
                  <a:cubicBezTo>
                    <a:pt x="462" y="534"/>
                    <a:pt x="483" y="551"/>
                    <a:pt x="505" y="568"/>
                  </a:cubicBezTo>
                  <a:cubicBezTo>
                    <a:pt x="508" y="565"/>
                    <a:pt x="512" y="563"/>
                    <a:pt x="517" y="559"/>
                  </a:cubicBezTo>
                  <a:cubicBezTo>
                    <a:pt x="525" y="553"/>
                    <a:pt x="532" y="545"/>
                    <a:pt x="538" y="538"/>
                  </a:cubicBezTo>
                  <a:cubicBezTo>
                    <a:pt x="550" y="526"/>
                    <a:pt x="561" y="514"/>
                    <a:pt x="571" y="500"/>
                  </a:cubicBezTo>
                  <a:cubicBezTo>
                    <a:pt x="553" y="479"/>
                    <a:pt x="536" y="458"/>
                    <a:pt x="518" y="438"/>
                  </a:cubicBezTo>
                  <a:lnTo>
                    <a:pt x="518" y="436"/>
                  </a:lnTo>
                  <a:cubicBezTo>
                    <a:pt x="522" y="430"/>
                    <a:pt x="526" y="422"/>
                    <a:pt x="530" y="415"/>
                  </a:cubicBezTo>
                  <a:cubicBezTo>
                    <a:pt x="533" y="405"/>
                    <a:pt x="538" y="395"/>
                    <a:pt x="541" y="385"/>
                  </a:cubicBezTo>
                  <a:cubicBezTo>
                    <a:pt x="541" y="384"/>
                    <a:pt x="541" y="383"/>
                    <a:pt x="542" y="383"/>
                  </a:cubicBezTo>
                  <a:cubicBezTo>
                    <a:pt x="542" y="378"/>
                    <a:pt x="543" y="374"/>
                    <a:pt x="545" y="371"/>
                  </a:cubicBezTo>
                  <a:cubicBezTo>
                    <a:pt x="572" y="369"/>
                    <a:pt x="600" y="366"/>
                    <a:pt x="626" y="364"/>
                  </a:cubicBezTo>
                  <a:cubicBezTo>
                    <a:pt x="629" y="351"/>
                    <a:pt x="629" y="339"/>
                    <a:pt x="630" y="326"/>
                  </a:cubicBezTo>
                  <a:lnTo>
                    <a:pt x="630" y="315"/>
                  </a:lnTo>
                  <a:lnTo>
                    <a:pt x="630" y="305"/>
                  </a:lnTo>
                  <a:cubicBezTo>
                    <a:pt x="629" y="293"/>
                    <a:pt x="629" y="280"/>
                    <a:pt x="626" y="268"/>
                  </a:cubicBezTo>
                  <a:cubicBezTo>
                    <a:pt x="600" y="265"/>
                    <a:pt x="572" y="263"/>
                    <a:pt x="545" y="260"/>
                  </a:cubicBezTo>
                  <a:cubicBezTo>
                    <a:pt x="544" y="256"/>
                    <a:pt x="542" y="252"/>
                    <a:pt x="542" y="249"/>
                  </a:cubicBezTo>
                  <a:cubicBezTo>
                    <a:pt x="538" y="238"/>
                    <a:pt x="535" y="226"/>
                    <a:pt x="530" y="215"/>
                  </a:cubicBezTo>
                  <a:cubicBezTo>
                    <a:pt x="526" y="207"/>
                    <a:pt x="521" y="199"/>
                    <a:pt x="517" y="191"/>
                  </a:cubicBezTo>
                  <a:cubicBezTo>
                    <a:pt x="534" y="171"/>
                    <a:pt x="551" y="150"/>
                    <a:pt x="569" y="129"/>
                  </a:cubicBezTo>
                  <a:close/>
                  <a:moveTo>
                    <a:pt x="235" y="233"/>
                  </a:moveTo>
                  <a:cubicBezTo>
                    <a:pt x="257" y="209"/>
                    <a:pt x="285" y="198"/>
                    <a:pt x="316" y="199"/>
                  </a:cubicBezTo>
                  <a:cubicBezTo>
                    <a:pt x="349" y="198"/>
                    <a:pt x="375" y="209"/>
                    <a:pt x="399" y="233"/>
                  </a:cubicBezTo>
                  <a:cubicBezTo>
                    <a:pt x="421" y="255"/>
                    <a:pt x="432" y="283"/>
                    <a:pt x="432" y="314"/>
                  </a:cubicBezTo>
                  <a:cubicBezTo>
                    <a:pt x="432" y="346"/>
                    <a:pt x="421" y="373"/>
                    <a:pt x="399" y="396"/>
                  </a:cubicBezTo>
                  <a:cubicBezTo>
                    <a:pt x="375" y="419"/>
                    <a:pt x="349" y="430"/>
                    <a:pt x="316" y="430"/>
                  </a:cubicBezTo>
                  <a:cubicBezTo>
                    <a:pt x="285" y="430"/>
                    <a:pt x="257" y="419"/>
                    <a:pt x="235" y="396"/>
                  </a:cubicBezTo>
                  <a:cubicBezTo>
                    <a:pt x="212" y="373"/>
                    <a:pt x="201" y="346"/>
                    <a:pt x="201" y="314"/>
                  </a:cubicBezTo>
                  <a:cubicBezTo>
                    <a:pt x="201" y="283"/>
                    <a:pt x="212" y="255"/>
                    <a:pt x="235" y="233"/>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2" name="Gears"/>
            <p:cNvSpPr>
              <a:spLocks noEditPoints="1"/>
            </p:cNvSpPr>
            <p:nvPr>
              <p:custDataLst>
                <p:tags r:id="rId19"/>
              </p:custDataLst>
            </p:nvPr>
          </p:nvSpPr>
          <p:spPr bwMode="auto">
            <a:xfrm>
              <a:off x="294" y="92"/>
              <a:ext cx="77" cy="78"/>
            </a:xfrm>
            <a:custGeom>
              <a:avLst/>
              <a:gdLst>
                <a:gd name="T0" fmla="*/ 98 w 197"/>
                <a:gd name="T1" fmla="*/ 0 h 199"/>
                <a:gd name="T2" fmla="*/ 28 w 197"/>
                <a:gd name="T3" fmla="*/ 29 h 199"/>
                <a:gd name="T4" fmla="*/ 0 w 197"/>
                <a:gd name="T5" fmla="*/ 99 h 199"/>
                <a:gd name="T6" fmla="*/ 28 w 197"/>
                <a:gd name="T7" fmla="*/ 169 h 199"/>
                <a:gd name="T8" fmla="*/ 28 w 197"/>
                <a:gd name="T9" fmla="*/ 169 h 199"/>
                <a:gd name="T10" fmla="*/ 98 w 197"/>
                <a:gd name="T11" fmla="*/ 199 h 199"/>
                <a:gd name="T12" fmla="*/ 168 w 197"/>
                <a:gd name="T13" fmla="*/ 169 h 199"/>
                <a:gd name="T14" fmla="*/ 168 w 197"/>
                <a:gd name="T15" fmla="*/ 169 h 199"/>
                <a:gd name="T16" fmla="*/ 197 w 197"/>
                <a:gd name="T17" fmla="*/ 99 h 199"/>
                <a:gd name="T18" fmla="*/ 197 w 197"/>
                <a:gd name="T19" fmla="*/ 99 h 199"/>
                <a:gd name="T20" fmla="*/ 168 w 197"/>
                <a:gd name="T21" fmla="*/ 29 h 199"/>
                <a:gd name="T22" fmla="*/ 98 w 197"/>
                <a:gd name="T23" fmla="*/ 0 h 199"/>
                <a:gd name="T24" fmla="*/ 46 w 197"/>
                <a:gd name="T25" fmla="*/ 46 h 199"/>
                <a:gd name="T26" fmla="*/ 98 w 197"/>
                <a:gd name="T27" fmla="*/ 25 h 199"/>
                <a:gd name="T28" fmla="*/ 151 w 197"/>
                <a:gd name="T29" fmla="*/ 46 h 199"/>
                <a:gd name="T30" fmla="*/ 172 w 197"/>
                <a:gd name="T31" fmla="*/ 99 h 199"/>
                <a:gd name="T32" fmla="*/ 172 w 197"/>
                <a:gd name="T33" fmla="*/ 99 h 199"/>
                <a:gd name="T34" fmla="*/ 151 w 197"/>
                <a:gd name="T35" fmla="*/ 151 h 199"/>
                <a:gd name="T36" fmla="*/ 98 w 197"/>
                <a:gd name="T37" fmla="*/ 174 h 199"/>
                <a:gd name="T38" fmla="*/ 46 w 197"/>
                <a:gd name="T39" fmla="*/ 151 h 199"/>
                <a:gd name="T40" fmla="*/ 24 w 197"/>
                <a:gd name="T41" fmla="*/ 99 h 199"/>
                <a:gd name="T42" fmla="*/ 46 w 197"/>
                <a:gd name="T43" fmla="*/ 4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99">
                  <a:moveTo>
                    <a:pt x="98" y="0"/>
                  </a:moveTo>
                  <a:cubicBezTo>
                    <a:pt x="71" y="0"/>
                    <a:pt x="48" y="10"/>
                    <a:pt x="28" y="29"/>
                  </a:cubicBezTo>
                  <a:cubicBezTo>
                    <a:pt x="10" y="49"/>
                    <a:pt x="0" y="71"/>
                    <a:pt x="0" y="99"/>
                  </a:cubicBezTo>
                  <a:cubicBezTo>
                    <a:pt x="0" y="126"/>
                    <a:pt x="10" y="149"/>
                    <a:pt x="28" y="169"/>
                  </a:cubicBezTo>
                  <a:lnTo>
                    <a:pt x="28" y="169"/>
                  </a:lnTo>
                  <a:cubicBezTo>
                    <a:pt x="48" y="189"/>
                    <a:pt x="71" y="199"/>
                    <a:pt x="98" y="199"/>
                  </a:cubicBezTo>
                  <a:cubicBezTo>
                    <a:pt x="126" y="199"/>
                    <a:pt x="148" y="189"/>
                    <a:pt x="168" y="169"/>
                  </a:cubicBezTo>
                  <a:lnTo>
                    <a:pt x="168" y="169"/>
                  </a:lnTo>
                  <a:cubicBezTo>
                    <a:pt x="188" y="149"/>
                    <a:pt x="197" y="126"/>
                    <a:pt x="197" y="99"/>
                  </a:cubicBezTo>
                  <a:lnTo>
                    <a:pt x="197" y="99"/>
                  </a:lnTo>
                  <a:cubicBezTo>
                    <a:pt x="197" y="71"/>
                    <a:pt x="188" y="49"/>
                    <a:pt x="168" y="29"/>
                  </a:cubicBezTo>
                  <a:cubicBezTo>
                    <a:pt x="148" y="10"/>
                    <a:pt x="126" y="0"/>
                    <a:pt x="98" y="0"/>
                  </a:cubicBezTo>
                  <a:close/>
                  <a:moveTo>
                    <a:pt x="46" y="46"/>
                  </a:moveTo>
                  <a:cubicBezTo>
                    <a:pt x="61" y="32"/>
                    <a:pt x="78" y="25"/>
                    <a:pt x="98" y="25"/>
                  </a:cubicBezTo>
                  <a:cubicBezTo>
                    <a:pt x="118" y="25"/>
                    <a:pt x="136" y="33"/>
                    <a:pt x="151" y="46"/>
                  </a:cubicBezTo>
                  <a:cubicBezTo>
                    <a:pt x="166" y="61"/>
                    <a:pt x="172" y="78"/>
                    <a:pt x="172" y="99"/>
                  </a:cubicBezTo>
                  <a:lnTo>
                    <a:pt x="172" y="99"/>
                  </a:lnTo>
                  <a:cubicBezTo>
                    <a:pt x="172" y="120"/>
                    <a:pt x="166" y="138"/>
                    <a:pt x="151" y="151"/>
                  </a:cubicBezTo>
                  <a:cubicBezTo>
                    <a:pt x="136" y="166"/>
                    <a:pt x="118" y="174"/>
                    <a:pt x="98" y="174"/>
                  </a:cubicBezTo>
                  <a:cubicBezTo>
                    <a:pt x="78" y="174"/>
                    <a:pt x="61" y="166"/>
                    <a:pt x="46" y="151"/>
                  </a:cubicBezTo>
                  <a:cubicBezTo>
                    <a:pt x="32" y="137"/>
                    <a:pt x="24" y="120"/>
                    <a:pt x="24" y="99"/>
                  </a:cubicBezTo>
                  <a:cubicBezTo>
                    <a:pt x="25" y="79"/>
                    <a:pt x="32" y="61"/>
                    <a:pt x="46" y="46"/>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3" name="Gears"/>
            <p:cNvSpPr>
              <a:spLocks noEditPoints="1"/>
            </p:cNvSpPr>
            <p:nvPr>
              <p:custDataLst>
                <p:tags r:id="rId20"/>
              </p:custDataLst>
            </p:nvPr>
          </p:nvSpPr>
          <p:spPr bwMode="auto">
            <a:xfrm>
              <a:off x="8" y="167"/>
              <a:ext cx="316" cy="318"/>
            </a:xfrm>
            <a:custGeom>
              <a:avLst/>
              <a:gdLst>
                <a:gd name="T0" fmla="*/ 497 w 810"/>
                <a:gd name="T1" fmla="*/ 8 h 812"/>
                <a:gd name="T2" fmla="*/ 416 w 810"/>
                <a:gd name="T3" fmla="*/ 98 h 812"/>
                <a:gd name="T4" fmla="*/ 394 w 810"/>
                <a:gd name="T5" fmla="*/ 98 h 812"/>
                <a:gd name="T6" fmla="*/ 318 w 810"/>
                <a:gd name="T7" fmla="*/ 112 h 812"/>
                <a:gd name="T8" fmla="*/ 255 w 810"/>
                <a:gd name="T9" fmla="*/ 26 h 812"/>
                <a:gd name="T10" fmla="*/ 199 w 810"/>
                <a:gd name="T11" fmla="*/ 53 h 812"/>
                <a:gd name="T12" fmla="*/ 150 w 810"/>
                <a:gd name="T13" fmla="*/ 88 h 812"/>
                <a:gd name="T14" fmla="*/ 170 w 810"/>
                <a:gd name="T15" fmla="*/ 208 h 812"/>
                <a:gd name="T16" fmla="*/ 144 w 810"/>
                <a:gd name="T17" fmla="*/ 243 h 812"/>
                <a:gd name="T18" fmla="*/ 30 w 810"/>
                <a:gd name="T19" fmla="*/ 242 h 812"/>
                <a:gd name="T20" fmla="*/ 0 w 810"/>
                <a:gd name="T21" fmla="*/ 361 h 812"/>
                <a:gd name="T22" fmla="*/ 97 w 810"/>
                <a:gd name="T23" fmla="*/ 416 h 812"/>
                <a:gd name="T24" fmla="*/ 111 w 810"/>
                <a:gd name="T25" fmla="*/ 497 h 812"/>
                <a:gd name="T26" fmla="*/ 87 w 810"/>
                <a:gd name="T27" fmla="*/ 663 h 812"/>
                <a:gd name="T28" fmla="*/ 184 w 810"/>
                <a:gd name="T29" fmla="*/ 620 h 812"/>
                <a:gd name="T30" fmla="*/ 206 w 810"/>
                <a:gd name="T31" fmla="*/ 641 h 812"/>
                <a:gd name="T32" fmla="*/ 260 w 810"/>
                <a:gd name="T33" fmla="*/ 677 h 812"/>
                <a:gd name="T34" fmla="*/ 286 w 810"/>
                <a:gd name="T35" fmla="*/ 796 h 812"/>
                <a:gd name="T36" fmla="*/ 361 w 810"/>
                <a:gd name="T37" fmla="*/ 812 h 812"/>
                <a:gd name="T38" fmla="*/ 414 w 810"/>
                <a:gd name="T39" fmla="*/ 712 h 812"/>
                <a:gd name="T40" fmla="*/ 458 w 810"/>
                <a:gd name="T41" fmla="*/ 708 h 812"/>
                <a:gd name="T42" fmla="*/ 496 w 810"/>
                <a:gd name="T43" fmla="*/ 700 h 812"/>
                <a:gd name="T44" fmla="*/ 575 w 810"/>
                <a:gd name="T45" fmla="*/ 777 h 812"/>
                <a:gd name="T46" fmla="*/ 663 w 810"/>
                <a:gd name="T47" fmla="*/ 722 h 812"/>
                <a:gd name="T48" fmla="*/ 619 w 810"/>
                <a:gd name="T49" fmla="*/ 626 h 812"/>
                <a:gd name="T50" fmla="*/ 665 w 810"/>
                <a:gd name="T51" fmla="*/ 568 h 812"/>
                <a:gd name="T52" fmla="*/ 674 w 810"/>
                <a:gd name="T53" fmla="*/ 552 h 812"/>
                <a:gd name="T54" fmla="*/ 795 w 810"/>
                <a:gd name="T55" fmla="*/ 523 h 812"/>
                <a:gd name="T56" fmla="*/ 803 w 810"/>
                <a:gd name="T57" fmla="*/ 498 h 812"/>
                <a:gd name="T58" fmla="*/ 711 w 810"/>
                <a:gd name="T59" fmla="*/ 413 h 812"/>
                <a:gd name="T60" fmla="*/ 706 w 810"/>
                <a:gd name="T61" fmla="*/ 352 h 812"/>
                <a:gd name="T62" fmla="*/ 784 w 810"/>
                <a:gd name="T63" fmla="*/ 256 h 812"/>
                <a:gd name="T64" fmla="*/ 723 w 810"/>
                <a:gd name="T65" fmla="*/ 151 h 812"/>
                <a:gd name="T66" fmla="*/ 628 w 810"/>
                <a:gd name="T67" fmla="*/ 195 h 812"/>
                <a:gd name="T68" fmla="*/ 566 w 810"/>
                <a:gd name="T69" fmla="*/ 146 h 812"/>
                <a:gd name="T70" fmla="*/ 570 w 810"/>
                <a:gd name="T71" fmla="*/ 32 h 812"/>
                <a:gd name="T72" fmla="*/ 510 w 810"/>
                <a:gd name="T73" fmla="*/ 12 h 812"/>
                <a:gd name="T74" fmla="*/ 263 w 810"/>
                <a:gd name="T75" fmla="*/ 366 h 812"/>
                <a:gd name="T76" fmla="*/ 445 w 810"/>
                <a:gd name="T77" fmla="*/ 260 h 812"/>
                <a:gd name="T78" fmla="*/ 551 w 810"/>
                <a:gd name="T79" fmla="*/ 443 h 812"/>
                <a:gd name="T80" fmla="*/ 369 w 810"/>
                <a:gd name="T81" fmla="*/ 548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0" h="812">
                  <a:moveTo>
                    <a:pt x="510" y="12"/>
                  </a:moveTo>
                  <a:cubicBezTo>
                    <a:pt x="505" y="10"/>
                    <a:pt x="501" y="8"/>
                    <a:pt x="497" y="8"/>
                  </a:cubicBezTo>
                  <a:cubicBezTo>
                    <a:pt x="482" y="5"/>
                    <a:pt x="468" y="2"/>
                    <a:pt x="452" y="0"/>
                  </a:cubicBezTo>
                  <a:cubicBezTo>
                    <a:pt x="439" y="33"/>
                    <a:pt x="427" y="66"/>
                    <a:pt x="416" y="98"/>
                  </a:cubicBezTo>
                  <a:lnTo>
                    <a:pt x="399" y="98"/>
                  </a:lnTo>
                  <a:lnTo>
                    <a:pt x="394" y="98"/>
                  </a:lnTo>
                  <a:cubicBezTo>
                    <a:pt x="379" y="100"/>
                    <a:pt x="365" y="101"/>
                    <a:pt x="351" y="103"/>
                  </a:cubicBezTo>
                  <a:cubicBezTo>
                    <a:pt x="340" y="105"/>
                    <a:pt x="329" y="108"/>
                    <a:pt x="318" y="112"/>
                  </a:cubicBezTo>
                  <a:cubicBezTo>
                    <a:pt x="298" y="83"/>
                    <a:pt x="276" y="55"/>
                    <a:pt x="256" y="27"/>
                  </a:cubicBezTo>
                  <a:lnTo>
                    <a:pt x="255" y="26"/>
                  </a:lnTo>
                  <a:cubicBezTo>
                    <a:pt x="247" y="28"/>
                    <a:pt x="240" y="31"/>
                    <a:pt x="234" y="35"/>
                  </a:cubicBezTo>
                  <a:cubicBezTo>
                    <a:pt x="221" y="40"/>
                    <a:pt x="210" y="46"/>
                    <a:pt x="199" y="53"/>
                  </a:cubicBezTo>
                  <a:cubicBezTo>
                    <a:pt x="181" y="62"/>
                    <a:pt x="165" y="73"/>
                    <a:pt x="150" y="87"/>
                  </a:cubicBezTo>
                  <a:lnTo>
                    <a:pt x="150" y="88"/>
                  </a:lnTo>
                  <a:cubicBezTo>
                    <a:pt x="165" y="120"/>
                    <a:pt x="179" y="151"/>
                    <a:pt x="194" y="182"/>
                  </a:cubicBezTo>
                  <a:cubicBezTo>
                    <a:pt x="185" y="191"/>
                    <a:pt x="177" y="198"/>
                    <a:pt x="170" y="208"/>
                  </a:cubicBezTo>
                  <a:cubicBezTo>
                    <a:pt x="160" y="218"/>
                    <a:pt x="151" y="231"/>
                    <a:pt x="144" y="243"/>
                  </a:cubicBezTo>
                  <a:lnTo>
                    <a:pt x="144" y="243"/>
                  </a:lnTo>
                  <a:cubicBezTo>
                    <a:pt x="140" y="248"/>
                    <a:pt x="137" y="253"/>
                    <a:pt x="135" y="260"/>
                  </a:cubicBezTo>
                  <a:cubicBezTo>
                    <a:pt x="100" y="253"/>
                    <a:pt x="65" y="247"/>
                    <a:pt x="30" y="242"/>
                  </a:cubicBezTo>
                  <a:cubicBezTo>
                    <a:pt x="24" y="257"/>
                    <a:pt x="17" y="272"/>
                    <a:pt x="12" y="288"/>
                  </a:cubicBezTo>
                  <a:cubicBezTo>
                    <a:pt x="7" y="313"/>
                    <a:pt x="2" y="337"/>
                    <a:pt x="0" y="361"/>
                  </a:cubicBezTo>
                  <a:lnTo>
                    <a:pt x="97" y="398"/>
                  </a:lnTo>
                  <a:lnTo>
                    <a:pt x="97" y="416"/>
                  </a:lnTo>
                  <a:cubicBezTo>
                    <a:pt x="97" y="430"/>
                    <a:pt x="99" y="445"/>
                    <a:pt x="102" y="460"/>
                  </a:cubicBezTo>
                  <a:cubicBezTo>
                    <a:pt x="104" y="472"/>
                    <a:pt x="108" y="485"/>
                    <a:pt x="111" y="497"/>
                  </a:cubicBezTo>
                  <a:cubicBezTo>
                    <a:pt x="82" y="517"/>
                    <a:pt x="55" y="537"/>
                    <a:pt x="26" y="558"/>
                  </a:cubicBezTo>
                  <a:cubicBezTo>
                    <a:pt x="41" y="596"/>
                    <a:pt x="62" y="631"/>
                    <a:pt x="87" y="663"/>
                  </a:cubicBezTo>
                  <a:lnTo>
                    <a:pt x="89" y="663"/>
                  </a:lnTo>
                  <a:cubicBezTo>
                    <a:pt x="120" y="648"/>
                    <a:pt x="151" y="635"/>
                    <a:pt x="184" y="620"/>
                  </a:cubicBezTo>
                  <a:lnTo>
                    <a:pt x="184" y="620"/>
                  </a:lnTo>
                  <a:cubicBezTo>
                    <a:pt x="191" y="627"/>
                    <a:pt x="199" y="633"/>
                    <a:pt x="206" y="641"/>
                  </a:cubicBezTo>
                  <a:cubicBezTo>
                    <a:pt x="217" y="651"/>
                    <a:pt x="231" y="660"/>
                    <a:pt x="246" y="668"/>
                  </a:cubicBezTo>
                  <a:cubicBezTo>
                    <a:pt x="250" y="671"/>
                    <a:pt x="255" y="673"/>
                    <a:pt x="260" y="677"/>
                  </a:cubicBezTo>
                  <a:cubicBezTo>
                    <a:pt x="254" y="711"/>
                    <a:pt x="249" y="746"/>
                    <a:pt x="244" y="781"/>
                  </a:cubicBezTo>
                  <a:cubicBezTo>
                    <a:pt x="258" y="787"/>
                    <a:pt x="271" y="792"/>
                    <a:pt x="286" y="796"/>
                  </a:cubicBezTo>
                  <a:cubicBezTo>
                    <a:pt x="290" y="797"/>
                    <a:pt x="297" y="800"/>
                    <a:pt x="310" y="802"/>
                  </a:cubicBezTo>
                  <a:cubicBezTo>
                    <a:pt x="327" y="807"/>
                    <a:pt x="345" y="810"/>
                    <a:pt x="361" y="812"/>
                  </a:cubicBezTo>
                  <a:cubicBezTo>
                    <a:pt x="375" y="778"/>
                    <a:pt x="388" y="746"/>
                    <a:pt x="399" y="712"/>
                  </a:cubicBezTo>
                  <a:lnTo>
                    <a:pt x="414" y="712"/>
                  </a:lnTo>
                  <a:lnTo>
                    <a:pt x="415" y="712"/>
                  </a:lnTo>
                  <a:cubicBezTo>
                    <a:pt x="430" y="712"/>
                    <a:pt x="444" y="711"/>
                    <a:pt x="458" y="708"/>
                  </a:cubicBezTo>
                  <a:cubicBezTo>
                    <a:pt x="470" y="706"/>
                    <a:pt x="483" y="702"/>
                    <a:pt x="495" y="698"/>
                  </a:cubicBezTo>
                  <a:cubicBezTo>
                    <a:pt x="495" y="698"/>
                    <a:pt x="495" y="700"/>
                    <a:pt x="496" y="700"/>
                  </a:cubicBezTo>
                  <a:cubicBezTo>
                    <a:pt x="516" y="728"/>
                    <a:pt x="538" y="757"/>
                    <a:pt x="558" y="786"/>
                  </a:cubicBezTo>
                  <a:cubicBezTo>
                    <a:pt x="564" y="782"/>
                    <a:pt x="570" y="780"/>
                    <a:pt x="575" y="777"/>
                  </a:cubicBezTo>
                  <a:cubicBezTo>
                    <a:pt x="588" y="772"/>
                    <a:pt x="599" y="766"/>
                    <a:pt x="610" y="760"/>
                  </a:cubicBezTo>
                  <a:cubicBezTo>
                    <a:pt x="629" y="748"/>
                    <a:pt x="646" y="736"/>
                    <a:pt x="663" y="722"/>
                  </a:cubicBezTo>
                  <a:cubicBezTo>
                    <a:pt x="649" y="690"/>
                    <a:pt x="634" y="658"/>
                    <a:pt x="619" y="626"/>
                  </a:cubicBezTo>
                  <a:lnTo>
                    <a:pt x="619" y="626"/>
                  </a:lnTo>
                  <a:cubicBezTo>
                    <a:pt x="626" y="618"/>
                    <a:pt x="633" y="611"/>
                    <a:pt x="640" y="603"/>
                  </a:cubicBezTo>
                  <a:cubicBezTo>
                    <a:pt x="649" y="592"/>
                    <a:pt x="658" y="580"/>
                    <a:pt x="665" y="568"/>
                  </a:cubicBezTo>
                  <a:cubicBezTo>
                    <a:pt x="665" y="567"/>
                    <a:pt x="666" y="566"/>
                    <a:pt x="666" y="565"/>
                  </a:cubicBezTo>
                  <a:cubicBezTo>
                    <a:pt x="669" y="561"/>
                    <a:pt x="671" y="556"/>
                    <a:pt x="674" y="552"/>
                  </a:cubicBezTo>
                  <a:cubicBezTo>
                    <a:pt x="709" y="558"/>
                    <a:pt x="744" y="563"/>
                    <a:pt x="779" y="570"/>
                  </a:cubicBezTo>
                  <a:cubicBezTo>
                    <a:pt x="785" y="555"/>
                    <a:pt x="790" y="540"/>
                    <a:pt x="795" y="523"/>
                  </a:cubicBezTo>
                  <a:cubicBezTo>
                    <a:pt x="796" y="520"/>
                    <a:pt x="798" y="516"/>
                    <a:pt x="799" y="511"/>
                  </a:cubicBezTo>
                  <a:cubicBezTo>
                    <a:pt x="800" y="507"/>
                    <a:pt x="800" y="503"/>
                    <a:pt x="803" y="498"/>
                  </a:cubicBezTo>
                  <a:cubicBezTo>
                    <a:pt x="805" y="482"/>
                    <a:pt x="809" y="466"/>
                    <a:pt x="810" y="451"/>
                  </a:cubicBezTo>
                  <a:cubicBezTo>
                    <a:pt x="778" y="437"/>
                    <a:pt x="744" y="426"/>
                    <a:pt x="711" y="413"/>
                  </a:cubicBezTo>
                  <a:lnTo>
                    <a:pt x="711" y="398"/>
                  </a:lnTo>
                  <a:cubicBezTo>
                    <a:pt x="711" y="383"/>
                    <a:pt x="710" y="367"/>
                    <a:pt x="706" y="352"/>
                  </a:cubicBezTo>
                  <a:cubicBezTo>
                    <a:pt x="705" y="341"/>
                    <a:pt x="701" y="330"/>
                    <a:pt x="699" y="318"/>
                  </a:cubicBezTo>
                  <a:cubicBezTo>
                    <a:pt x="728" y="298"/>
                    <a:pt x="756" y="277"/>
                    <a:pt x="784" y="256"/>
                  </a:cubicBezTo>
                  <a:lnTo>
                    <a:pt x="785" y="256"/>
                  </a:lnTo>
                  <a:cubicBezTo>
                    <a:pt x="770" y="218"/>
                    <a:pt x="750" y="183"/>
                    <a:pt x="723" y="151"/>
                  </a:cubicBezTo>
                  <a:lnTo>
                    <a:pt x="723" y="151"/>
                  </a:lnTo>
                  <a:cubicBezTo>
                    <a:pt x="690" y="165"/>
                    <a:pt x="659" y="180"/>
                    <a:pt x="628" y="195"/>
                  </a:cubicBezTo>
                  <a:cubicBezTo>
                    <a:pt x="619" y="186"/>
                    <a:pt x="610" y="177"/>
                    <a:pt x="601" y="170"/>
                  </a:cubicBezTo>
                  <a:cubicBezTo>
                    <a:pt x="590" y="161"/>
                    <a:pt x="579" y="152"/>
                    <a:pt x="566" y="146"/>
                  </a:cubicBezTo>
                  <a:cubicBezTo>
                    <a:pt x="563" y="142"/>
                    <a:pt x="557" y="140"/>
                    <a:pt x="554" y="137"/>
                  </a:cubicBezTo>
                  <a:cubicBezTo>
                    <a:pt x="559" y="102"/>
                    <a:pt x="565" y="67"/>
                    <a:pt x="570" y="32"/>
                  </a:cubicBezTo>
                  <a:cubicBezTo>
                    <a:pt x="555" y="26"/>
                    <a:pt x="539" y="20"/>
                    <a:pt x="523" y="15"/>
                  </a:cubicBezTo>
                  <a:cubicBezTo>
                    <a:pt x="519" y="13"/>
                    <a:pt x="514" y="12"/>
                    <a:pt x="510" y="12"/>
                  </a:cubicBezTo>
                  <a:close/>
                  <a:moveTo>
                    <a:pt x="278" y="480"/>
                  </a:moveTo>
                  <a:cubicBezTo>
                    <a:pt x="256" y="443"/>
                    <a:pt x="251" y="406"/>
                    <a:pt x="263" y="366"/>
                  </a:cubicBezTo>
                  <a:cubicBezTo>
                    <a:pt x="273" y="326"/>
                    <a:pt x="296" y="296"/>
                    <a:pt x="333" y="275"/>
                  </a:cubicBezTo>
                  <a:cubicBezTo>
                    <a:pt x="368" y="255"/>
                    <a:pt x="406" y="250"/>
                    <a:pt x="445" y="260"/>
                  </a:cubicBezTo>
                  <a:cubicBezTo>
                    <a:pt x="485" y="271"/>
                    <a:pt x="516" y="293"/>
                    <a:pt x="536" y="330"/>
                  </a:cubicBezTo>
                  <a:cubicBezTo>
                    <a:pt x="558" y="366"/>
                    <a:pt x="563" y="403"/>
                    <a:pt x="551" y="443"/>
                  </a:cubicBezTo>
                  <a:cubicBezTo>
                    <a:pt x="541" y="483"/>
                    <a:pt x="518" y="513"/>
                    <a:pt x="483" y="533"/>
                  </a:cubicBezTo>
                  <a:cubicBezTo>
                    <a:pt x="445" y="555"/>
                    <a:pt x="408" y="559"/>
                    <a:pt x="369" y="548"/>
                  </a:cubicBezTo>
                  <a:cubicBezTo>
                    <a:pt x="329" y="538"/>
                    <a:pt x="298" y="515"/>
                    <a:pt x="278" y="48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4" name="Gears"/>
            <p:cNvSpPr>
              <a:spLocks noEditPoints="1"/>
            </p:cNvSpPr>
            <p:nvPr>
              <p:custDataLst>
                <p:tags r:id="rId21"/>
              </p:custDataLst>
            </p:nvPr>
          </p:nvSpPr>
          <p:spPr bwMode="auto">
            <a:xfrm>
              <a:off x="115" y="273"/>
              <a:ext cx="104" cy="104"/>
            </a:xfrm>
            <a:custGeom>
              <a:avLst/>
              <a:gdLst>
                <a:gd name="T0" fmla="*/ 10 w 266"/>
                <a:gd name="T1" fmla="*/ 101 h 266"/>
                <a:gd name="T2" fmla="*/ 21 w 266"/>
                <a:gd name="T3" fmla="*/ 197 h 266"/>
                <a:gd name="T4" fmla="*/ 23 w 266"/>
                <a:gd name="T5" fmla="*/ 197 h 266"/>
                <a:gd name="T6" fmla="*/ 100 w 266"/>
                <a:gd name="T7" fmla="*/ 257 h 266"/>
                <a:gd name="T8" fmla="*/ 197 w 266"/>
                <a:gd name="T9" fmla="*/ 245 h 266"/>
                <a:gd name="T10" fmla="*/ 197 w 266"/>
                <a:gd name="T11" fmla="*/ 245 h 266"/>
                <a:gd name="T12" fmla="*/ 257 w 266"/>
                <a:gd name="T13" fmla="*/ 167 h 266"/>
                <a:gd name="T14" fmla="*/ 257 w 266"/>
                <a:gd name="T15" fmla="*/ 166 h 266"/>
                <a:gd name="T16" fmla="*/ 244 w 266"/>
                <a:gd name="T17" fmla="*/ 70 h 266"/>
                <a:gd name="T18" fmla="*/ 166 w 266"/>
                <a:gd name="T19" fmla="*/ 10 h 266"/>
                <a:gd name="T20" fmla="*/ 69 w 266"/>
                <a:gd name="T21" fmla="*/ 22 h 266"/>
                <a:gd name="T22" fmla="*/ 10 w 266"/>
                <a:gd name="T23" fmla="*/ 101 h 266"/>
                <a:gd name="T24" fmla="*/ 85 w 266"/>
                <a:gd name="T25" fmla="*/ 51 h 266"/>
                <a:gd name="T26" fmla="*/ 158 w 266"/>
                <a:gd name="T27" fmla="*/ 41 h 266"/>
                <a:gd name="T28" fmla="*/ 216 w 266"/>
                <a:gd name="T29" fmla="*/ 86 h 266"/>
                <a:gd name="T30" fmla="*/ 226 w 266"/>
                <a:gd name="T31" fmla="*/ 159 h 266"/>
                <a:gd name="T32" fmla="*/ 181 w 266"/>
                <a:gd name="T33" fmla="*/ 216 h 266"/>
                <a:gd name="T34" fmla="*/ 181 w 266"/>
                <a:gd name="T35" fmla="*/ 217 h 266"/>
                <a:gd name="T36" fmla="*/ 109 w 266"/>
                <a:gd name="T37" fmla="*/ 226 h 266"/>
                <a:gd name="T38" fmla="*/ 50 w 266"/>
                <a:gd name="T39" fmla="*/ 181 h 266"/>
                <a:gd name="T40" fmla="*/ 40 w 266"/>
                <a:gd name="T41" fmla="*/ 109 h 266"/>
                <a:gd name="T42" fmla="*/ 85 w 266"/>
                <a:gd name="T43" fmla="*/ 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6" h="266">
                  <a:moveTo>
                    <a:pt x="10" y="101"/>
                  </a:moveTo>
                  <a:cubicBezTo>
                    <a:pt x="0" y="135"/>
                    <a:pt x="4" y="167"/>
                    <a:pt x="21" y="197"/>
                  </a:cubicBezTo>
                  <a:lnTo>
                    <a:pt x="23" y="197"/>
                  </a:lnTo>
                  <a:cubicBezTo>
                    <a:pt x="40" y="228"/>
                    <a:pt x="66" y="247"/>
                    <a:pt x="100" y="257"/>
                  </a:cubicBezTo>
                  <a:cubicBezTo>
                    <a:pt x="134" y="266"/>
                    <a:pt x="166" y="262"/>
                    <a:pt x="197" y="245"/>
                  </a:cubicBezTo>
                  <a:lnTo>
                    <a:pt x="197" y="245"/>
                  </a:lnTo>
                  <a:cubicBezTo>
                    <a:pt x="229" y="226"/>
                    <a:pt x="248" y="201"/>
                    <a:pt x="257" y="167"/>
                  </a:cubicBezTo>
                  <a:lnTo>
                    <a:pt x="257" y="166"/>
                  </a:lnTo>
                  <a:cubicBezTo>
                    <a:pt x="266" y="132"/>
                    <a:pt x="261" y="100"/>
                    <a:pt x="244" y="70"/>
                  </a:cubicBezTo>
                  <a:cubicBezTo>
                    <a:pt x="226" y="38"/>
                    <a:pt x="200" y="18"/>
                    <a:pt x="166" y="10"/>
                  </a:cubicBezTo>
                  <a:cubicBezTo>
                    <a:pt x="132" y="0"/>
                    <a:pt x="99" y="5"/>
                    <a:pt x="69" y="22"/>
                  </a:cubicBezTo>
                  <a:cubicBezTo>
                    <a:pt x="38" y="40"/>
                    <a:pt x="19" y="66"/>
                    <a:pt x="10" y="101"/>
                  </a:cubicBezTo>
                  <a:close/>
                  <a:moveTo>
                    <a:pt x="85" y="51"/>
                  </a:moveTo>
                  <a:cubicBezTo>
                    <a:pt x="109" y="37"/>
                    <a:pt x="133" y="34"/>
                    <a:pt x="158" y="41"/>
                  </a:cubicBezTo>
                  <a:cubicBezTo>
                    <a:pt x="183" y="47"/>
                    <a:pt x="203" y="62"/>
                    <a:pt x="216" y="86"/>
                  </a:cubicBezTo>
                  <a:cubicBezTo>
                    <a:pt x="230" y="109"/>
                    <a:pt x="233" y="134"/>
                    <a:pt x="226" y="159"/>
                  </a:cubicBezTo>
                  <a:cubicBezTo>
                    <a:pt x="219" y="184"/>
                    <a:pt x="204" y="203"/>
                    <a:pt x="181" y="216"/>
                  </a:cubicBezTo>
                  <a:lnTo>
                    <a:pt x="181" y="217"/>
                  </a:lnTo>
                  <a:cubicBezTo>
                    <a:pt x="158" y="230"/>
                    <a:pt x="134" y="233"/>
                    <a:pt x="109" y="226"/>
                  </a:cubicBezTo>
                  <a:cubicBezTo>
                    <a:pt x="83" y="220"/>
                    <a:pt x="64" y="205"/>
                    <a:pt x="50" y="181"/>
                  </a:cubicBezTo>
                  <a:cubicBezTo>
                    <a:pt x="38" y="159"/>
                    <a:pt x="34" y="135"/>
                    <a:pt x="40" y="109"/>
                  </a:cubicBezTo>
                  <a:cubicBezTo>
                    <a:pt x="48" y="84"/>
                    <a:pt x="63" y="65"/>
                    <a:pt x="85" y="51"/>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58" name="Group"/>
          <p:cNvGrpSpPr>
            <a:grpSpLocks noChangeAspect="1"/>
          </p:cNvGrpSpPr>
          <p:nvPr>
            <p:custDataLst>
              <p:tags r:id="rId3"/>
            </p:custDataLst>
          </p:nvPr>
        </p:nvGrpSpPr>
        <p:grpSpPr bwMode="auto">
          <a:xfrm>
            <a:off x="254717" y="2608993"/>
            <a:ext cx="918974" cy="512990"/>
            <a:chOff x="91" y="165"/>
            <a:chExt cx="292" cy="163"/>
          </a:xfrm>
          <a:solidFill>
            <a:schemeClr val="bg1"/>
          </a:solidFill>
        </p:grpSpPr>
        <p:sp>
          <p:nvSpPr>
            <p:cNvPr id="59" name="Group"/>
            <p:cNvSpPr>
              <a:spLocks/>
            </p:cNvSpPr>
            <p:nvPr>
              <p:custDataLst>
                <p:tags r:id="rId15"/>
              </p:custDataLst>
            </p:nvPr>
          </p:nvSpPr>
          <p:spPr bwMode="auto">
            <a:xfrm>
              <a:off x="275" y="174"/>
              <a:ext cx="108" cy="114"/>
            </a:xfrm>
            <a:custGeom>
              <a:avLst/>
              <a:gdLst>
                <a:gd name="T0" fmla="*/ 227 w 286"/>
                <a:gd name="T1" fmla="*/ 213 h 302"/>
                <a:gd name="T2" fmla="*/ 275 w 286"/>
                <a:gd name="T3" fmla="*/ 302 h 302"/>
                <a:gd name="T4" fmla="*/ 129 w 286"/>
                <a:gd name="T5" fmla="*/ 302 h 302"/>
                <a:gd name="T6" fmla="*/ 80 w 286"/>
                <a:gd name="T7" fmla="*/ 259 h 302"/>
                <a:gd name="T8" fmla="*/ 70 w 286"/>
                <a:gd name="T9" fmla="*/ 256 h 302"/>
                <a:gd name="T10" fmla="*/ 1 w 286"/>
                <a:gd name="T11" fmla="*/ 225 h 302"/>
                <a:gd name="T12" fmla="*/ 14 w 286"/>
                <a:gd name="T13" fmla="*/ 210 h 302"/>
                <a:gd name="T14" fmla="*/ 85 w 286"/>
                <a:gd name="T15" fmla="*/ 174 h 302"/>
                <a:gd name="T16" fmla="*/ 88 w 286"/>
                <a:gd name="T17" fmla="*/ 174 h 302"/>
                <a:gd name="T18" fmla="*/ 86 w 286"/>
                <a:gd name="T19" fmla="*/ 172 h 302"/>
                <a:gd name="T20" fmla="*/ 48 w 286"/>
                <a:gd name="T21" fmla="*/ 77 h 302"/>
                <a:gd name="T22" fmla="*/ 117 w 286"/>
                <a:gd name="T23" fmla="*/ 0 h 302"/>
                <a:gd name="T24" fmla="*/ 185 w 286"/>
                <a:gd name="T25" fmla="*/ 80 h 302"/>
                <a:gd name="T26" fmla="*/ 144 w 286"/>
                <a:gd name="T27" fmla="*/ 173 h 302"/>
                <a:gd name="T28" fmla="*/ 227 w 286"/>
                <a:gd name="T29" fmla="*/ 21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6" h="302">
                  <a:moveTo>
                    <a:pt x="227" y="213"/>
                  </a:moveTo>
                  <a:cubicBezTo>
                    <a:pt x="286" y="231"/>
                    <a:pt x="276" y="273"/>
                    <a:pt x="275" y="302"/>
                  </a:cubicBezTo>
                  <a:lnTo>
                    <a:pt x="129" y="302"/>
                  </a:lnTo>
                  <a:cubicBezTo>
                    <a:pt x="124" y="284"/>
                    <a:pt x="111" y="268"/>
                    <a:pt x="80" y="259"/>
                  </a:cubicBezTo>
                  <a:lnTo>
                    <a:pt x="70" y="256"/>
                  </a:lnTo>
                  <a:cubicBezTo>
                    <a:pt x="29" y="244"/>
                    <a:pt x="7" y="238"/>
                    <a:pt x="1" y="225"/>
                  </a:cubicBezTo>
                  <a:cubicBezTo>
                    <a:pt x="0" y="220"/>
                    <a:pt x="0" y="215"/>
                    <a:pt x="14" y="210"/>
                  </a:cubicBezTo>
                  <a:cubicBezTo>
                    <a:pt x="58" y="197"/>
                    <a:pt x="80" y="191"/>
                    <a:pt x="85" y="174"/>
                  </a:cubicBezTo>
                  <a:lnTo>
                    <a:pt x="88" y="174"/>
                  </a:lnTo>
                  <a:cubicBezTo>
                    <a:pt x="88" y="174"/>
                    <a:pt x="87" y="173"/>
                    <a:pt x="86" y="172"/>
                  </a:cubicBezTo>
                  <a:cubicBezTo>
                    <a:pt x="64" y="151"/>
                    <a:pt x="48" y="110"/>
                    <a:pt x="48" y="77"/>
                  </a:cubicBezTo>
                  <a:cubicBezTo>
                    <a:pt x="48" y="31"/>
                    <a:pt x="84" y="0"/>
                    <a:pt x="117" y="0"/>
                  </a:cubicBezTo>
                  <a:cubicBezTo>
                    <a:pt x="151" y="0"/>
                    <a:pt x="185" y="33"/>
                    <a:pt x="185" y="80"/>
                  </a:cubicBezTo>
                  <a:cubicBezTo>
                    <a:pt x="185" y="113"/>
                    <a:pt x="167" y="152"/>
                    <a:pt x="144" y="173"/>
                  </a:cubicBezTo>
                  <a:cubicBezTo>
                    <a:pt x="149" y="192"/>
                    <a:pt x="174" y="198"/>
                    <a:pt x="227" y="213"/>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67" name="Group"/>
            <p:cNvSpPr>
              <a:spLocks/>
            </p:cNvSpPr>
            <p:nvPr>
              <p:custDataLst>
                <p:tags r:id="rId16"/>
              </p:custDataLst>
            </p:nvPr>
          </p:nvSpPr>
          <p:spPr bwMode="auto">
            <a:xfrm>
              <a:off x="150" y="165"/>
              <a:ext cx="173" cy="163"/>
            </a:xfrm>
            <a:custGeom>
              <a:avLst/>
              <a:gdLst>
                <a:gd name="T0" fmla="*/ 458 w 460"/>
                <a:gd name="T1" fmla="*/ 432 h 432"/>
                <a:gd name="T2" fmla="*/ 4 w 460"/>
                <a:gd name="T3" fmla="*/ 432 h 432"/>
                <a:gd name="T4" fmla="*/ 3 w 460"/>
                <a:gd name="T5" fmla="*/ 418 h 432"/>
                <a:gd name="T6" fmla="*/ 5 w 460"/>
                <a:gd name="T7" fmla="*/ 364 h 432"/>
                <a:gd name="T8" fmla="*/ 64 w 460"/>
                <a:gd name="T9" fmla="*/ 316 h 432"/>
                <a:gd name="T10" fmla="*/ 78 w 460"/>
                <a:gd name="T11" fmla="*/ 312 h 432"/>
                <a:gd name="T12" fmla="*/ 189 w 460"/>
                <a:gd name="T13" fmla="*/ 258 h 432"/>
                <a:gd name="T14" fmla="*/ 192 w 460"/>
                <a:gd name="T15" fmla="*/ 252 h 432"/>
                <a:gd name="T16" fmla="*/ 192 w 460"/>
                <a:gd name="T17" fmla="*/ 245 h 432"/>
                <a:gd name="T18" fmla="*/ 189 w 460"/>
                <a:gd name="T19" fmla="*/ 242 h 432"/>
                <a:gd name="T20" fmla="*/ 178 w 460"/>
                <a:gd name="T21" fmla="*/ 229 h 432"/>
                <a:gd name="T22" fmla="*/ 135 w 460"/>
                <a:gd name="T23" fmla="*/ 107 h 432"/>
                <a:gd name="T24" fmla="*/ 231 w 460"/>
                <a:gd name="T25" fmla="*/ 0 h 432"/>
                <a:gd name="T26" fmla="*/ 324 w 460"/>
                <a:gd name="T27" fmla="*/ 111 h 432"/>
                <a:gd name="T28" fmla="*/ 272 w 460"/>
                <a:gd name="T29" fmla="*/ 237 h 432"/>
                <a:gd name="T30" fmla="*/ 266 w 460"/>
                <a:gd name="T31" fmla="*/ 243 h 432"/>
                <a:gd name="T32" fmla="*/ 262 w 460"/>
                <a:gd name="T33" fmla="*/ 246 h 432"/>
                <a:gd name="T34" fmla="*/ 263 w 460"/>
                <a:gd name="T35" fmla="*/ 251 h 432"/>
                <a:gd name="T36" fmla="*/ 377 w 460"/>
                <a:gd name="T37" fmla="*/ 312 h 432"/>
                <a:gd name="T38" fmla="*/ 392 w 460"/>
                <a:gd name="T39" fmla="*/ 316 h 432"/>
                <a:gd name="T40" fmla="*/ 453 w 460"/>
                <a:gd name="T41" fmla="*/ 364 h 432"/>
                <a:gd name="T42" fmla="*/ 453 w 460"/>
                <a:gd name="T43" fmla="*/ 364 h 432"/>
                <a:gd name="T44" fmla="*/ 459 w 460"/>
                <a:gd name="T45" fmla="*/ 423 h 432"/>
                <a:gd name="T46" fmla="*/ 458 w 460"/>
                <a:gd name="T47"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0" h="432">
                  <a:moveTo>
                    <a:pt x="458" y="432"/>
                  </a:moveTo>
                  <a:lnTo>
                    <a:pt x="4" y="432"/>
                  </a:lnTo>
                  <a:cubicBezTo>
                    <a:pt x="3" y="427"/>
                    <a:pt x="3" y="423"/>
                    <a:pt x="3" y="418"/>
                  </a:cubicBezTo>
                  <a:cubicBezTo>
                    <a:pt x="1" y="400"/>
                    <a:pt x="0" y="381"/>
                    <a:pt x="5" y="364"/>
                  </a:cubicBezTo>
                  <a:cubicBezTo>
                    <a:pt x="11" y="344"/>
                    <a:pt x="27" y="327"/>
                    <a:pt x="64" y="316"/>
                  </a:cubicBezTo>
                  <a:lnTo>
                    <a:pt x="78" y="312"/>
                  </a:lnTo>
                  <a:cubicBezTo>
                    <a:pt x="143" y="293"/>
                    <a:pt x="177" y="283"/>
                    <a:pt x="189" y="258"/>
                  </a:cubicBezTo>
                  <a:lnTo>
                    <a:pt x="192" y="252"/>
                  </a:lnTo>
                  <a:lnTo>
                    <a:pt x="192" y="245"/>
                  </a:lnTo>
                  <a:cubicBezTo>
                    <a:pt x="191" y="244"/>
                    <a:pt x="191" y="243"/>
                    <a:pt x="189" y="242"/>
                  </a:cubicBezTo>
                  <a:cubicBezTo>
                    <a:pt x="186" y="238"/>
                    <a:pt x="182" y="234"/>
                    <a:pt x="178" y="229"/>
                  </a:cubicBezTo>
                  <a:cubicBezTo>
                    <a:pt x="153" y="197"/>
                    <a:pt x="135" y="148"/>
                    <a:pt x="135" y="107"/>
                  </a:cubicBezTo>
                  <a:cubicBezTo>
                    <a:pt x="135" y="55"/>
                    <a:pt x="174" y="0"/>
                    <a:pt x="231" y="0"/>
                  </a:cubicBezTo>
                  <a:cubicBezTo>
                    <a:pt x="276" y="0"/>
                    <a:pt x="324" y="45"/>
                    <a:pt x="324" y="111"/>
                  </a:cubicBezTo>
                  <a:cubicBezTo>
                    <a:pt x="324" y="153"/>
                    <a:pt x="302" y="206"/>
                    <a:pt x="272" y="237"/>
                  </a:cubicBezTo>
                  <a:cubicBezTo>
                    <a:pt x="270" y="239"/>
                    <a:pt x="268" y="241"/>
                    <a:pt x="266" y="243"/>
                  </a:cubicBezTo>
                  <a:lnTo>
                    <a:pt x="262" y="246"/>
                  </a:lnTo>
                  <a:lnTo>
                    <a:pt x="263" y="251"/>
                  </a:lnTo>
                  <a:cubicBezTo>
                    <a:pt x="271" y="281"/>
                    <a:pt x="306" y="292"/>
                    <a:pt x="377" y="312"/>
                  </a:cubicBezTo>
                  <a:lnTo>
                    <a:pt x="392" y="316"/>
                  </a:lnTo>
                  <a:cubicBezTo>
                    <a:pt x="428" y="327"/>
                    <a:pt x="445" y="345"/>
                    <a:pt x="453" y="364"/>
                  </a:cubicBezTo>
                  <a:lnTo>
                    <a:pt x="453" y="364"/>
                  </a:lnTo>
                  <a:cubicBezTo>
                    <a:pt x="460" y="383"/>
                    <a:pt x="459" y="404"/>
                    <a:pt x="459" y="423"/>
                  </a:cubicBezTo>
                  <a:cubicBezTo>
                    <a:pt x="458" y="426"/>
                    <a:pt x="458" y="429"/>
                    <a:pt x="458" y="432"/>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68" name="Group"/>
            <p:cNvSpPr>
              <a:spLocks/>
            </p:cNvSpPr>
            <p:nvPr>
              <p:custDataLst>
                <p:tags r:id="rId17"/>
              </p:custDataLst>
            </p:nvPr>
          </p:nvSpPr>
          <p:spPr bwMode="auto">
            <a:xfrm>
              <a:off x="91" y="174"/>
              <a:ext cx="107" cy="114"/>
            </a:xfrm>
            <a:custGeom>
              <a:avLst/>
              <a:gdLst>
                <a:gd name="T0" fmla="*/ 58 w 285"/>
                <a:gd name="T1" fmla="*/ 213 h 302"/>
                <a:gd name="T2" fmla="*/ 10 w 285"/>
                <a:gd name="T3" fmla="*/ 302 h 302"/>
                <a:gd name="T4" fmla="*/ 156 w 285"/>
                <a:gd name="T5" fmla="*/ 302 h 302"/>
                <a:gd name="T6" fmla="*/ 206 w 285"/>
                <a:gd name="T7" fmla="*/ 259 h 302"/>
                <a:gd name="T8" fmla="*/ 215 w 285"/>
                <a:gd name="T9" fmla="*/ 256 h 302"/>
                <a:gd name="T10" fmla="*/ 284 w 285"/>
                <a:gd name="T11" fmla="*/ 225 h 302"/>
                <a:gd name="T12" fmla="*/ 271 w 285"/>
                <a:gd name="T13" fmla="*/ 210 h 302"/>
                <a:gd name="T14" fmla="*/ 200 w 285"/>
                <a:gd name="T15" fmla="*/ 174 h 302"/>
                <a:gd name="T16" fmla="*/ 197 w 285"/>
                <a:gd name="T17" fmla="*/ 174 h 302"/>
                <a:gd name="T18" fmla="*/ 199 w 285"/>
                <a:gd name="T19" fmla="*/ 172 h 302"/>
                <a:gd name="T20" fmla="*/ 238 w 285"/>
                <a:gd name="T21" fmla="*/ 77 h 302"/>
                <a:gd name="T22" fmla="*/ 168 w 285"/>
                <a:gd name="T23" fmla="*/ 0 h 302"/>
                <a:gd name="T24" fmla="*/ 100 w 285"/>
                <a:gd name="T25" fmla="*/ 80 h 302"/>
                <a:gd name="T26" fmla="*/ 141 w 285"/>
                <a:gd name="T27" fmla="*/ 173 h 302"/>
                <a:gd name="T28" fmla="*/ 58 w 285"/>
                <a:gd name="T29" fmla="*/ 21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5" h="302">
                  <a:moveTo>
                    <a:pt x="58" y="213"/>
                  </a:moveTo>
                  <a:cubicBezTo>
                    <a:pt x="0" y="231"/>
                    <a:pt x="10" y="273"/>
                    <a:pt x="10" y="302"/>
                  </a:cubicBezTo>
                  <a:lnTo>
                    <a:pt x="156" y="302"/>
                  </a:lnTo>
                  <a:cubicBezTo>
                    <a:pt x="162" y="284"/>
                    <a:pt x="174" y="268"/>
                    <a:pt x="206" y="259"/>
                  </a:cubicBezTo>
                  <a:lnTo>
                    <a:pt x="215" y="256"/>
                  </a:lnTo>
                  <a:cubicBezTo>
                    <a:pt x="256" y="244"/>
                    <a:pt x="278" y="238"/>
                    <a:pt x="284" y="225"/>
                  </a:cubicBezTo>
                  <a:cubicBezTo>
                    <a:pt x="283" y="220"/>
                    <a:pt x="285" y="212"/>
                    <a:pt x="271" y="210"/>
                  </a:cubicBezTo>
                  <a:cubicBezTo>
                    <a:pt x="227" y="197"/>
                    <a:pt x="205" y="191"/>
                    <a:pt x="200" y="174"/>
                  </a:cubicBezTo>
                  <a:lnTo>
                    <a:pt x="197" y="174"/>
                  </a:lnTo>
                  <a:cubicBezTo>
                    <a:pt x="198" y="174"/>
                    <a:pt x="199" y="173"/>
                    <a:pt x="199" y="172"/>
                  </a:cubicBezTo>
                  <a:cubicBezTo>
                    <a:pt x="221" y="151"/>
                    <a:pt x="238" y="110"/>
                    <a:pt x="238" y="77"/>
                  </a:cubicBezTo>
                  <a:cubicBezTo>
                    <a:pt x="238" y="31"/>
                    <a:pt x="202" y="0"/>
                    <a:pt x="168" y="0"/>
                  </a:cubicBezTo>
                  <a:cubicBezTo>
                    <a:pt x="134" y="0"/>
                    <a:pt x="100" y="33"/>
                    <a:pt x="100" y="80"/>
                  </a:cubicBezTo>
                  <a:cubicBezTo>
                    <a:pt x="100" y="113"/>
                    <a:pt x="119" y="152"/>
                    <a:pt x="141" y="173"/>
                  </a:cubicBezTo>
                  <a:cubicBezTo>
                    <a:pt x="137" y="192"/>
                    <a:pt x="111" y="198"/>
                    <a:pt x="58" y="213"/>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69" name="Formula2" descr="{&quot;Key&quot;:&quot;POWER_USER_SHAPE_ICON&quot;,&quot;Value&quot;:&quot;POWER_USER_SHAPE_ICON_STYLE_1&quot;}"/>
          <p:cNvGrpSpPr>
            <a:grpSpLocks noChangeAspect="1"/>
          </p:cNvGrpSpPr>
          <p:nvPr>
            <p:custDataLst>
              <p:tags r:id="rId4"/>
            </p:custDataLst>
          </p:nvPr>
        </p:nvGrpSpPr>
        <p:grpSpPr>
          <a:xfrm>
            <a:off x="427797" y="3599372"/>
            <a:ext cx="553252" cy="677450"/>
            <a:chOff x="7532688" y="3178176"/>
            <a:chExt cx="233363" cy="285750"/>
          </a:xfrm>
          <a:solidFill>
            <a:schemeClr val="bg1"/>
          </a:solidFill>
        </p:grpSpPr>
        <p:sp>
          <p:nvSpPr>
            <p:cNvPr id="70" name="Freeform 655"/>
            <p:cNvSpPr>
              <a:spLocks noEditPoints="1"/>
            </p:cNvSpPr>
            <p:nvPr/>
          </p:nvSpPr>
          <p:spPr bwMode="auto">
            <a:xfrm>
              <a:off x="7532688" y="3178176"/>
              <a:ext cx="233363" cy="285750"/>
            </a:xfrm>
            <a:custGeom>
              <a:avLst/>
              <a:gdLst>
                <a:gd name="T0" fmla="*/ 9 w 307"/>
                <a:gd name="T1" fmla="*/ 317 h 376"/>
                <a:gd name="T2" fmla="*/ 9 w 307"/>
                <a:gd name="T3" fmla="*/ 9 h 376"/>
                <a:gd name="T4" fmla="*/ 297 w 307"/>
                <a:gd name="T5" fmla="*/ 9 h 376"/>
                <a:gd name="T6" fmla="*/ 297 w 307"/>
                <a:gd name="T7" fmla="*/ 309 h 376"/>
                <a:gd name="T8" fmla="*/ 58 w 307"/>
                <a:gd name="T9" fmla="*/ 309 h 376"/>
                <a:gd name="T10" fmla="*/ 54 w 307"/>
                <a:gd name="T11" fmla="*/ 312 h 376"/>
                <a:gd name="T12" fmla="*/ 56 w 307"/>
                <a:gd name="T13" fmla="*/ 318 h 376"/>
                <a:gd name="T14" fmla="*/ 66 w 307"/>
                <a:gd name="T15" fmla="*/ 350 h 376"/>
                <a:gd name="T16" fmla="*/ 42 w 307"/>
                <a:gd name="T17" fmla="*/ 367 h 376"/>
                <a:gd name="T18" fmla="*/ 9 w 307"/>
                <a:gd name="T19" fmla="*/ 317 h 376"/>
                <a:gd name="T20" fmla="*/ 69 w 307"/>
                <a:gd name="T21" fmla="*/ 318 h 376"/>
                <a:gd name="T22" fmla="*/ 264 w 307"/>
                <a:gd name="T23" fmla="*/ 318 h 376"/>
                <a:gd name="T24" fmla="*/ 69 w 307"/>
                <a:gd name="T25" fmla="*/ 363 h 376"/>
                <a:gd name="T26" fmla="*/ 75 w 307"/>
                <a:gd name="T27" fmla="*/ 353 h 376"/>
                <a:gd name="T28" fmla="*/ 69 w 307"/>
                <a:gd name="T29" fmla="*/ 318 h 376"/>
                <a:gd name="T30" fmla="*/ 307 w 307"/>
                <a:gd name="T31" fmla="*/ 4 h 376"/>
                <a:gd name="T32" fmla="*/ 302 w 307"/>
                <a:gd name="T33" fmla="*/ 0 h 376"/>
                <a:gd name="T34" fmla="*/ 5 w 307"/>
                <a:gd name="T35" fmla="*/ 0 h 376"/>
                <a:gd name="T36" fmla="*/ 0 w 307"/>
                <a:gd name="T37" fmla="*/ 4 h 376"/>
                <a:gd name="T38" fmla="*/ 0 w 307"/>
                <a:gd name="T39" fmla="*/ 317 h 376"/>
                <a:gd name="T40" fmla="*/ 42 w 307"/>
                <a:gd name="T41" fmla="*/ 376 h 376"/>
                <a:gd name="T42" fmla="*/ 44 w 307"/>
                <a:gd name="T43" fmla="*/ 376 h 376"/>
                <a:gd name="T44" fmla="*/ 45 w 307"/>
                <a:gd name="T45" fmla="*/ 376 h 376"/>
                <a:gd name="T46" fmla="*/ 303 w 307"/>
                <a:gd name="T47" fmla="*/ 318 h 376"/>
                <a:gd name="T48" fmla="*/ 304 w 307"/>
                <a:gd name="T49" fmla="*/ 318 h 376"/>
                <a:gd name="T50" fmla="*/ 305 w 307"/>
                <a:gd name="T51" fmla="*/ 318 h 376"/>
                <a:gd name="T52" fmla="*/ 305 w 307"/>
                <a:gd name="T53" fmla="*/ 317 h 376"/>
                <a:gd name="T54" fmla="*/ 306 w 307"/>
                <a:gd name="T55" fmla="*/ 317 h 376"/>
                <a:gd name="T56" fmla="*/ 306 w 307"/>
                <a:gd name="T57" fmla="*/ 316 h 376"/>
                <a:gd name="T58" fmla="*/ 307 w 307"/>
                <a:gd name="T59" fmla="*/ 315 h 376"/>
                <a:gd name="T60" fmla="*/ 307 w 307"/>
                <a:gd name="T61" fmla="*/ 314 h 376"/>
                <a:gd name="T62" fmla="*/ 307 w 307"/>
                <a:gd name="T63" fmla="*/ 314 h 376"/>
                <a:gd name="T64" fmla="*/ 307 w 307"/>
                <a:gd name="T65" fmla="*/ 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7" h="376">
                  <a:moveTo>
                    <a:pt x="9" y="317"/>
                  </a:moveTo>
                  <a:lnTo>
                    <a:pt x="9" y="9"/>
                  </a:lnTo>
                  <a:lnTo>
                    <a:pt x="297" y="9"/>
                  </a:lnTo>
                  <a:lnTo>
                    <a:pt x="297" y="309"/>
                  </a:lnTo>
                  <a:lnTo>
                    <a:pt x="58" y="309"/>
                  </a:lnTo>
                  <a:cubicBezTo>
                    <a:pt x="56" y="309"/>
                    <a:pt x="54" y="310"/>
                    <a:pt x="54" y="312"/>
                  </a:cubicBezTo>
                  <a:cubicBezTo>
                    <a:pt x="53" y="314"/>
                    <a:pt x="54" y="316"/>
                    <a:pt x="56" y="318"/>
                  </a:cubicBezTo>
                  <a:cubicBezTo>
                    <a:pt x="65" y="324"/>
                    <a:pt x="69" y="338"/>
                    <a:pt x="66" y="350"/>
                  </a:cubicBezTo>
                  <a:cubicBezTo>
                    <a:pt x="64" y="355"/>
                    <a:pt x="58" y="367"/>
                    <a:pt x="42" y="367"/>
                  </a:cubicBezTo>
                  <a:cubicBezTo>
                    <a:pt x="12" y="367"/>
                    <a:pt x="9" y="328"/>
                    <a:pt x="9" y="317"/>
                  </a:cubicBezTo>
                  <a:close/>
                  <a:moveTo>
                    <a:pt x="69" y="318"/>
                  </a:moveTo>
                  <a:lnTo>
                    <a:pt x="264" y="318"/>
                  </a:lnTo>
                  <a:cubicBezTo>
                    <a:pt x="211" y="332"/>
                    <a:pt x="116" y="355"/>
                    <a:pt x="69" y="363"/>
                  </a:cubicBezTo>
                  <a:cubicBezTo>
                    <a:pt x="71" y="360"/>
                    <a:pt x="73" y="357"/>
                    <a:pt x="75" y="353"/>
                  </a:cubicBezTo>
                  <a:cubicBezTo>
                    <a:pt x="78" y="341"/>
                    <a:pt x="76" y="328"/>
                    <a:pt x="69" y="318"/>
                  </a:cubicBezTo>
                  <a:close/>
                  <a:moveTo>
                    <a:pt x="307" y="4"/>
                  </a:moveTo>
                  <a:cubicBezTo>
                    <a:pt x="307" y="2"/>
                    <a:pt x="305" y="0"/>
                    <a:pt x="302" y="0"/>
                  </a:cubicBezTo>
                  <a:lnTo>
                    <a:pt x="5" y="0"/>
                  </a:lnTo>
                  <a:cubicBezTo>
                    <a:pt x="2" y="0"/>
                    <a:pt x="0" y="2"/>
                    <a:pt x="0" y="4"/>
                  </a:cubicBezTo>
                  <a:lnTo>
                    <a:pt x="0" y="317"/>
                  </a:lnTo>
                  <a:cubicBezTo>
                    <a:pt x="0" y="353"/>
                    <a:pt x="16" y="376"/>
                    <a:pt x="42" y="376"/>
                  </a:cubicBezTo>
                  <a:cubicBezTo>
                    <a:pt x="43" y="376"/>
                    <a:pt x="43" y="376"/>
                    <a:pt x="44" y="376"/>
                  </a:cubicBezTo>
                  <a:cubicBezTo>
                    <a:pt x="44" y="376"/>
                    <a:pt x="45" y="376"/>
                    <a:pt x="45" y="376"/>
                  </a:cubicBezTo>
                  <a:cubicBezTo>
                    <a:pt x="76" y="376"/>
                    <a:pt x="294" y="321"/>
                    <a:pt x="303" y="318"/>
                  </a:cubicBezTo>
                  <a:cubicBezTo>
                    <a:pt x="303" y="318"/>
                    <a:pt x="304" y="318"/>
                    <a:pt x="304" y="318"/>
                  </a:cubicBezTo>
                  <a:cubicBezTo>
                    <a:pt x="304" y="318"/>
                    <a:pt x="304" y="318"/>
                    <a:pt x="305" y="318"/>
                  </a:cubicBezTo>
                  <a:cubicBezTo>
                    <a:pt x="305" y="318"/>
                    <a:pt x="305" y="317"/>
                    <a:pt x="305" y="317"/>
                  </a:cubicBezTo>
                  <a:cubicBezTo>
                    <a:pt x="305" y="317"/>
                    <a:pt x="306" y="317"/>
                    <a:pt x="306" y="317"/>
                  </a:cubicBezTo>
                  <a:cubicBezTo>
                    <a:pt x="306" y="316"/>
                    <a:pt x="306" y="316"/>
                    <a:pt x="306" y="316"/>
                  </a:cubicBezTo>
                  <a:cubicBezTo>
                    <a:pt x="306" y="316"/>
                    <a:pt x="307" y="315"/>
                    <a:pt x="307" y="315"/>
                  </a:cubicBezTo>
                  <a:cubicBezTo>
                    <a:pt x="307" y="315"/>
                    <a:pt x="307" y="314"/>
                    <a:pt x="307" y="314"/>
                  </a:cubicBezTo>
                  <a:cubicBezTo>
                    <a:pt x="307" y="314"/>
                    <a:pt x="307" y="314"/>
                    <a:pt x="307" y="314"/>
                  </a:cubicBezTo>
                  <a:lnTo>
                    <a:pt x="307"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656"/>
            <p:cNvSpPr>
              <a:spLocks/>
            </p:cNvSpPr>
            <p:nvPr/>
          </p:nvSpPr>
          <p:spPr bwMode="auto">
            <a:xfrm>
              <a:off x="7585076" y="3419476"/>
              <a:ext cx="147638" cy="34925"/>
            </a:xfrm>
            <a:custGeom>
              <a:avLst/>
              <a:gdLst>
                <a:gd name="T0" fmla="*/ 0 w 195"/>
                <a:gd name="T1" fmla="*/ 0 h 45"/>
                <a:gd name="T2" fmla="*/ 195 w 195"/>
                <a:gd name="T3" fmla="*/ 0 h 45"/>
                <a:gd name="T4" fmla="*/ 0 w 195"/>
                <a:gd name="T5" fmla="*/ 45 h 45"/>
                <a:gd name="T6" fmla="*/ 6 w 195"/>
                <a:gd name="T7" fmla="*/ 35 h 45"/>
                <a:gd name="T8" fmla="*/ 0 w 195"/>
                <a:gd name="T9" fmla="*/ 0 h 45"/>
              </a:gdLst>
              <a:ahLst/>
              <a:cxnLst>
                <a:cxn ang="0">
                  <a:pos x="T0" y="T1"/>
                </a:cxn>
                <a:cxn ang="0">
                  <a:pos x="T2" y="T3"/>
                </a:cxn>
                <a:cxn ang="0">
                  <a:pos x="T4" y="T5"/>
                </a:cxn>
                <a:cxn ang="0">
                  <a:pos x="T6" y="T7"/>
                </a:cxn>
                <a:cxn ang="0">
                  <a:pos x="T8" y="T9"/>
                </a:cxn>
              </a:cxnLst>
              <a:rect l="0" t="0" r="r" b="b"/>
              <a:pathLst>
                <a:path w="195" h="45">
                  <a:moveTo>
                    <a:pt x="0" y="0"/>
                  </a:moveTo>
                  <a:lnTo>
                    <a:pt x="195" y="0"/>
                  </a:lnTo>
                  <a:cubicBezTo>
                    <a:pt x="142" y="14"/>
                    <a:pt x="47" y="37"/>
                    <a:pt x="0" y="45"/>
                  </a:cubicBezTo>
                  <a:cubicBezTo>
                    <a:pt x="2" y="42"/>
                    <a:pt x="4" y="39"/>
                    <a:pt x="6" y="35"/>
                  </a:cubicBezTo>
                  <a:cubicBezTo>
                    <a:pt x="9" y="23"/>
                    <a:pt x="7" y="1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657"/>
            <p:cNvSpPr>
              <a:spLocks/>
            </p:cNvSpPr>
            <p:nvPr/>
          </p:nvSpPr>
          <p:spPr bwMode="auto">
            <a:xfrm>
              <a:off x="7575551" y="3305176"/>
              <a:ext cx="96838" cy="41275"/>
            </a:xfrm>
            <a:custGeom>
              <a:avLst/>
              <a:gdLst>
                <a:gd name="T0" fmla="*/ 119 w 127"/>
                <a:gd name="T1" fmla="*/ 54 h 54"/>
                <a:gd name="T2" fmla="*/ 125 w 127"/>
                <a:gd name="T3" fmla="*/ 51 h 54"/>
                <a:gd name="T4" fmla="*/ 124 w 127"/>
                <a:gd name="T5" fmla="*/ 36 h 54"/>
                <a:gd name="T6" fmla="*/ 106 w 127"/>
                <a:gd name="T7" fmla="*/ 1 h 54"/>
                <a:gd name="T8" fmla="*/ 80 w 127"/>
                <a:gd name="T9" fmla="*/ 20 h 54"/>
                <a:gd name="T10" fmla="*/ 82 w 127"/>
                <a:gd name="T11" fmla="*/ 27 h 54"/>
                <a:gd name="T12" fmla="*/ 64 w 127"/>
                <a:gd name="T13" fmla="*/ 45 h 54"/>
                <a:gd name="T14" fmla="*/ 45 w 127"/>
                <a:gd name="T15" fmla="*/ 27 h 54"/>
                <a:gd name="T16" fmla="*/ 64 w 127"/>
                <a:gd name="T17" fmla="*/ 9 h 54"/>
                <a:gd name="T18" fmla="*/ 75 w 127"/>
                <a:gd name="T19" fmla="*/ 13 h 54"/>
                <a:gd name="T20" fmla="*/ 92 w 127"/>
                <a:gd name="T21" fmla="*/ 0 h 54"/>
                <a:gd name="T22" fmla="*/ 22 w 127"/>
                <a:gd name="T23" fmla="*/ 0 h 54"/>
                <a:gd name="T24" fmla="*/ 4 w 127"/>
                <a:gd name="T25" fmla="*/ 36 h 54"/>
                <a:gd name="T26" fmla="*/ 2 w 127"/>
                <a:gd name="T27" fmla="*/ 51 h 54"/>
                <a:gd name="T28" fmla="*/ 8 w 127"/>
                <a:gd name="T29" fmla="*/ 54 h 54"/>
                <a:gd name="T30" fmla="*/ 119 w 127"/>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 h="54">
                  <a:moveTo>
                    <a:pt x="119" y="54"/>
                  </a:moveTo>
                  <a:cubicBezTo>
                    <a:pt x="122" y="54"/>
                    <a:pt x="124" y="53"/>
                    <a:pt x="125" y="51"/>
                  </a:cubicBezTo>
                  <a:cubicBezTo>
                    <a:pt x="127" y="48"/>
                    <a:pt x="126" y="42"/>
                    <a:pt x="124" y="36"/>
                  </a:cubicBezTo>
                  <a:cubicBezTo>
                    <a:pt x="122" y="33"/>
                    <a:pt x="116" y="21"/>
                    <a:pt x="106" y="1"/>
                  </a:cubicBezTo>
                  <a:lnTo>
                    <a:pt x="80" y="20"/>
                  </a:lnTo>
                  <a:cubicBezTo>
                    <a:pt x="81" y="22"/>
                    <a:pt x="82" y="25"/>
                    <a:pt x="82" y="27"/>
                  </a:cubicBezTo>
                  <a:cubicBezTo>
                    <a:pt x="82" y="37"/>
                    <a:pt x="74" y="45"/>
                    <a:pt x="64" y="45"/>
                  </a:cubicBezTo>
                  <a:cubicBezTo>
                    <a:pt x="54" y="45"/>
                    <a:pt x="45" y="37"/>
                    <a:pt x="45" y="27"/>
                  </a:cubicBezTo>
                  <a:cubicBezTo>
                    <a:pt x="45" y="17"/>
                    <a:pt x="54" y="9"/>
                    <a:pt x="64" y="9"/>
                  </a:cubicBezTo>
                  <a:cubicBezTo>
                    <a:pt x="68" y="9"/>
                    <a:pt x="72" y="10"/>
                    <a:pt x="75" y="13"/>
                  </a:cubicBezTo>
                  <a:lnTo>
                    <a:pt x="92" y="0"/>
                  </a:lnTo>
                  <a:lnTo>
                    <a:pt x="22" y="0"/>
                  </a:lnTo>
                  <a:cubicBezTo>
                    <a:pt x="12" y="20"/>
                    <a:pt x="5" y="33"/>
                    <a:pt x="4" y="36"/>
                  </a:cubicBezTo>
                  <a:cubicBezTo>
                    <a:pt x="1" y="42"/>
                    <a:pt x="0" y="48"/>
                    <a:pt x="2" y="51"/>
                  </a:cubicBezTo>
                  <a:cubicBezTo>
                    <a:pt x="3" y="53"/>
                    <a:pt x="5" y="54"/>
                    <a:pt x="8" y="54"/>
                  </a:cubicBezTo>
                  <a:lnTo>
                    <a:pt x="119" y="5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661"/>
            <p:cNvSpPr>
              <a:spLocks noEditPoints="1"/>
            </p:cNvSpPr>
            <p:nvPr/>
          </p:nvSpPr>
          <p:spPr bwMode="auto">
            <a:xfrm>
              <a:off x="7569201" y="3232151"/>
              <a:ext cx="177800" cy="122238"/>
            </a:xfrm>
            <a:custGeom>
              <a:avLst/>
              <a:gdLst>
                <a:gd name="T0" fmla="*/ 82 w 235"/>
                <a:gd name="T1" fmla="*/ 123 h 160"/>
                <a:gd name="T2" fmla="*/ 74 w 235"/>
                <a:gd name="T3" fmla="*/ 132 h 160"/>
                <a:gd name="T4" fmla="*/ 65 w 235"/>
                <a:gd name="T5" fmla="*/ 123 h 160"/>
                <a:gd name="T6" fmla="*/ 74 w 235"/>
                <a:gd name="T7" fmla="*/ 114 h 160"/>
                <a:gd name="T8" fmla="*/ 80 w 235"/>
                <a:gd name="T9" fmla="*/ 117 h 160"/>
                <a:gd name="T10" fmla="*/ 80 w 235"/>
                <a:gd name="T11" fmla="*/ 118 h 160"/>
                <a:gd name="T12" fmla="*/ 81 w 235"/>
                <a:gd name="T13" fmla="*/ 118 h 160"/>
                <a:gd name="T14" fmla="*/ 82 w 235"/>
                <a:gd name="T15" fmla="*/ 123 h 160"/>
                <a:gd name="T16" fmla="*/ 14 w 235"/>
                <a:gd name="T17" fmla="*/ 132 h 160"/>
                <a:gd name="T18" fmla="*/ 32 w 235"/>
                <a:gd name="T19" fmla="*/ 96 h 160"/>
                <a:gd name="T20" fmla="*/ 102 w 235"/>
                <a:gd name="T21" fmla="*/ 96 h 160"/>
                <a:gd name="T22" fmla="*/ 85 w 235"/>
                <a:gd name="T23" fmla="*/ 109 h 160"/>
                <a:gd name="T24" fmla="*/ 74 w 235"/>
                <a:gd name="T25" fmla="*/ 105 h 160"/>
                <a:gd name="T26" fmla="*/ 55 w 235"/>
                <a:gd name="T27" fmla="*/ 123 h 160"/>
                <a:gd name="T28" fmla="*/ 74 w 235"/>
                <a:gd name="T29" fmla="*/ 141 h 160"/>
                <a:gd name="T30" fmla="*/ 92 w 235"/>
                <a:gd name="T31" fmla="*/ 123 h 160"/>
                <a:gd name="T32" fmla="*/ 90 w 235"/>
                <a:gd name="T33" fmla="*/ 116 h 160"/>
                <a:gd name="T34" fmla="*/ 116 w 235"/>
                <a:gd name="T35" fmla="*/ 97 h 160"/>
                <a:gd name="T36" fmla="*/ 134 w 235"/>
                <a:gd name="T37" fmla="*/ 132 h 160"/>
                <a:gd name="T38" fmla="*/ 135 w 235"/>
                <a:gd name="T39" fmla="*/ 147 h 160"/>
                <a:gd name="T40" fmla="*/ 129 w 235"/>
                <a:gd name="T41" fmla="*/ 150 h 160"/>
                <a:gd name="T42" fmla="*/ 18 w 235"/>
                <a:gd name="T43" fmla="*/ 150 h 160"/>
                <a:gd name="T44" fmla="*/ 12 w 235"/>
                <a:gd name="T45" fmla="*/ 147 h 160"/>
                <a:gd name="T46" fmla="*/ 14 w 235"/>
                <a:gd name="T47" fmla="*/ 132 h 160"/>
                <a:gd name="T48" fmla="*/ 59 w 235"/>
                <a:gd name="T49" fmla="*/ 42 h 160"/>
                <a:gd name="T50" fmla="*/ 60 w 235"/>
                <a:gd name="T51" fmla="*/ 40 h 160"/>
                <a:gd name="T52" fmla="*/ 61 w 235"/>
                <a:gd name="T53" fmla="*/ 38 h 160"/>
                <a:gd name="T54" fmla="*/ 61 w 235"/>
                <a:gd name="T55" fmla="*/ 10 h 160"/>
                <a:gd name="T56" fmla="*/ 87 w 235"/>
                <a:gd name="T57" fmla="*/ 10 h 160"/>
                <a:gd name="T58" fmla="*/ 87 w 235"/>
                <a:gd name="T59" fmla="*/ 38 h 160"/>
                <a:gd name="T60" fmla="*/ 87 w 235"/>
                <a:gd name="T61" fmla="*/ 40 h 160"/>
                <a:gd name="T62" fmla="*/ 88 w 235"/>
                <a:gd name="T63" fmla="*/ 42 h 160"/>
                <a:gd name="T64" fmla="*/ 110 w 235"/>
                <a:gd name="T65" fmla="*/ 86 h 160"/>
                <a:gd name="T66" fmla="*/ 37 w 235"/>
                <a:gd name="T67" fmla="*/ 86 h 160"/>
                <a:gd name="T68" fmla="*/ 59 w 235"/>
                <a:gd name="T69" fmla="*/ 42 h 160"/>
                <a:gd name="T70" fmla="*/ 129 w 235"/>
                <a:gd name="T71" fmla="*/ 160 h 160"/>
                <a:gd name="T72" fmla="*/ 143 w 235"/>
                <a:gd name="T73" fmla="*/ 152 h 160"/>
                <a:gd name="T74" fmla="*/ 142 w 235"/>
                <a:gd name="T75" fmla="*/ 128 h 160"/>
                <a:gd name="T76" fmla="*/ 123 w 235"/>
                <a:gd name="T77" fmla="*/ 91 h 160"/>
                <a:gd name="T78" fmla="*/ 162 w 235"/>
                <a:gd name="T79" fmla="*/ 62 h 160"/>
                <a:gd name="T80" fmla="*/ 230 w 235"/>
                <a:gd name="T81" fmla="*/ 62 h 160"/>
                <a:gd name="T82" fmla="*/ 235 w 235"/>
                <a:gd name="T83" fmla="*/ 57 h 160"/>
                <a:gd name="T84" fmla="*/ 230 w 235"/>
                <a:gd name="T85" fmla="*/ 53 h 160"/>
                <a:gd name="T86" fmla="*/ 161 w 235"/>
                <a:gd name="T87" fmla="*/ 53 h 160"/>
                <a:gd name="T88" fmla="*/ 158 w 235"/>
                <a:gd name="T89" fmla="*/ 54 h 160"/>
                <a:gd name="T90" fmla="*/ 119 w 235"/>
                <a:gd name="T91" fmla="*/ 83 h 160"/>
                <a:gd name="T92" fmla="*/ 97 w 235"/>
                <a:gd name="T93" fmla="*/ 38 h 160"/>
                <a:gd name="T94" fmla="*/ 96 w 235"/>
                <a:gd name="T95" fmla="*/ 37 h 160"/>
                <a:gd name="T96" fmla="*/ 96 w 235"/>
                <a:gd name="T97" fmla="*/ 10 h 160"/>
                <a:gd name="T98" fmla="*/ 108 w 235"/>
                <a:gd name="T99" fmla="*/ 10 h 160"/>
                <a:gd name="T100" fmla="*/ 112 w 235"/>
                <a:gd name="T101" fmla="*/ 5 h 160"/>
                <a:gd name="T102" fmla="*/ 108 w 235"/>
                <a:gd name="T103" fmla="*/ 0 h 160"/>
                <a:gd name="T104" fmla="*/ 40 w 235"/>
                <a:gd name="T105" fmla="*/ 0 h 160"/>
                <a:gd name="T106" fmla="*/ 35 w 235"/>
                <a:gd name="T107" fmla="*/ 5 h 160"/>
                <a:gd name="T108" fmla="*/ 40 w 235"/>
                <a:gd name="T109" fmla="*/ 10 h 160"/>
                <a:gd name="T110" fmla="*/ 51 w 235"/>
                <a:gd name="T111" fmla="*/ 10 h 160"/>
                <a:gd name="T112" fmla="*/ 51 w 235"/>
                <a:gd name="T113" fmla="*/ 37 h 160"/>
                <a:gd name="T114" fmla="*/ 50 w 235"/>
                <a:gd name="T115" fmla="*/ 38 h 160"/>
                <a:gd name="T116" fmla="*/ 5 w 235"/>
                <a:gd name="T117" fmla="*/ 128 h 160"/>
                <a:gd name="T118" fmla="*/ 4 w 235"/>
                <a:gd name="T119" fmla="*/ 152 h 160"/>
                <a:gd name="T120" fmla="*/ 18 w 235"/>
                <a:gd name="T121" fmla="*/ 160 h 160"/>
                <a:gd name="T122" fmla="*/ 129 w 235"/>
                <a:gd name="T123"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5" h="160">
                  <a:moveTo>
                    <a:pt x="82" y="123"/>
                  </a:moveTo>
                  <a:cubicBezTo>
                    <a:pt x="82" y="128"/>
                    <a:pt x="78" y="132"/>
                    <a:pt x="74" y="132"/>
                  </a:cubicBezTo>
                  <a:cubicBezTo>
                    <a:pt x="69" y="132"/>
                    <a:pt x="65" y="128"/>
                    <a:pt x="65" y="123"/>
                  </a:cubicBezTo>
                  <a:cubicBezTo>
                    <a:pt x="65" y="118"/>
                    <a:pt x="69" y="114"/>
                    <a:pt x="74" y="114"/>
                  </a:cubicBezTo>
                  <a:cubicBezTo>
                    <a:pt x="76" y="114"/>
                    <a:pt x="78" y="115"/>
                    <a:pt x="80" y="117"/>
                  </a:cubicBezTo>
                  <a:cubicBezTo>
                    <a:pt x="80" y="118"/>
                    <a:pt x="80" y="118"/>
                    <a:pt x="80" y="118"/>
                  </a:cubicBezTo>
                  <a:cubicBezTo>
                    <a:pt x="81" y="118"/>
                    <a:pt x="81" y="118"/>
                    <a:pt x="81" y="118"/>
                  </a:cubicBezTo>
                  <a:cubicBezTo>
                    <a:pt x="82" y="120"/>
                    <a:pt x="82" y="121"/>
                    <a:pt x="82" y="123"/>
                  </a:cubicBezTo>
                  <a:close/>
                  <a:moveTo>
                    <a:pt x="14" y="132"/>
                  </a:moveTo>
                  <a:cubicBezTo>
                    <a:pt x="15" y="129"/>
                    <a:pt x="22" y="116"/>
                    <a:pt x="32" y="96"/>
                  </a:cubicBezTo>
                  <a:lnTo>
                    <a:pt x="102" y="96"/>
                  </a:lnTo>
                  <a:lnTo>
                    <a:pt x="85" y="109"/>
                  </a:lnTo>
                  <a:cubicBezTo>
                    <a:pt x="82" y="106"/>
                    <a:pt x="78" y="105"/>
                    <a:pt x="74" y="105"/>
                  </a:cubicBezTo>
                  <a:cubicBezTo>
                    <a:pt x="64" y="105"/>
                    <a:pt x="55" y="113"/>
                    <a:pt x="55" y="123"/>
                  </a:cubicBezTo>
                  <a:cubicBezTo>
                    <a:pt x="55" y="133"/>
                    <a:pt x="64" y="141"/>
                    <a:pt x="74" y="141"/>
                  </a:cubicBezTo>
                  <a:cubicBezTo>
                    <a:pt x="84" y="141"/>
                    <a:pt x="92" y="133"/>
                    <a:pt x="92" y="123"/>
                  </a:cubicBezTo>
                  <a:cubicBezTo>
                    <a:pt x="92" y="121"/>
                    <a:pt x="91" y="118"/>
                    <a:pt x="90" y="116"/>
                  </a:cubicBezTo>
                  <a:lnTo>
                    <a:pt x="116" y="97"/>
                  </a:lnTo>
                  <a:cubicBezTo>
                    <a:pt x="126" y="117"/>
                    <a:pt x="132" y="129"/>
                    <a:pt x="134" y="132"/>
                  </a:cubicBezTo>
                  <a:cubicBezTo>
                    <a:pt x="136" y="138"/>
                    <a:pt x="137" y="144"/>
                    <a:pt x="135" y="147"/>
                  </a:cubicBezTo>
                  <a:cubicBezTo>
                    <a:pt x="134" y="149"/>
                    <a:pt x="132" y="150"/>
                    <a:pt x="129" y="150"/>
                  </a:cubicBezTo>
                  <a:lnTo>
                    <a:pt x="18" y="150"/>
                  </a:lnTo>
                  <a:cubicBezTo>
                    <a:pt x="15" y="150"/>
                    <a:pt x="13" y="149"/>
                    <a:pt x="12" y="147"/>
                  </a:cubicBezTo>
                  <a:cubicBezTo>
                    <a:pt x="10" y="144"/>
                    <a:pt x="11" y="138"/>
                    <a:pt x="14" y="132"/>
                  </a:cubicBezTo>
                  <a:close/>
                  <a:moveTo>
                    <a:pt x="59" y="42"/>
                  </a:moveTo>
                  <a:lnTo>
                    <a:pt x="60" y="40"/>
                  </a:lnTo>
                  <a:cubicBezTo>
                    <a:pt x="60" y="39"/>
                    <a:pt x="61" y="39"/>
                    <a:pt x="61" y="38"/>
                  </a:cubicBezTo>
                  <a:lnTo>
                    <a:pt x="61" y="10"/>
                  </a:lnTo>
                  <a:lnTo>
                    <a:pt x="87" y="10"/>
                  </a:lnTo>
                  <a:lnTo>
                    <a:pt x="87" y="38"/>
                  </a:lnTo>
                  <a:cubicBezTo>
                    <a:pt x="87" y="39"/>
                    <a:pt x="87" y="39"/>
                    <a:pt x="87" y="40"/>
                  </a:cubicBezTo>
                  <a:lnTo>
                    <a:pt x="88" y="42"/>
                  </a:lnTo>
                  <a:cubicBezTo>
                    <a:pt x="97" y="59"/>
                    <a:pt x="104" y="74"/>
                    <a:pt x="110" y="86"/>
                  </a:cubicBezTo>
                  <a:lnTo>
                    <a:pt x="37" y="86"/>
                  </a:lnTo>
                  <a:cubicBezTo>
                    <a:pt x="43" y="74"/>
                    <a:pt x="50" y="59"/>
                    <a:pt x="59" y="42"/>
                  </a:cubicBezTo>
                  <a:close/>
                  <a:moveTo>
                    <a:pt x="129" y="160"/>
                  </a:moveTo>
                  <a:cubicBezTo>
                    <a:pt x="135" y="160"/>
                    <a:pt x="140" y="157"/>
                    <a:pt x="143" y="152"/>
                  </a:cubicBezTo>
                  <a:cubicBezTo>
                    <a:pt x="147" y="146"/>
                    <a:pt x="146" y="137"/>
                    <a:pt x="142" y="128"/>
                  </a:cubicBezTo>
                  <a:cubicBezTo>
                    <a:pt x="140" y="125"/>
                    <a:pt x="134" y="112"/>
                    <a:pt x="123" y="91"/>
                  </a:cubicBezTo>
                  <a:lnTo>
                    <a:pt x="162" y="62"/>
                  </a:lnTo>
                  <a:lnTo>
                    <a:pt x="230" y="62"/>
                  </a:lnTo>
                  <a:cubicBezTo>
                    <a:pt x="233" y="62"/>
                    <a:pt x="235" y="60"/>
                    <a:pt x="235" y="57"/>
                  </a:cubicBezTo>
                  <a:cubicBezTo>
                    <a:pt x="235" y="55"/>
                    <a:pt x="233" y="53"/>
                    <a:pt x="230" y="53"/>
                  </a:cubicBezTo>
                  <a:lnTo>
                    <a:pt x="161" y="53"/>
                  </a:lnTo>
                  <a:cubicBezTo>
                    <a:pt x="160" y="53"/>
                    <a:pt x="159" y="53"/>
                    <a:pt x="158" y="54"/>
                  </a:cubicBezTo>
                  <a:lnTo>
                    <a:pt x="119" y="83"/>
                  </a:lnTo>
                  <a:cubicBezTo>
                    <a:pt x="113" y="70"/>
                    <a:pt x="105" y="55"/>
                    <a:pt x="97" y="38"/>
                  </a:cubicBezTo>
                  <a:lnTo>
                    <a:pt x="96" y="37"/>
                  </a:lnTo>
                  <a:lnTo>
                    <a:pt x="96" y="10"/>
                  </a:lnTo>
                  <a:lnTo>
                    <a:pt x="108" y="10"/>
                  </a:lnTo>
                  <a:cubicBezTo>
                    <a:pt x="110" y="10"/>
                    <a:pt x="112" y="8"/>
                    <a:pt x="112" y="5"/>
                  </a:cubicBezTo>
                  <a:cubicBezTo>
                    <a:pt x="112" y="2"/>
                    <a:pt x="110" y="0"/>
                    <a:pt x="108" y="0"/>
                  </a:cubicBezTo>
                  <a:lnTo>
                    <a:pt x="40" y="0"/>
                  </a:lnTo>
                  <a:cubicBezTo>
                    <a:pt x="37" y="0"/>
                    <a:pt x="35" y="2"/>
                    <a:pt x="35" y="5"/>
                  </a:cubicBezTo>
                  <a:cubicBezTo>
                    <a:pt x="35" y="8"/>
                    <a:pt x="37" y="10"/>
                    <a:pt x="40" y="10"/>
                  </a:cubicBezTo>
                  <a:lnTo>
                    <a:pt x="51" y="10"/>
                  </a:lnTo>
                  <a:lnTo>
                    <a:pt x="51" y="37"/>
                  </a:lnTo>
                  <a:lnTo>
                    <a:pt x="50" y="38"/>
                  </a:lnTo>
                  <a:cubicBezTo>
                    <a:pt x="24" y="90"/>
                    <a:pt x="8" y="122"/>
                    <a:pt x="5" y="128"/>
                  </a:cubicBezTo>
                  <a:cubicBezTo>
                    <a:pt x="1" y="137"/>
                    <a:pt x="0" y="146"/>
                    <a:pt x="4" y="152"/>
                  </a:cubicBezTo>
                  <a:cubicBezTo>
                    <a:pt x="7" y="157"/>
                    <a:pt x="12" y="160"/>
                    <a:pt x="18" y="160"/>
                  </a:cubicBezTo>
                  <a:lnTo>
                    <a:pt x="129" y="16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662"/>
            <p:cNvSpPr>
              <a:spLocks/>
            </p:cNvSpPr>
            <p:nvPr/>
          </p:nvSpPr>
          <p:spPr bwMode="auto">
            <a:xfrm>
              <a:off x="7575551" y="3344864"/>
              <a:ext cx="168275" cy="39688"/>
            </a:xfrm>
            <a:custGeom>
              <a:avLst/>
              <a:gdLst>
                <a:gd name="T0" fmla="*/ 210 w 219"/>
                <a:gd name="T1" fmla="*/ 3 h 52"/>
                <a:gd name="T2" fmla="*/ 181 w 219"/>
                <a:gd name="T3" fmla="*/ 40 h 52"/>
                <a:gd name="T4" fmla="*/ 159 w 219"/>
                <a:gd name="T5" fmla="*/ 13 h 52"/>
                <a:gd name="T6" fmla="*/ 152 w 219"/>
                <a:gd name="T7" fmla="*/ 13 h 52"/>
                <a:gd name="T8" fmla="*/ 152 w 219"/>
                <a:gd name="T9" fmla="*/ 19 h 52"/>
                <a:gd name="T10" fmla="*/ 171 w 219"/>
                <a:gd name="T11" fmla="*/ 42 h 52"/>
                <a:gd name="T12" fmla="*/ 4 w 219"/>
                <a:gd name="T13" fmla="*/ 42 h 52"/>
                <a:gd name="T14" fmla="*/ 0 w 219"/>
                <a:gd name="T15" fmla="*/ 47 h 52"/>
                <a:gd name="T16" fmla="*/ 4 w 219"/>
                <a:gd name="T17" fmla="*/ 52 h 52"/>
                <a:gd name="T18" fmla="*/ 181 w 219"/>
                <a:gd name="T19" fmla="*/ 52 h 52"/>
                <a:gd name="T20" fmla="*/ 181 w 219"/>
                <a:gd name="T21" fmla="*/ 52 h 52"/>
                <a:gd name="T22" fmla="*/ 212 w 219"/>
                <a:gd name="T23" fmla="*/ 52 h 52"/>
                <a:gd name="T24" fmla="*/ 217 w 219"/>
                <a:gd name="T25" fmla="*/ 47 h 52"/>
                <a:gd name="T26" fmla="*/ 212 w 219"/>
                <a:gd name="T27" fmla="*/ 42 h 52"/>
                <a:gd name="T28" fmla="*/ 191 w 219"/>
                <a:gd name="T29" fmla="*/ 42 h 52"/>
                <a:gd name="T30" fmla="*/ 217 w 219"/>
                <a:gd name="T31" fmla="*/ 9 h 52"/>
                <a:gd name="T32" fmla="*/ 217 w 219"/>
                <a:gd name="T33" fmla="*/ 2 h 52"/>
                <a:gd name="T34" fmla="*/ 210 w 219"/>
                <a:gd name="T35"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9" h="52">
                  <a:moveTo>
                    <a:pt x="210" y="3"/>
                  </a:moveTo>
                  <a:lnTo>
                    <a:pt x="181" y="40"/>
                  </a:lnTo>
                  <a:lnTo>
                    <a:pt x="159" y="13"/>
                  </a:lnTo>
                  <a:cubicBezTo>
                    <a:pt x="157" y="11"/>
                    <a:pt x="154" y="11"/>
                    <a:pt x="152" y="13"/>
                  </a:cubicBezTo>
                  <a:cubicBezTo>
                    <a:pt x="150" y="14"/>
                    <a:pt x="150" y="17"/>
                    <a:pt x="152" y="19"/>
                  </a:cubicBezTo>
                  <a:lnTo>
                    <a:pt x="171" y="42"/>
                  </a:lnTo>
                  <a:lnTo>
                    <a:pt x="4" y="42"/>
                  </a:lnTo>
                  <a:cubicBezTo>
                    <a:pt x="2" y="42"/>
                    <a:pt x="0" y="45"/>
                    <a:pt x="0" y="47"/>
                  </a:cubicBezTo>
                  <a:cubicBezTo>
                    <a:pt x="0" y="50"/>
                    <a:pt x="2" y="52"/>
                    <a:pt x="4" y="52"/>
                  </a:cubicBezTo>
                  <a:lnTo>
                    <a:pt x="181" y="52"/>
                  </a:lnTo>
                  <a:lnTo>
                    <a:pt x="181" y="52"/>
                  </a:lnTo>
                  <a:lnTo>
                    <a:pt x="212" y="52"/>
                  </a:lnTo>
                  <a:cubicBezTo>
                    <a:pt x="215" y="52"/>
                    <a:pt x="217" y="50"/>
                    <a:pt x="217" y="47"/>
                  </a:cubicBezTo>
                  <a:cubicBezTo>
                    <a:pt x="217" y="45"/>
                    <a:pt x="215" y="42"/>
                    <a:pt x="212" y="42"/>
                  </a:cubicBezTo>
                  <a:lnTo>
                    <a:pt x="191" y="42"/>
                  </a:lnTo>
                  <a:lnTo>
                    <a:pt x="217" y="9"/>
                  </a:lnTo>
                  <a:cubicBezTo>
                    <a:pt x="219" y="6"/>
                    <a:pt x="219" y="4"/>
                    <a:pt x="217" y="2"/>
                  </a:cubicBezTo>
                  <a:cubicBezTo>
                    <a:pt x="215" y="0"/>
                    <a:pt x="212" y="1"/>
                    <a:pt x="210"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663"/>
            <p:cNvSpPr>
              <a:spLocks noEditPoints="1"/>
            </p:cNvSpPr>
            <p:nvPr/>
          </p:nvSpPr>
          <p:spPr bwMode="auto">
            <a:xfrm>
              <a:off x="7689851" y="3205164"/>
              <a:ext cx="53975" cy="61913"/>
            </a:xfrm>
            <a:custGeom>
              <a:avLst/>
              <a:gdLst>
                <a:gd name="T0" fmla="*/ 9 w 71"/>
                <a:gd name="T1" fmla="*/ 26 h 82"/>
                <a:gd name="T2" fmla="*/ 36 w 71"/>
                <a:gd name="T3" fmla="*/ 11 h 82"/>
                <a:gd name="T4" fmla="*/ 62 w 71"/>
                <a:gd name="T5" fmla="*/ 26 h 82"/>
                <a:gd name="T6" fmla="*/ 62 w 71"/>
                <a:gd name="T7" fmla="*/ 56 h 82"/>
                <a:gd name="T8" fmla="*/ 36 w 71"/>
                <a:gd name="T9" fmla="*/ 72 h 82"/>
                <a:gd name="T10" fmla="*/ 9 w 71"/>
                <a:gd name="T11" fmla="*/ 56 h 82"/>
                <a:gd name="T12" fmla="*/ 9 w 71"/>
                <a:gd name="T13" fmla="*/ 26 h 82"/>
                <a:gd name="T14" fmla="*/ 2 w 71"/>
                <a:gd name="T15" fmla="*/ 63 h 82"/>
                <a:gd name="T16" fmla="*/ 33 w 71"/>
                <a:gd name="T17" fmla="*/ 81 h 82"/>
                <a:gd name="T18" fmla="*/ 36 w 71"/>
                <a:gd name="T19" fmla="*/ 82 h 82"/>
                <a:gd name="T20" fmla="*/ 38 w 71"/>
                <a:gd name="T21" fmla="*/ 81 h 82"/>
                <a:gd name="T22" fmla="*/ 69 w 71"/>
                <a:gd name="T23" fmla="*/ 63 h 82"/>
                <a:gd name="T24" fmla="*/ 71 w 71"/>
                <a:gd name="T25" fmla="*/ 59 h 82"/>
                <a:gd name="T26" fmla="*/ 71 w 71"/>
                <a:gd name="T27" fmla="*/ 23 h 82"/>
                <a:gd name="T28" fmla="*/ 69 w 71"/>
                <a:gd name="T29" fmla="*/ 19 h 82"/>
                <a:gd name="T30" fmla="*/ 38 w 71"/>
                <a:gd name="T31" fmla="*/ 1 h 82"/>
                <a:gd name="T32" fmla="*/ 33 w 71"/>
                <a:gd name="T33" fmla="*/ 1 h 82"/>
                <a:gd name="T34" fmla="*/ 2 w 71"/>
                <a:gd name="T35" fmla="*/ 19 h 82"/>
                <a:gd name="T36" fmla="*/ 0 w 71"/>
                <a:gd name="T37" fmla="*/ 23 h 82"/>
                <a:gd name="T38" fmla="*/ 0 w 71"/>
                <a:gd name="T39" fmla="*/ 59 h 82"/>
                <a:gd name="T40" fmla="*/ 2 w 71"/>
                <a:gd name="T41" fmla="*/ 6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82">
                  <a:moveTo>
                    <a:pt x="9" y="26"/>
                  </a:moveTo>
                  <a:lnTo>
                    <a:pt x="36" y="11"/>
                  </a:lnTo>
                  <a:lnTo>
                    <a:pt x="62" y="26"/>
                  </a:lnTo>
                  <a:lnTo>
                    <a:pt x="62" y="56"/>
                  </a:lnTo>
                  <a:lnTo>
                    <a:pt x="36" y="72"/>
                  </a:lnTo>
                  <a:lnTo>
                    <a:pt x="9" y="56"/>
                  </a:lnTo>
                  <a:lnTo>
                    <a:pt x="9" y="26"/>
                  </a:lnTo>
                  <a:close/>
                  <a:moveTo>
                    <a:pt x="2" y="63"/>
                  </a:moveTo>
                  <a:lnTo>
                    <a:pt x="33" y="81"/>
                  </a:lnTo>
                  <a:cubicBezTo>
                    <a:pt x="34" y="82"/>
                    <a:pt x="35" y="82"/>
                    <a:pt x="36" y="82"/>
                  </a:cubicBezTo>
                  <a:cubicBezTo>
                    <a:pt x="36" y="82"/>
                    <a:pt x="37" y="82"/>
                    <a:pt x="38" y="81"/>
                  </a:cubicBezTo>
                  <a:lnTo>
                    <a:pt x="69" y="63"/>
                  </a:lnTo>
                  <a:cubicBezTo>
                    <a:pt x="71" y="62"/>
                    <a:pt x="71" y="61"/>
                    <a:pt x="71" y="59"/>
                  </a:cubicBezTo>
                  <a:lnTo>
                    <a:pt x="71" y="23"/>
                  </a:lnTo>
                  <a:cubicBezTo>
                    <a:pt x="71" y="21"/>
                    <a:pt x="71" y="20"/>
                    <a:pt x="69" y="19"/>
                  </a:cubicBezTo>
                  <a:lnTo>
                    <a:pt x="38" y="1"/>
                  </a:lnTo>
                  <a:cubicBezTo>
                    <a:pt x="37" y="0"/>
                    <a:pt x="35" y="0"/>
                    <a:pt x="33" y="1"/>
                  </a:cubicBezTo>
                  <a:lnTo>
                    <a:pt x="2" y="19"/>
                  </a:lnTo>
                  <a:cubicBezTo>
                    <a:pt x="1" y="20"/>
                    <a:pt x="0" y="21"/>
                    <a:pt x="0" y="23"/>
                  </a:cubicBezTo>
                  <a:lnTo>
                    <a:pt x="0" y="59"/>
                  </a:lnTo>
                  <a:cubicBezTo>
                    <a:pt x="0" y="61"/>
                    <a:pt x="1" y="62"/>
                    <a:pt x="2"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664"/>
            <p:cNvSpPr>
              <a:spLocks/>
            </p:cNvSpPr>
            <p:nvPr/>
          </p:nvSpPr>
          <p:spPr bwMode="auto">
            <a:xfrm>
              <a:off x="7712076" y="3241676"/>
              <a:ext cx="23813" cy="15875"/>
            </a:xfrm>
            <a:custGeom>
              <a:avLst/>
              <a:gdLst>
                <a:gd name="T0" fmla="*/ 28 w 31"/>
                <a:gd name="T1" fmla="*/ 9 h 22"/>
                <a:gd name="T2" fmla="*/ 30 w 31"/>
                <a:gd name="T3" fmla="*/ 3 h 22"/>
                <a:gd name="T4" fmla="*/ 23 w 31"/>
                <a:gd name="T5" fmla="*/ 1 h 22"/>
                <a:gd name="T6" fmla="*/ 3 w 31"/>
                <a:gd name="T7" fmla="*/ 13 h 22"/>
                <a:gd name="T8" fmla="*/ 1 w 31"/>
                <a:gd name="T9" fmla="*/ 19 h 22"/>
                <a:gd name="T10" fmla="*/ 5 w 31"/>
                <a:gd name="T11" fmla="*/ 22 h 22"/>
                <a:gd name="T12" fmla="*/ 8 w 31"/>
                <a:gd name="T13" fmla="*/ 21 h 22"/>
                <a:gd name="T14" fmla="*/ 28 w 31"/>
                <a:gd name="T15" fmla="*/ 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2">
                  <a:moveTo>
                    <a:pt x="28" y="9"/>
                  </a:moveTo>
                  <a:cubicBezTo>
                    <a:pt x="30" y="8"/>
                    <a:pt x="31" y="5"/>
                    <a:pt x="30" y="3"/>
                  </a:cubicBezTo>
                  <a:cubicBezTo>
                    <a:pt x="29" y="0"/>
                    <a:pt x="26" y="0"/>
                    <a:pt x="23" y="1"/>
                  </a:cubicBezTo>
                  <a:lnTo>
                    <a:pt x="3" y="13"/>
                  </a:lnTo>
                  <a:cubicBezTo>
                    <a:pt x="1" y="14"/>
                    <a:pt x="0" y="17"/>
                    <a:pt x="1" y="19"/>
                  </a:cubicBezTo>
                  <a:cubicBezTo>
                    <a:pt x="2" y="21"/>
                    <a:pt x="4" y="22"/>
                    <a:pt x="5" y="22"/>
                  </a:cubicBezTo>
                  <a:cubicBezTo>
                    <a:pt x="6" y="22"/>
                    <a:pt x="7" y="21"/>
                    <a:pt x="8" y="21"/>
                  </a:cubicBezTo>
                  <a:lnTo>
                    <a:pt x="28"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665"/>
            <p:cNvSpPr>
              <a:spLocks/>
            </p:cNvSpPr>
            <p:nvPr/>
          </p:nvSpPr>
          <p:spPr bwMode="auto">
            <a:xfrm>
              <a:off x="7712076" y="3214689"/>
              <a:ext cx="23813" cy="17463"/>
            </a:xfrm>
            <a:custGeom>
              <a:avLst/>
              <a:gdLst>
                <a:gd name="T0" fmla="*/ 3 w 31"/>
                <a:gd name="T1" fmla="*/ 9 h 22"/>
                <a:gd name="T2" fmla="*/ 23 w 31"/>
                <a:gd name="T3" fmla="*/ 21 h 22"/>
                <a:gd name="T4" fmla="*/ 26 w 31"/>
                <a:gd name="T5" fmla="*/ 22 h 22"/>
                <a:gd name="T6" fmla="*/ 30 w 31"/>
                <a:gd name="T7" fmla="*/ 19 h 22"/>
                <a:gd name="T8" fmla="*/ 28 w 31"/>
                <a:gd name="T9" fmla="*/ 13 h 22"/>
                <a:gd name="T10" fmla="*/ 7 w 31"/>
                <a:gd name="T11" fmla="*/ 1 h 22"/>
                <a:gd name="T12" fmla="*/ 1 w 31"/>
                <a:gd name="T13" fmla="*/ 3 h 22"/>
                <a:gd name="T14" fmla="*/ 3 w 31"/>
                <a:gd name="T15" fmla="*/ 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2">
                  <a:moveTo>
                    <a:pt x="3" y="9"/>
                  </a:moveTo>
                  <a:lnTo>
                    <a:pt x="23" y="21"/>
                  </a:lnTo>
                  <a:cubicBezTo>
                    <a:pt x="24" y="22"/>
                    <a:pt x="25" y="22"/>
                    <a:pt x="26" y="22"/>
                  </a:cubicBezTo>
                  <a:cubicBezTo>
                    <a:pt x="27" y="22"/>
                    <a:pt x="29" y="21"/>
                    <a:pt x="30" y="19"/>
                  </a:cubicBezTo>
                  <a:cubicBezTo>
                    <a:pt x="31" y="17"/>
                    <a:pt x="30" y="14"/>
                    <a:pt x="28" y="13"/>
                  </a:cubicBezTo>
                  <a:lnTo>
                    <a:pt x="7" y="1"/>
                  </a:lnTo>
                  <a:cubicBezTo>
                    <a:pt x="5" y="0"/>
                    <a:pt x="2" y="1"/>
                    <a:pt x="1" y="3"/>
                  </a:cubicBezTo>
                  <a:cubicBezTo>
                    <a:pt x="0" y="5"/>
                    <a:pt x="0" y="8"/>
                    <a:pt x="3"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666"/>
            <p:cNvSpPr>
              <a:spLocks/>
            </p:cNvSpPr>
            <p:nvPr/>
          </p:nvSpPr>
          <p:spPr bwMode="auto">
            <a:xfrm>
              <a:off x="7697788" y="3224214"/>
              <a:ext cx="7938" cy="23813"/>
            </a:xfrm>
            <a:custGeom>
              <a:avLst/>
              <a:gdLst>
                <a:gd name="T0" fmla="*/ 5 w 9"/>
                <a:gd name="T1" fmla="*/ 0 h 33"/>
                <a:gd name="T2" fmla="*/ 0 w 9"/>
                <a:gd name="T3" fmla="*/ 5 h 33"/>
                <a:gd name="T4" fmla="*/ 0 w 9"/>
                <a:gd name="T5" fmla="*/ 28 h 33"/>
                <a:gd name="T6" fmla="*/ 5 w 9"/>
                <a:gd name="T7" fmla="*/ 33 h 33"/>
                <a:gd name="T8" fmla="*/ 9 w 9"/>
                <a:gd name="T9" fmla="*/ 28 h 33"/>
                <a:gd name="T10" fmla="*/ 9 w 9"/>
                <a:gd name="T11" fmla="*/ 5 h 33"/>
                <a:gd name="T12" fmla="*/ 5 w 9"/>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9" h="33">
                  <a:moveTo>
                    <a:pt x="5" y="0"/>
                  </a:moveTo>
                  <a:cubicBezTo>
                    <a:pt x="2" y="0"/>
                    <a:pt x="0" y="2"/>
                    <a:pt x="0" y="5"/>
                  </a:cubicBezTo>
                  <a:lnTo>
                    <a:pt x="0" y="28"/>
                  </a:lnTo>
                  <a:cubicBezTo>
                    <a:pt x="0" y="31"/>
                    <a:pt x="2" y="33"/>
                    <a:pt x="5" y="33"/>
                  </a:cubicBezTo>
                  <a:cubicBezTo>
                    <a:pt x="7" y="33"/>
                    <a:pt x="9" y="31"/>
                    <a:pt x="9" y="28"/>
                  </a:cubicBezTo>
                  <a:lnTo>
                    <a:pt x="9" y="5"/>
                  </a:ln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667"/>
            <p:cNvSpPr>
              <a:spLocks/>
            </p:cNvSpPr>
            <p:nvPr/>
          </p:nvSpPr>
          <p:spPr bwMode="auto">
            <a:xfrm>
              <a:off x="7550151" y="3198814"/>
              <a:ext cx="34925" cy="38100"/>
            </a:xfrm>
            <a:custGeom>
              <a:avLst/>
              <a:gdLst>
                <a:gd name="T0" fmla="*/ 46 w 46"/>
                <a:gd name="T1" fmla="*/ 5 h 50"/>
                <a:gd name="T2" fmla="*/ 41 w 46"/>
                <a:gd name="T3" fmla="*/ 0 h 50"/>
                <a:gd name="T4" fmla="*/ 5 w 46"/>
                <a:gd name="T5" fmla="*/ 0 h 50"/>
                <a:gd name="T6" fmla="*/ 0 w 46"/>
                <a:gd name="T7" fmla="*/ 5 h 50"/>
                <a:gd name="T8" fmla="*/ 0 w 46"/>
                <a:gd name="T9" fmla="*/ 45 h 50"/>
                <a:gd name="T10" fmla="*/ 5 w 46"/>
                <a:gd name="T11" fmla="*/ 50 h 50"/>
                <a:gd name="T12" fmla="*/ 9 w 46"/>
                <a:gd name="T13" fmla="*/ 45 h 50"/>
                <a:gd name="T14" fmla="*/ 9 w 46"/>
                <a:gd name="T15" fmla="*/ 9 h 50"/>
                <a:gd name="T16" fmla="*/ 41 w 46"/>
                <a:gd name="T17" fmla="*/ 9 h 50"/>
                <a:gd name="T18" fmla="*/ 46 w 46"/>
                <a:gd name="T19" fmla="*/ 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50">
                  <a:moveTo>
                    <a:pt x="46" y="5"/>
                  </a:moveTo>
                  <a:cubicBezTo>
                    <a:pt x="46" y="2"/>
                    <a:pt x="44" y="0"/>
                    <a:pt x="41" y="0"/>
                  </a:cubicBezTo>
                  <a:lnTo>
                    <a:pt x="5" y="0"/>
                  </a:lnTo>
                  <a:cubicBezTo>
                    <a:pt x="2" y="0"/>
                    <a:pt x="0" y="2"/>
                    <a:pt x="0" y="5"/>
                  </a:cubicBezTo>
                  <a:lnTo>
                    <a:pt x="0" y="45"/>
                  </a:lnTo>
                  <a:cubicBezTo>
                    <a:pt x="0" y="48"/>
                    <a:pt x="2" y="50"/>
                    <a:pt x="5" y="50"/>
                  </a:cubicBezTo>
                  <a:cubicBezTo>
                    <a:pt x="7" y="50"/>
                    <a:pt x="9" y="48"/>
                    <a:pt x="9" y="45"/>
                  </a:cubicBezTo>
                  <a:lnTo>
                    <a:pt x="9" y="9"/>
                  </a:lnTo>
                  <a:lnTo>
                    <a:pt x="41" y="9"/>
                  </a:lnTo>
                  <a:cubicBezTo>
                    <a:pt x="44" y="9"/>
                    <a:pt x="46" y="7"/>
                    <a:pt x="4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0" name="Freeform 234"/>
          <p:cNvSpPr>
            <a:spLocks noEditPoints="1"/>
          </p:cNvSpPr>
          <p:nvPr/>
        </p:nvSpPr>
        <p:spPr bwMode="auto">
          <a:xfrm>
            <a:off x="406325" y="4684052"/>
            <a:ext cx="586486" cy="614827"/>
          </a:xfrm>
          <a:custGeom>
            <a:avLst/>
            <a:gdLst>
              <a:gd name="T0" fmla="*/ 1061 w 1236"/>
              <a:gd name="T1" fmla="*/ 1123 h 1250"/>
              <a:gd name="T2" fmla="*/ 1208 w 1236"/>
              <a:gd name="T3" fmla="*/ 786 h 1250"/>
              <a:gd name="T4" fmla="*/ 988 w 1236"/>
              <a:gd name="T5" fmla="*/ 393 h 1250"/>
              <a:gd name="T6" fmla="*/ 1138 w 1236"/>
              <a:gd name="T7" fmla="*/ 134 h 1250"/>
              <a:gd name="T8" fmla="*/ 1114 w 1236"/>
              <a:gd name="T9" fmla="*/ 120 h 1250"/>
              <a:gd name="T10" fmla="*/ 1151 w 1236"/>
              <a:gd name="T11" fmla="*/ 56 h 1250"/>
              <a:gd name="T12" fmla="*/ 1055 w 1236"/>
              <a:gd name="T13" fmla="*/ 0 h 1250"/>
              <a:gd name="T14" fmla="*/ 1018 w 1236"/>
              <a:gd name="T15" fmla="*/ 64 h 1250"/>
              <a:gd name="T16" fmla="*/ 993 w 1236"/>
              <a:gd name="T17" fmla="*/ 50 h 1250"/>
              <a:gd name="T18" fmla="*/ 625 w 1236"/>
              <a:gd name="T19" fmla="*/ 687 h 1250"/>
              <a:gd name="T20" fmla="*/ 657 w 1236"/>
              <a:gd name="T21" fmla="*/ 706 h 1250"/>
              <a:gd name="T22" fmla="*/ 611 w 1236"/>
              <a:gd name="T23" fmla="*/ 784 h 1250"/>
              <a:gd name="T24" fmla="*/ 692 w 1236"/>
              <a:gd name="T25" fmla="*/ 831 h 1250"/>
              <a:gd name="T26" fmla="*/ 738 w 1236"/>
              <a:gd name="T27" fmla="*/ 752 h 1250"/>
              <a:gd name="T28" fmla="*/ 770 w 1236"/>
              <a:gd name="T29" fmla="*/ 771 h 1250"/>
              <a:gd name="T30" fmla="*/ 925 w 1236"/>
              <a:gd name="T31" fmla="*/ 503 h 1250"/>
              <a:gd name="T32" fmla="*/ 1080 w 1236"/>
              <a:gd name="T33" fmla="*/ 786 h 1250"/>
              <a:gd name="T34" fmla="*/ 744 w 1236"/>
              <a:gd name="T35" fmla="*/ 1123 h 1250"/>
              <a:gd name="T36" fmla="*/ 473 w 1236"/>
              <a:gd name="T37" fmla="*/ 1123 h 1250"/>
              <a:gd name="T38" fmla="*/ 473 w 1236"/>
              <a:gd name="T39" fmla="*/ 1250 h 1250"/>
              <a:gd name="T40" fmla="*/ 1236 w 1236"/>
              <a:gd name="T41" fmla="*/ 1250 h 1250"/>
              <a:gd name="T42" fmla="*/ 1236 w 1236"/>
              <a:gd name="T43" fmla="*/ 1123 h 1250"/>
              <a:gd name="T44" fmla="*/ 1061 w 1236"/>
              <a:gd name="T45" fmla="*/ 1123 h 1250"/>
              <a:gd name="T46" fmla="*/ 384 w 1236"/>
              <a:gd name="T47" fmla="*/ 144 h 1250"/>
              <a:gd name="T48" fmla="*/ 384 w 1236"/>
              <a:gd name="T49" fmla="*/ 43 h 1250"/>
              <a:gd name="T50" fmla="*/ 396 w 1236"/>
              <a:gd name="T51" fmla="*/ 43 h 1250"/>
              <a:gd name="T52" fmla="*/ 396 w 1236"/>
              <a:gd name="T53" fmla="*/ 18 h 1250"/>
              <a:gd name="T54" fmla="*/ 283 w 1236"/>
              <a:gd name="T55" fmla="*/ 18 h 1250"/>
              <a:gd name="T56" fmla="*/ 283 w 1236"/>
              <a:gd name="T57" fmla="*/ 43 h 1250"/>
              <a:gd name="T58" fmla="*/ 296 w 1236"/>
              <a:gd name="T59" fmla="*/ 43 h 1250"/>
              <a:gd name="T60" fmla="*/ 296 w 1236"/>
              <a:gd name="T61" fmla="*/ 144 h 1250"/>
              <a:gd name="T62" fmla="*/ 212 w 1236"/>
              <a:gd name="T63" fmla="*/ 144 h 1250"/>
              <a:gd name="T64" fmla="*/ 212 w 1236"/>
              <a:gd name="T65" fmla="*/ 43 h 1250"/>
              <a:gd name="T66" fmla="*/ 224 w 1236"/>
              <a:gd name="T67" fmla="*/ 43 h 1250"/>
              <a:gd name="T68" fmla="*/ 224 w 1236"/>
              <a:gd name="T69" fmla="*/ 18 h 1250"/>
              <a:gd name="T70" fmla="*/ 111 w 1236"/>
              <a:gd name="T71" fmla="*/ 18 h 1250"/>
              <a:gd name="T72" fmla="*/ 111 w 1236"/>
              <a:gd name="T73" fmla="*/ 43 h 1250"/>
              <a:gd name="T74" fmla="*/ 124 w 1236"/>
              <a:gd name="T75" fmla="*/ 43 h 1250"/>
              <a:gd name="T76" fmla="*/ 124 w 1236"/>
              <a:gd name="T77" fmla="*/ 144 h 1250"/>
              <a:gd name="T78" fmla="*/ 0 w 1236"/>
              <a:gd name="T79" fmla="*/ 144 h 1250"/>
              <a:gd name="T80" fmla="*/ 0 w 1236"/>
              <a:gd name="T81" fmla="*/ 650 h 1250"/>
              <a:gd name="T82" fmla="*/ 507 w 1236"/>
              <a:gd name="T83" fmla="*/ 650 h 1250"/>
              <a:gd name="T84" fmla="*/ 507 w 1236"/>
              <a:gd name="T85" fmla="*/ 144 h 1250"/>
              <a:gd name="T86" fmla="*/ 384 w 1236"/>
              <a:gd name="T87" fmla="*/ 144 h 1250"/>
              <a:gd name="T88" fmla="*/ 464 w 1236"/>
              <a:gd name="T89" fmla="*/ 607 h 1250"/>
              <a:gd name="T90" fmla="*/ 43 w 1236"/>
              <a:gd name="T91" fmla="*/ 607 h 1250"/>
              <a:gd name="T92" fmla="*/ 43 w 1236"/>
              <a:gd name="T93" fmla="*/ 187 h 1250"/>
              <a:gd name="T94" fmla="*/ 124 w 1236"/>
              <a:gd name="T95" fmla="*/ 187 h 1250"/>
              <a:gd name="T96" fmla="*/ 124 w 1236"/>
              <a:gd name="T97" fmla="*/ 510 h 1250"/>
              <a:gd name="T98" fmla="*/ 168 w 1236"/>
              <a:gd name="T99" fmla="*/ 554 h 1250"/>
              <a:gd name="T100" fmla="*/ 212 w 1236"/>
              <a:gd name="T101" fmla="*/ 510 h 1250"/>
              <a:gd name="T102" fmla="*/ 212 w 1236"/>
              <a:gd name="T103" fmla="*/ 187 h 1250"/>
              <a:gd name="T104" fmla="*/ 296 w 1236"/>
              <a:gd name="T105" fmla="*/ 187 h 1250"/>
              <a:gd name="T106" fmla="*/ 296 w 1236"/>
              <a:gd name="T107" fmla="*/ 510 h 1250"/>
              <a:gd name="T108" fmla="*/ 341 w 1236"/>
              <a:gd name="T109" fmla="*/ 554 h 1250"/>
              <a:gd name="T110" fmla="*/ 384 w 1236"/>
              <a:gd name="T111" fmla="*/ 510 h 1250"/>
              <a:gd name="T112" fmla="*/ 384 w 1236"/>
              <a:gd name="T113" fmla="*/ 187 h 1250"/>
              <a:gd name="T114" fmla="*/ 464 w 1236"/>
              <a:gd name="T115" fmla="*/ 187 h 1250"/>
              <a:gd name="T116" fmla="*/ 464 w 1236"/>
              <a:gd name="T117" fmla="*/ 607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36" h="1250">
                <a:moveTo>
                  <a:pt x="1061" y="1123"/>
                </a:moveTo>
                <a:cubicBezTo>
                  <a:pt x="1151" y="1038"/>
                  <a:pt x="1208" y="919"/>
                  <a:pt x="1208" y="786"/>
                </a:cubicBezTo>
                <a:cubicBezTo>
                  <a:pt x="1208" y="623"/>
                  <a:pt x="1122" y="475"/>
                  <a:pt x="988" y="393"/>
                </a:cubicBezTo>
                <a:lnTo>
                  <a:pt x="1138" y="134"/>
                </a:lnTo>
                <a:lnTo>
                  <a:pt x="1114" y="120"/>
                </a:lnTo>
                <a:lnTo>
                  <a:pt x="1151" y="56"/>
                </a:lnTo>
                <a:lnTo>
                  <a:pt x="1055" y="0"/>
                </a:lnTo>
                <a:lnTo>
                  <a:pt x="1018" y="64"/>
                </a:lnTo>
                <a:lnTo>
                  <a:pt x="993" y="50"/>
                </a:lnTo>
                <a:lnTo>
                  <a:pt x="625" y="687"/>
                </a:lnTo>
                <a:lnTo>
                  <a:pt x="657" y="706"/>
                </a:lnTo>
                <a:lnTo>
                  <a:pt x="611" y="784"/>
                </a:lnTo>
                <a:lnTo>
                  <a:pt x="692" y="831"/>
                </a:lnTo>
                <a:lnTo>
                  <a:pt x="738" y="752"/>
                </a:lnTo>
                <a:lnTo>
                  <a:pt x="770" y="771"/>
                </a:lnTo>
                <a:lnTo>
                  <a:pt x="925" y="503"/>
                </a:lnTo>
                <a:cubicBezTo>
                  <a:pt x="1019" y="563"/>
                  <a:pt x="1080" y="669"/>
                  <a:pt x="1080" y="786"/>
                </a:cubicBezTo>
                <a:cubicBezTo>
                  <a:pt x="1080" y="972"/>
                  <a:pt x="929" y="1123"/>
                  <a:pt x="744" y="1123"/>
                </a:cubicBezTo>
                <a:lnTo>
                  <a:pt x="473" y="1123"/>
                </a:lnTo>
                <a:lnTo>
                  <a:pt x="473" y="1250"/>
                </a:lnTo>
                <a:lnTo>
                  <a:pt x="1236" y="1250"/>
                </a:lnTo>
                <a:lnTo>
                  <a:pt x="1236" y="1123"/>
                </a:lnTo>
                <a:lnTo>
                  <a:pt x="1061" y="1123"/>
                </a:lnTo>
                <a:close/>
                <a:moveTo>
                  <a:pt x="384" y="144"/>
                </a:moveTo>
                <a:lnTo>
                  <a:pt x="384" y="43"/>
                </a:lnTo>
                <a:lnTo>
                  <a:pt x="396" y="43"/>
                </a:lnTo>
                <a:lnTo>
                  <a:pt x="396" y="18"/>
                </a:lnTo>
                <a:lnTo>
                  <a:pt x="283" y="18"/>
                </a:lnTo>
                <a:lnTo>
                  <a:pt x="283" y="43"/>
                </a:lnTo>
                <a:lnTo>
                  <a:pt x="296" y="43"/>
                </a:lnTo>
                <a:lnTo>
                  <a:pt x="296" y="144"/>
                </a:lnTo>
                <a:lnTo>
                  <a:pt x="212" y="144"/>
                </a:lnTo>
                <a:lnTo>
                  <a:pt x="212" y="43"/>
                </a:lnTo>
                <a:lnTo>
                  <a:pt x="224" y="43"/>
                </a:lnTo>
                <a:lnTo>
                  <a:pt x="224" y="18"/>
                </a:lnTo>
                <a:lnTo>
                  <a:pt x="111" y="18"/>
                </a:lnTo>
                <a:lnTo>
                  <a:pt x="111" y="43"/>
                </a:lnTo>
                <a:lnTo>
                  <a:pt x="124" y="43"/>
                </a:lnTo>
                <a:lnTo>
                  <a:pt x="124" y="144"/>
                </a:lnTo>
                <a:lnTo>
                  <a:pt x="0" y="144"/>
                </a:lnTo>
                <a:lnTo>
                  <a:pt x="0" y="650"/>
                </a:lnTo>
                <a:lnTo>
                  <a:pt x="507" y="650"/>
                </a:lnTo>
                <a:lnTo>
                  <a:pt x="507" y="144"/>
                </a:lnTo>
                <a:lnTo>
                  <a:pt x="384" y="144"/>
                </a:lnTo>
                <a:close/>
                <a:moveTo>
                  <a:pt x="464" y="607"/>
                </a:moveTo>
                <a:lnTo>
                  <a:pt x="43" y="607"/>
                </a:lnTo>
                <a:lnTo>
                  <a:pt x="43" y="187"/>
                </a:lnTo>
                <a:lnTo>
                  <a:pt x="124" y="187"/>
                </a:lnTo>
                <a:lnTo>
                  <a:pt x="124" y="510"/>
                </a:lnTo>
                <a:cubicBezTo>
                  <a:pt x="124" y="534"/>
                  <a:pt x="144" y="554"/>
                  <a:pt x="168" y="554"/>
                </a:cubicBezTo>
                <a:cubicBezTo>
                  <a:pt x="193" y="554"/>
                  <a:pt x="212" y="534"/>
                  <a:pt x="212" y="510"/>
                </a:cubicBezTo>
                <a:lnTo>
                  <a:pt x="212" y="187"/>
                </a:lnTo>
                <a:lnTo>
                  <a:pt x="296" y="187"/>
                </a:lnTo>
                <a:lnTo>
                  <a:pt x="296" y="510"/>
                </a:lnTo>
                <a:cubicBezTo>
                  <a:pt x="296" y="534"/>
                  <a:pt x="316" y="554"/>
                  <a:pt x="341" y="554"/>
                </a:cubicBezTo>
                <a:cubicBezTo>
                  <a:pt x="365" y="554"/>
                  <a:pt x="384" y="534"/>
                  <a:pt x="384" y="510"/>
                </a:cubicBezTo>
                <a:lnTo>
                  <a:pt x="384" y="187"/>
                </a:lnTo>
                <a:lnTo>
                  <a:pt x="464" y="187"/>
                </a:lnTo>
                <a:lnTo>
                  <a:pt x="464" y="60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91" name="Algorythm"/>
          <p:cNvGrpSpPr>
            <a:grpSpLocks noChangeAspect="1"/>
          </p:cNvGrpSpPr>
          <p:nvPr>
            <p:custDataLst>
              <p:tags r:id="rId5"/>
            </p:custDataLst>
          </p:nvPr>
        </p:nvGrpSpPr>
        <p:grpSpPr bwMode="auto">
          <a:xfrm>
            <a:off x="491216" y="5634310"/>
            <a:ext cx="489833" cy="744291"/>
            <a:chOff x="89" y="9"/>
            <a:chExt cx="308" cy="468"/>
          </a:xfrm>
          <a:solidFill>
            <a:schemeClr val="bg1"/>
          </a:solidFill>
        </p:grpSpPr>
        <p:sp>
          <p:nvSpPr>
            <p:cNvPr id="92" name="Algorythm"/>
            <p:cNvSpPr>
              <a:spLocks noEditPoints="1"/>
            </p:cNvSpPr>
            <p:nvPr>
              <p:custDataLst>
                <p:tags r:id="rId6"/>
              </p:custDataLst>
            </p:nvPr>
          </p:nvSpPr>
          <p:spPr bwMode="auto">
            <a:xfrm>
              <a:off x="254" y="135"/>
              <a:ext cx="36" cy="49"/>
            </a:xfrm>
            <a:custGeom>
              <a:avLst/>
              <a:gdLst>
                <a:gd name="T0" fmla="*/ 68 w 94"/>
                <a:gd name="T1" fmla="*/ 126 h 130"/>
                <a:gd name="T2" fmla="*/ 47 w 94"/>
                <a:gd name="T3" fmla="*/ 130 h 130"/>
                <a:gd name="T4" fmla="*/ 28 w 94"/>
                <a:gd name="T5" fmla="*/ 126 h 130"/>
                <a:gd name="T6" fmla="*/ 0 w 94"/>
                <a:gd name="T7" fmla="*/ 82 h 130"/>
                <a:gd name="T8" fmla="*/ 0 w 94"/>
                <a:gd name="T9" fmla="*/ 47 h 130"/>
                <a:gd name="T10" fmla="*/ 28 w 94"/>
                <a:gd name="T11" fmla="*/ 4 h 130"/>
                <a:gd name="T12" fmla="*/ 47 w 94"/>
                <a:gd name="T13" fmla="*/ 0 h 130"/>
                <a:gd name="T14" fmla="*/ 66 w 94"/>
                <a:gd name="T15" fmla="*/ 4 h 130"/>
                <a:gd name="T16" fmla="*/ 94 w 94"/>
                <a:gd name="T17" fmla="*/ 47 h 130"/>
                <a:gd name="T18" fmla="*/ 94 w 94"/>
                <a:gd name="T19" fmla="*/ 82 h 130"/>
                <a:gd name="T20" fmla="*/ 68 w 94"/>
                <a:gd name="T21" fmla="*/ 126 h 130"/>
                <a:gd name="T22" fmla="*/ 61 w 94"/>
                <a:gd name="T23" fmla="*/ 47 h 130"/>
                <a:gd name="T24" fmla="*/ 47 w 94"/>
                <a:gd name="T25" fmla="*/ 28 h 130"/>
                <a:gd name="T26" fmla="*/ 32 w 94"/>
                <a:gd name="T27" fmla="*/ 47 h 130"/>
                <a:gd name="T28" fmla="*/ 32 w 94"/>
                <a:gd name="T29" fmla="*/ 83 h 130"/>
                <a:gd name="T30" fmla="*/ 47 w 94"/>
                <a:gd name="T31" fmla="*/ 102 h 130"/>
                <a:gd name="T32" fmla="*/ 61 w 94"/>
                <a:gd name="T33" fmla="*/ 83 h 130"/>
                <a:gd name="T34" fmla="*/ 61 w 94"/>
                <a:gd name="T35" fmla="*/ 4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30">
                  <a:moveTo>
                    <a:pt x="68" y="126"/>
                  </a:moveTo>
                  <a:cubicBezTo>
                    <a:pt x="61" y="129"/>
                    <a:pt x="54" y="130"/>
                    <a:pt x="47" y="130"/>
                  </a:cubicBezTo>
                  <a:cubicBezTo>
                    <a:pt x="41" y="130"/>
                    <a:pt x="34" y="129"/>
                    <a:pt x="28" y="126"/>
                  </a:cubicBezTo>
                  <a:cubicBezTo>
                    <a:pt x="9" y="118"/>
                    <a:pt x="0" y="102"/>
                    <a:pt x="0" y="82"/>
                  </a:cubicBezTo>
                  <a:lnTo>
                    <a:pt x="0" y="47"/>
                  </a:lnTo>
                  <a:cubicBezTo>
                    <a:pt x="0" y="27"/>
                    <a:pt x="9" y="11"/>
                    <a:pt x="28" y="4"/>
                  </a:cubicBezTo>
                  <a:cubicBezTo>
                    <a:pt x="34" y="1"/>
                    <a:pt x="41" y="0"/>
                    <a:pt x="47" y="0"/>
                  </a:cubicBezTo>
                  <a:cubicBezTo>
                    <a:pt x="54" y="0"/>
                    <a:pt x="60" y="1"/>
                    <a:pt x="66" y="4"/>
                  </a:cubicBezTo>
                  <a:cubicBezTo>
                    <a:pt x="85" y="12"/>
                    <a:pt x="94" y="28"/>
                    <a:pt x="94" y="47"/>
                  </a:cubicBezTo>
                  <a:lnTo>
                    <a:pt x="94" y="82"/>
                  </a:lnTo>
                  <a:cubicBezTo>
                    <a:pt x="94" y="101"/>
                    <a:pt x="86" y="117"/>
                    <a:pt x="68" y="126"/>
                  </a:cubicBezTo>
                  <a:close/>
                  <a:moveTo>
                    <a:pt x="61" y="47"/>
                  </a:moveTo>
                  <a:cubicBezTo>
                    <a:pt x="61" y="37"/>
                    <a:pt x="58" y="28"/>
                    <a:pt x="47" y="28"/>
                  </a:cubicBezTo>
                  <a:cubicBezTo>
                    <a:pt x="36" y="28"/>
                    <a:pt x="32" y="37"/>
                    <a:pt x="32" y="47"/>
                  </a:cubicBezTo>
                  <a:lnTo>
                    <a:pt x="32" y="83"/>
                  </a:lnTo>
                  <a:cubicBezTo>
                    <a:pt x="32" y="93"/>
                    <a:pt x="36" y="102"/>
                    <a:pt x="47" y="102"/>
                  </a:cubicBezTo>
                  <a:cubicBezTo>
                    <a:pt x="58" y="102"/>
                    <a:pt x="61" y="93"/>
                    <a:pt x="61" y="83"/>
                  </a:cubicBezTo>
                  <a:lnTo>
                    <a:pt x="61" y="47"/>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3" name="Algorythm"/>
            <p:cNvSpPr>
              <a:spLocks noEditPoints="1"/>
            </p:cNvSpPr>
            <p:nvPr>
              <p:custDataLst>
                <p:tags r:id="rId7"/>
              </p:custDataLst>
            </p:nvPr>
          </p:nvSpPr>
          <p:spPr bwMode="auto">
            <a:xfrm>
              <a:off x="222" y="54"/>
              <a:ext cx="41" cy="49"/>
            </a:xfrm>
            <a:custGeom>
              <a:avLst/>
              <a:gdLst>
                <a:gd name="T0" fmla="*/ 61 w 110"/>
                <a:gd name="T1" fmla="*/ 129 h 131"/>
                <a:gd name="T2" fmla="*/ 39 w 110"/>
                <a:gd name="T3" fmla="*/ 129 h 131"/>
                <a:gd name="T4" fmla="*/ 22 w 110"/>
                <a:gd name="T5" fmla="*/ 120 h 131"/>
                <a:gd name="T6" fmla="*/ 5 w 110"/>
                <a:gd name="T7" fmla="*/ 71 h 131"/>
                <a:gd name="T8" fmla="*/ 14 w 110"/>
                <a:gd name="T9" fmla="*/ 37 h 131"/>
                <a:gd name="T10" fmla="*/ 52 w 110"/>
                <a:gd name="T11" fmla="*/ 1 h 131"/>
                <a:gd name="T12" fmla="*/ 72 w 110"/>
                <a:gd name="T13" fmla="*/ 2 h 131"/>
                <a:gd name="T14" fmla="*/ 89 w 110"/>
                <a:gd name="T15" fmla="*/ 11 h 131"/>
                <a:gd name="T16" fmla="*/ 105 w 110"/>
                <a:gd name="T17" fmla="*/ 60 h 131"/>
                <a:gd name="T18" fmla="*/ 96 w 110"/>
                <a:gd name="T19" fmla="*/ 94 h 131"/>
                <a:gd name="T20" fmla="*/ 61 w 110"/>
                <a:gd name="T21" fmla="*/ 129 h 131"/>
                <a:gd name="T22" fmla="*/ 74 w 110"/>
                <a:gd name="T23" fmla="*/ 51 h 131"/>
                <a:gd name="T24" fmla="*/ 64 w 110"/>
                <a:gd name="T25" fmla="*/ 30 h 131"/>
                <a:gd name="T26" fmla="*/ 45 w 110"/>
                <a:gd name="T27" fmla="*/ 44 h 131"/>
                <a:gd name="T28" fmla="*/ 36 w 110"/>
                <a:gd name="T29" fmla="*/ 79 h 131"/>
                <a:gd name="T30" fmla="*/ 46 w 110"/>
                <a:gd name="T31" fmla="*/ 101 h 131"/>
                <a:gd name="T32" fmla="*/ 65 w 110"/>
                <a:gd name="T33" fmla="*/ 87 h 131"/>
                <a:gd name="T34" fmla="*/ 74 w 110"/>
                <a:gd name="T35" fmla="*/ 5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131">
                  <a:moveTo>
                    <a:pt x="61" y="129"/>
                  </a:moveTo>
                  <a:cubicBezTo>
                    <a:pt x="54" y="131"/>
                    <a:pt x="46" y="130"/>
                    <a:pt x="39" y="129"/>
                  </a:cubicBezTo>
                  <a:cubicBezTo>
                    <a:pt x="33" y="127"/>
                    <a:pt x="27" y="124"/>
                    <a:pt x="22" y="120"/>
                  </a:cubicBezTo>
                  <a:cubicBezTo>
                    <a:pt x="6" y="108"/>
                    <a:pt x="0" y="90"/>
                    <a:pt x="5" y="71"/>
                  </a:cubicBezTo>
                  <a:lnTo>
                    <a:pt x="14" y="37"/>
                  </a:lnTo>
                  <a:cubicBezTo>
                    <a:pt x="19" y="17"/>
                    <a:pt x="32" y="4"/>
                    <a:pt x="52" y="1"/>
                  </a:cubicBezTo>
                  <a:cubicBezTo>
                    <a:pt x="59" y="0"/>
                    <a:pt x="65" y="1"/>
                    <a:pt x="72" y="2"/>
                  </a:cubicBezTo>
                  <a:cubicBezTo>
                    <a:pt x="78" y="4"/>
                    <a:pt x="84" y="7"/>
                    <a:pt x="89" y="11"/>
                  </a:cubicBezTo>
                  <a:cubicBezTo>
                    <a:pt x="105" y="23"/>
                    <a:pt x="110" y="41"/>
                    <a:pt x="105" y="60"/>
                  </a:cubicBezTo>
                  <a:lnTo>
                    <a:pt x="96" y="94"/>
                  </a:lnTo>
                  <a:cubicBezTo>
                    <a:pt x="91" y="112"/>
                    <a:pt x="80" y="126"/>
                    <a:pt x="61" y="129"/>
                  </a:cubicBezTo>
                  <a:close/>
                  <a:moveTo>
                    <a:pt x="74" y="51"/>
                  </a:moveTo>
                  <a:cubicBezTo>
                    <a:pt x="76" y="42"/>
                    <a:pt x="75" y="32"/>
                    <a:pt x="64" y="30"/>
                  </a:cubicBezTo>
                  <a:cubicBezTo>
                    <a:pt x="54" y="27"/>
                    <a:pt x="48" y="35"/>
                    <a:pt x="45" y="44"/>
                  </a:cubicBezTo>
                  <a:lnTo>
                    <a:pt x="36" y="79"/>
                  </a:lnTo>
                  <a:cubicBezTo>
                    <a:pt x="34" y="89"/>
                    <a:pt x="35" y="98"/>
                    <a:pt x="46" y="101"/>
                  </a:cubicBezTo>
                  <a:cubicBezTo>
                    <a:pt x="57" y="104"/>
                    <a:pt x="62" y="96"/>
                    <a:pt x="65" y="87"/>
                  </a:cubicBezTo>
                  <a:lnTo>
                    <a:pt x="74" y="51"/>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4" name="Algorythm"/>
            <p:cNvSpPr>
              <a:spLocks/>
            </p:cNvSpPr>
            <p:nvPr>
              <p:custDataLst>
                <p:tags r:id="rId8"/>
              </p:custDataLst>
            </p:nvPr>
          </p:nvSpPr>
          <p:spPr bwMode="auto">
            <a:xfrm>
              <a:off x="164" y="9"/>
              <a:ext cx="23" cy="48"/>
            </a:xfrm>
            <a:custGeom>
              <a:avLst/>
              <a:gdLst>
                <a:gd name="T0" fmla="*/ 29 w 61"/>
                <a:gd name="T1" fmla="*/ 127 h 127"/>
                <a:gd name="T2" fmla="*/ 22 w 61"/>
                <a:gd name="T3" fmla="*/ 29 h 127"/>
                <a:gd name="T4" fmla="*/ 2 w 61"/>
                <a:gd name="T5" fmla="*/ 30 h 127"/>
                <a:gd name="T6" fmla="*/ 0 w 61"/>
                <a:gd name="T7" fmla="*/ 3 h 127"/>
                <a:gd name="T8" fmla="*/ 52 w 61"/>
                <a:gd name="T9" fmla="*/ 0 h 127"/>
                <a:gd name="T10" fmla="*/ 61 w 61"/>
                <a:gd name="T11" fmla="*/ 125 h 127"/>
                <a:gd name="T12" fmla="*/ 29 w 61"/>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61" h="127">
                  <a:moveTo>
                    <a:pt x="29" y="127"/>
                  </a:moveTo>
                  <a:lnTo>
                    <a:pt x="22" y="29"/>
                  </a:lnTo>
                  <a:lnTo>
                    <a:pt x="2" y="30"/>
                  </a:lnTo>
                  <a:lnTo>
                    <a:pt x="0" y="3"/>
                  </a:lnTo>
                  <a:lnTo>
                    <a:pt x="52" y="0"/>
                  </a:lnTo>
                  <a:lnTo>
                    <a:pt x="61" y="125"/>
                  </a:lnTo>
                  <a:lnTo>
                    <a:pt x="29" y="127"/>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5" name="Algorythm"/>
            <p:cNvSpPr>
              <a:spLocks/>
            </p:cNvSpPr>
            <p:nvPr>
              <p:custDataLst>
                <p:tags r:id="rId9"/>
              </p:custDataLst>
            </p:nvPr>
          </p:nvSpPr>
          <p:spPr bwMode="auto">
            <a:xfrm>
              <a:off x="198" y="133"/>
              <a:ext cx="23" cy="48"/>
            </a:xfrm>
            <a:custGeom>
              <a:avLst/>
              <a:gdLst>
                <a:gd name="T0" fmla="*/ 29 w 61"/>
                <a:gd name="T1" fmla="*/ 127 h 127"/>
                <a:gd name="T2" fmla="*/ 22 w 61"/>
                <a:gd name="T3" fmla="*/ 29 h 127"/>
                <a:gd name="T4" fmla="*/ 2 w 61"/>
                <a:gd name="T5" fmla="*/ 30 h 127"/>
                <a:gd name="T6" fmla="*/ 0 w 61"/>
                <a:gd name="T7" fmla="*/ 3 h 127"/>
                <a:gd name="T8" fmla="*/ 53 w 61"/>
                <a:gd name="T9" fmla="*/ 0 h 127"/>
                <a:gd name="T10" fmla="*/ 61 w 61"/>
                <a:gd name="T11" fmla="*/ 125 h 127"/>
                <a:gd name="T12" fmla="*/ 29 w 61"/>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61" h="127">
                  <a:moveTo>
                    <a:pt x="29" y="127"/>
                  </a:moveTo>
                  <a:lnTo>
                    <a:pt x="22" y="29"/>
                  </a:lnTo>
                  <a:lnTo>
                    <a:pt x="2" y="30"/>
                  </a:lnTo>
                  <a:lnTo>
                    <a:pt x="0" y="3"/>
                  </a:lnTo>
                  <a:lnTo>
                    <a:pt x="53" y="0"/>
                  </a:lnTo>
                  <a:lnTo>
                    <a:pt x="61" y="125"/>
                  </a:lnTo>
                  <a:lnTo>
                    <a:pt x="29" y="127"/>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6" name="Algorythm"/>
            <p:cNvSpPr>
              <a:spLocks/>
            </p:cNvSpPr>
            <p:nvPr>
              <p:custDataLst>
                <p:tags r:id="rId10"/>
              </p:custDataLst>
            </p:nvPr>
          </p:nvSpPr>
          <p:spPr bwMode="auto">
            <a:xfrm>
              <a:off x="303" y="90"/>
              <a:ext cx="26" cy="51"/>
            </a:xfrm>
            <a:custGeom>
              <a:avLst/>
              <a:gdLst>
                <a:gd name="T0" fmla="*/ 0 w 71"/>
                <a:gd name="T1" fmla="*/ 126 h 136"/>
                <a:gd name="T2" fmla="*/ 32 w 71"/>
                <a:gd name="T3" fmla="*/ 32 h 136"/>
                <a:gd name="T4" fmla="*/ 12 w 71"/>
                <a:gd name="T5" fmla="*/ 26 h 136"/>
                <a:gd name="T6" fmla="*/ 21 w 71"/>
                <a:gd name="T7" fmla="*/ 0 h 136"/>
                <a:gd name="T8" fmla="*/ 71 w 71"/>
                <a:gd name="T9" fmla="*/ 17 h 136"/>
                <a:gd name="T10" fmla="*/ 30 w 71"/>
                <a:gd name="T11" fmla="*/ 136 h 136"/>
                <a:gd name="T12" fmla="*/ 0 w 71"/>
                <a:gd name="T13" fmla="*/ 126 h 136"/>
              </a:gdLst>
              <a:ahLst/>
              <a:cxnLst>
                <a:cxn ang="0">
                  <a:pos x="T0" y="T1"/>
                </a:cxn>
                <a:cxn ang="0">
                  <a:pos x="T2" y="T3"/>
                </a:cxn>
                <a:cxn ang="0">
                  <a:pos x="T4" y="T5"/>
                </a:cxn>
                <a:cxn ang="0">
                  <a:pos x="T6" y="T7"/>
                </a:cxn>
                <a:cxn ang="0">
                  <a:pos x="T8" y="T9"/>
                </a:cxn>
                <a:cxn ang="0">
                  <a:pos x="T10" y="T11"/>
                </a:cxn>
                <a:cxn ang="0">
                  <a:pos x="T12" y="T13"/>
                </a:cxn>
              </a:cxnLst>
              <a:rect l="0" t="0" r="r" b="b"/>
              <a:pathLst>
                <a:path w="71" h="136">
                  <a:moveTo>
                    <a:pt x="0" y="126"/>
                  </a:moveTo>
                  <a:lnTo>
                    <a:pt x="32" y="32"/>
                  </a:lnTo>
                  <a:lnTo>
                    <a:pt x="12" y="26"/>
                  </a:lnTo>
                  <a:lnTo>
                    <a:pt x="21" y="0"/>
                  </a:lnTo>
                  <a:lnTo>
                    <a:pt x="71" y="17"/>
                  </a:lnTo>
                  <a:lnTo>
                    <a:pt x="30" y="136"/>
                  </a:lnTo>
                  <a:lnTo>
                    <a:pt x="0" y="126"/>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7" name="Algorythm"/>
            <p:cNvSpPr>
              <a:spLocks/>
            </p:cNvSpPr>
            <p:nvPr>
              <p:custDataLst>
                <p:tags r:id="rId11"/>
              </p:custDataLst>
            </p:nvPr>
          </p:nvSpPr>
          <p:spPr bwMode="auto">
            <a:xfrm>
              <a:off x="136" y="100"/>
              <a:ext cx="23" cy="48"/>
            </a:xfrm>
            <a:custGeom>
              <a:avLst/>
              <a:gdLst>
                <a:gd name="T0" fmla="*/ 29 w 61"/>
                <a:gd name="T1" fmla="*/ 128 h 128"/>
                <a:gd name="T2" fmla="*/ 22 w 61"/>
                <a:gd name="T3" fmla="*/ 29 h 128"/>
                <a:gd name="T4" fmla="*/ 2 w 61"/>
                <a:gd name="T5" fmla="*/ 31 h 128"/>
                <a:gd name="T6" fmla="*/ 0 w 61"/>
                <a:gd name="T7" fmla="*/ 4 h 128"/>
                <a:gd name="T8" fmla="*/ 53 w 61"/>
                <a:gd name="T9" fmla="*/ 0 h 128"/>
                <a:gd name="T10" fmla="*/ 61 w 61"/>
                <a:gd name="T11" fmla="*/ 125 h 128"/>
                <a:gd name="T12" fmla="*/ 29 w 61"/>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61" h="128">
                  <a:moveTo>
                    <a:pt x="29" y="128"/>
                  </a:moveTo>
                  <a:lnTo>
                    <a:pt x="22" y="29"/>
                  </a:lnTo>
                  <a:lnTo>
                    <a:pt x="2" y="31"/>
                  </a:lnTo>
                  <a:lnTo>
                    <a:pt x="0" y="4"/>
                  </a:lnTo>
                  <a:lnTo>
                    <a:pt x="53" y="0"/>
                  </a:lnTo>
                  <a:lnTo>
                    <a:pt x="61" y="125"/>
                  </a:lnTo>
                  <a:lnTo>
                    <a:pt x="29" y="128"/>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8" name="Algorythm"/>
            <p:cNvSpPr>
              <a:spLocks/>
            </p:cNvSpPr>
            <p:nvPr>
              <p:custDataLst>
                <p:tags r:id="rId12"/>
              </p:custDataLst>
            </p:nvPr>
          </p:nvSpPr>
          <p:spPr bwMode="auto">
            <a:xfrm>
              <a:off x="282" y="25"/>
              <a:ext cx="21" cy="50"/>
            </a:xfrm>
            <a:custGeom>
              <a:avLst/>
              <a:gdLst>
                <a:gd name="T0" fmla="*/ 6 w 56"/>
                <a:gd name="T1" fmla="*/ 127 h 132"/>
                <a:gd name="T2" fmla="*/ 20 w 56"/>
                <a:gd name="T3" fmla="*/ 29 h 132"/>
                <a:gd name="T4" fmla="*/ 0 w 56"/>
                <a:gd name="T5" fmla="*/ 26 h 132"/>
                <a:gd name="T6" fmla="*/ 4 w 56"/>
                <a:gd name="T7" fmla="*/ 0 h 132"/>
                <a:gd name="T8" fmla="*/ 56 w 56"/>
                <a:gd name="T9" fmla="*/ 7 h 132"/>
                <a:gd name="T10" fmla="*/ 37 w 56"/>
                <a:gd name="T11" fmla="*/ 132 h 132"/>
                <a:gd name="T12" fmla="*/ 6 w 56"/>
                <a:gd name="T13" fmla="*/ 127 h 132"/>
              </a:gdLst>
              <a:ahLst/>
              <a:cxnLst>
                <a:cxn ang="0">
                  <a:pos x="T0" y="T1"/>
                </a:cxn>
                <a:cxn ang="0">
                  <a:pos x="T2" y="T3"/>
                </a:cxn>
                <a:cxn ang="0">
                  <a:pos x="T4" y="T5"/>
                </a:cxn>
                <a:cxn ang="0">
                  <a:pos x="T6" y="T7"/>
                </a:cxn>
                <a:cxn ang="0">
                  <a:pos x="T8" y="T9"/>
                </a:cxn>
                <a:cxn ang="0">
                  <a:pos x="T10" y="T11"/>
                </a:cxn>
                <a:cxn ang="0">
                  <a:pos x="T12" y="T13"/>
                </a:cxn>
              </a:cxnLst>
              <a:rect l="0" t="0" r="r" b="b"/>
              <a:pathLst>
                <a:path w="56" h="132">
                  <a:moveTo>
                    <a:pt x="6" y="127"/>
                  </a:moveTo>
                  <a:lnTo>
                    <a:pt x="20" y="29"/>
                  </a:lnTo>
                  <a:lnTo>
                    <a:pt x="0" y="26"/>
                  </a:lnTo>
                  <a:lnTo>
                    <a:pt x="4" y="0"/>
                  </a:lnTo>
                  <a:lnTo>
                    <a:pt x="56" y="7"/>
                  </a:lnTo>
                  <a:lnTo>
                    <a:pt x="37" y="132"/>
                  </a:lnTo>
                  <a:lnTo>
                    <a:pt x="6" y="127"/>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9" name="Algorythm"/>
            <p:cNvSpPr>
              <a:spLocks noChangeArrowheads="1"/>
            </p:cNvSpPr>
            <p:nvPr>
              <p:custDataLst>
                <p:tags r:id="rId13"/>
              </p:custDataLst>
            </p:nvPr>
          </p:nvSpPr>
          <p:spPr bwMode="auto">
            <a:xfrm>
              <a:off x="215" y="422"/>
              <a:ext cx="55" cy="55"/>
            </a:xfrm>
            <a:prstGeom prst="ellipse">
              <a:avLst/>
            </a:pr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00" name="Algorythm"/>
            <p:cNvSpPr>
              <a:spLocks noEditPoints="1"/>
            </p:cNvSpPr>
            <p:nvPr>
              <p:custDataLst>
                <p:tags r:id="rId14"/>
              </p:custDataLst>
            </p:nvPr>
          </p:nvSpPr>
          <p:spPr bwMode="auto">
            <a:xfrm>
              <a:off x="89" y="108"/>
              <a:ext cx="308" cy="300"/>
            </a:xfrm>
            <a:custGeom>
              <a:avLst/>
              <a:gdLst>
                <a:gd name="T0" fmla="*/ 410 w 820"/>
                <a:gd name="T1" fmla="*/ 0 h 797"/>
                <a:gd name="T2" fmla="*/ 1 w 820"/>
                <a:gd name="T3" fmla="*/ 80 h 797"/>
                <a:gd name="T4" fmla="*/ 0 w 820"/>
                <a:gd name="T5" fmla="*/ 80 h 797"/>
                <a:gd name="T6" fmla="*/ 0 w 820"/>
                <a:gd name="T7" fmla="*/ 81 h 797"/>
                <a:gd name="T8" fmla="*/ 0 w 820"/>
                <a:gd name="T9" fmla="*/ 82 h 797"/>
                <a:gd name="T10" fmla="*/ 29 w 820"/>
                <a:gd name="T11" fmla="*/ 112 h 797"/>
                <a:gd name="T12" fmla="*/ 343 w 820"/>
                <a:gd name="T13" fmla="*/ 463 h 797"/>
                <a:gd name="T14" fmla="*/ 343 w 820"/>
                <a:gd name="T15" fmla="*/ 789 h 797"/>
                <a:gd name="T16" fmla="*/ 351 w 820"/>
                <a:gd name="T17" fmla="*/ 797 h 797"/>
                <a:gd name="T18" fmla="*/ 475 w 820"/>
                <a:gd name="T19" fmla="*/ 753 h 797"/>
                <a:gd name="T20" fmla="*/ 476 w 820"/>
                <a:gd name="T21" fmla="*/ 748 h 797"/>
                <a:gd name="T22" fmla="*/ 476 w 820"/>
                <a:gd name="T23" fmla="*/ 463 h 797"/>
                <a:gd name="T24" fmla="*/ 789 w 820"/>
                <a:gd name="T25" fmla="*/ 113 h 797"/>
                <a:gd name="T26" fmla="*/ 820 w 820"/>
                <a:gd name="T27" fmla="*/ 82 h 797"/>
                <a:gd name="T28" fmla="*/ 410 w 820"/>
                <a:gd name="T29" fmla="*/ 0 h 797"/>
                <a:gd name="T30" fmla="*/ 662 w 820"/>
                <a:gd name="T31" fmla="*/ 99 h 797"/>
                <a:gd name="T32" fmla="*/ 410 w 820"/>
                <a:gd name="T33" fmla="*/ 117 h 797"/>
                <a:gd name="T34" fmla="*/ 158 w 820"/>
                <a:gd name="T35" fmla="*/ 99 h 797"/>
                <a:gd name="T36" fmla="*/ 81 w 820"/>
                <a:gd name="T37" fmla="*/ 82 h 797"/>
                <a:gd name="T38" fmla="*/ 158 w 820"/>
                <a:gd name="T39" fmla="*/ 65 h 797"/>
                <a:gd name="T40" fmla="*/ 410 w 820"/>
                <a:gd name="T41" fmla="*/ 47 h 797"/>
                <a:gd name="T42" fmla="*/ 662 w 820"/>
                <a:gd name="T43" fmla="*/ 65 h 797"/>
                <a:gd name="T44" fmla="*/ 739 w 820"/>
                <a:gd name="T45" fmla="*/ 82 h 797"/>
                <a:gd name="T46" fmla="*/ 662 w 820"/>
                <a:gd name="T47" fmla="*/ 99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20" h="797">
                  <a:moveTo>
                    <a:pt x="410" y="0"/>
                  </a:moveTo>
                  <a:cubicBezTo>
                    <a:pt x="187" y="0"/>
                    <a:pt x="6" y="36"/>
                    <a:pt x="1" y="80"/>
                  </a:cubicBezTo>
                  <a:cubicBezTo>
                    <a:pt x="0" y="80"/>
                    <a:pt x="0" y="80"/>
                    <a:pt x="0" y="80"/>
                  </a:cubicBezTo>
                  <a:lnTo>
                    <a:pt x="0" y="81"/>
                  </a:lnTo>
                  <a:cubicBezTo>
                    <a:pt x="0" y="81"/>
                    <a:pt x="0" y="82"/>
                    <a:pt x="0" y="82"/>
                  </a:cubicBezTo>
                  <a:cubicBezTo>
                    <a:pt x="0" y="93"/>
                    <a:pt x="10" y="103"/>
                    <a:pt x="29" y="112"/>
                  </a:cubicBezTo>
                  <a:lnTo>
                    <a:pt x="343" y="463"/>
                  </a:lnTo>
                  <a:lnTo>
                    <a:pt x="343" y="789"/>
                  </a:lnTo>
                  <a:cubicBezTo>
                    <a:pt x="343" y="794"/>
                    <a:pt x="346" y="797"/>
                    <a:pt x="351" y="797"/>
                  </a:cubicBezTo>
                  <a:cubicBezTo>
                    <a:pt x="439" y="797"/>
                    <a:pt x="473" y="755"/>
                    <a:pt x="475" y="753"/>
                  </a:cubicBezTo>
                  <a:cubicBezTo>
                    <a:pt x="476" y="752"/>
                    <a:pt x="476" y="750"/>
                    <a:pt x="476" y="748"/>
                  </a:cubicBezTo>
                  <a:lnTo>
                    <a:pt x="476" y="463"/>
                  </a:lnTo>
                  <a:lnTo>
                    <a:pt x="789" y="113"/>
                  </a:lnTo>
                  <a:cubicBezTo>
                    <a:pt x="809" y="104"/>
                    <a:pt x="820" y="93"/>
                    <a:pt x="820" y="82"/>
                  </a:cubicBezTo>
                  <a:cubicBezTo>
                    <a:pt x="820" y="37"/>
                    <a:pt x="636" y="0"/>
                    <a:pt x="410" y="0"/>
                  </a:cubicBezTo>
                  <a:close/>
                  <a:moveTo>
                    <a:pt x="662" y="99"/>
                  </a:moveTo>
                  <a:cubicBezTo>
                    <a:pt x="592" y="111"/>
                    <a:pt x="502" y="117"/>
                    <a:pt x="410" y="117"/>
                  </a:cubicBezTo>
                  <a:cubicBezTo>
                    <a:pt x="318" y="117"/>
                    <a:pt x="229" y="111"/>
                    <a:pt x="158" y="99"/>
                  </a:cubicBezTo>
                  <a:cubicBezTo>
                    <a:pt x="124" y="93"/>
                    <a:pt x="99" y="88"/>
                    <a:pt x="81" y="82"/>
                  </a:cubicBezTo>
                  <a:cubicBezTo>
                    <a:pt x="99" y="77"/>
                    <a:pt x="124" y="71"/>
                    <a:pt x="158" y="65"/>
                  </a:cubicBezTo>
                  <a:cubicBezTo>
                    <a:pt x="229" y="54"/>
                    <a:pt x="318" y="47"/>
                    <a:pt x="410" y="47"/>
                  </a:cubicBezTo>
                  <a:cubicBezTo>
                    <a:pt x="502" y="47"/>
                    <a:pt x="592" y="54"/>
                    <a:pt x="662" y="65"/>
                  </a:cubicBezTo>
                  <a:cubicBezTo>
                    <a:pt x="696" y="71"/>
                    <a:pt x="721" y="77"/>
                    <a:pt x="739" y="82"/>
                  </a:cubicBezTo>
                  <a:cubicBezTo>
                    <a:pt x="721" y="88"/>
                    <a:pt x="696" y="93"/>
                    <a:pt x="662" y="99"/>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pic>
        <p:nvPicPr>
          <p:cNvPr id="105" name="Picture 3"/>
          <p:cNvPicPr>
            <a:picLocks noChangeAspect="1" noChangeArrowheads="1"/>
          </p:cNvPicPr>
          <p:nvPr/>
        </p:nvPicPr>
        <p:blipFill>
          <a:blip r:embed="rId24" cstate="print"/>
          <a:srcRect/>
          <a:stretch>
            <a:fillRect/>
          </a:stretch>
        </p:blipFill>
        <p:spPr bwMode="auto">
          <a:xfrm>
            <a:off x="345570" y="308411"/>
            <a:ext cx="960106" cy="677217"/>
          </a:xfrm>
          <a:prstGeom prst="rect">
            <a:avLst/>
          </a:prstGeom>
          <a:noFill/>
          <a:ln w="9525">
            <a:noFill/>
            <a:miter lim="800000"/>
            <a:headEnd/>
            <a:tailEnd/>
          </a:ln>
        </p:spPr>
      </p:pic>
      <p:sp>
        <p:nvSpPr>
          <p:cNvPr id="36" name="Dikdörtgen 35"/>
          <p:cNvSpPr/>
          <p:nvPr/>
        </p:nvSpPr>
        <p:spPr>
          <a:xfrm>
            <a:off x="9757530" y="2500077"/>
            <a:ext cx="2741260" cy="280076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none" strike="noStrike" kern="0" cap="none" spc="0" normalizeH="0" baseline="0" noProof="0" dirty="0">
                <a:ln>
                  <a:noFill/>
                </a:ln>
                <a:solidFill>
                  <a:prstClr val="black"/>
                </a:solidFill>
                <a:effectLst/>
                <a:uLnTx/>
                <a:uFillTx/>
                <a:latin typeface="Calibri"/>
                <a:ea typeface="+mn-ea"/>
                <a:cs typeface="+mn-cs"/>
              </a:rPr>
              <a:t>900.000 TL’li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none" strike="noStrike" kern="0" cap="none" spc="0" normalizeH="0" baseline="0" noProof="0" dirty="0">
                <a:ln>
                  <a:noFill/>
                </a:ln>
                <a:solidFill>
                  <a:prstClr val="black"/>
                </a:solidFill>
                <a:effectLst/>
                <a:uLnTx/>
                <a:uFillTx/>
                <a:latin typeface="Calibri"/>
                <a:ea typeface="+mn-ea"/>
                <a:cs typeface="+mn-cs"/>
              </a:rPr>
              <a:t>destek üzerind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000" b="1"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sng" strike="noStrike" kern="0" cap="none" spc="0" normalizeH="0" baseline="0" noProof="0" dirty="0">
                <a:ln>
                  <a:noFill/>
                </a:ln>
                <a:solidFill>
                  <a:srgbClr val="FF0000"/>
                </a:solidFill>
                <a:effectLst/>
                <a:uLnTx/>
                <a:uFillTx/>
                <a:latin typeface="Calibri"/>
                <a:ea typeface="+mn-ea"/>
                <a:cs typeface="+mn-cs"/>
              </a:rPr>
              <a:t>Toplam Deste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sng" strike="noStrike" kern="0" cap="none" spc="0" normalizeH="0" baseline="0" noProof="0" dirty="0">
                <a:ln>
                  <a:noFill/>
                </a:ln>
                <a:solidFill>
                  <a:srgbClr val="FF0000"/>
                </a:solidFill>
                <a:effectLst/>
                <a:uLnTx/>
                <a:uFillTx/>
                <a:latin typeface="Calibri"/>
                <a:ea typeface="+mn-ea"/>
                <a:cs typeface="+mn-cs"/>
              </a:rPr>
              <a:t>Tutarı</a:t>
            </a:r>
            <a:r>
              <a:rPr kumimoji="0" lang="en-US" sz="2000" b="1" i="0" u="sng" strike="noStrike" kern="0" cap="none" spc="0" normalizeH="0" baseline="0" noProof="0" dirty="0">
                <a:ln>
                  <a:noFill/>
                </a:ln>
                <a:solidFill>
                  <a:srgbClr val="FF0000"/>
                </a:solidFill>
                <a:effectLst/>
                <a:uLnTx/>
                <a:uFillTx/>
                <a:latin typeface="Calibri"/>
                <a:ea typeface="+mn-ea"/>
                <a:cs typeface="+mn-cs"/>
              </a:rPr>
              <a:t>:</a:t>
            </a:r>
            <a:endParaRPr kumimoji="0" lang="tr-TR" sz="2000" b="1" i="0" u="sng" strike="noStrike" kern="0" cap="none" spc="0" normalizeH="0" baseline="0" noProof="0" dirty="0">
              <a:ln>
                <a:noFill/>
              </a:ln>
              <a:solidFill>
                <a:srgbClr val="FF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none" strike="noStrike" kern="0" cap="none" spc="0" normalizeH="0" baseline="0" noProof="0" dirty="0">
                <a:ln>
                  <a:noFill/>
                </a:ln>
                <a:solidFill>
                  <a:prstClr val="black"/>
                </a:solidFill>
                <a:effectLst/>
                <a:uLnTx/>
                <a:uFillTx/>
                <a:latin typeface="Calibri"/>
                <a:ea typeface="+mn-ea"/>
                <a:cs typeface="+mn-cs"/>
              </a:rPr>
              <a:t>750.000 T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sng" strike="noStrike" kern="0" cap="none" spc="0" normalizeH="0" baseline="0" noProof="0" dirty="0">
                <a:ln>
                  <a:noFill/>
                </a:ln>
                <a:solidFill>
                  <a:srgbClr val="4F81BD"/>
                </a:solidFill>
                <a:effectLst/>
                <a:uLnTx/>
                <a:uFillTx/>
                <a:latin typeface="Calibri"/>
                <a:ea typeface="+mn-ea"/>
                <a:cs typeface="+mn-cs"/>
              </a:rPr>
              <a:t>Destek Oranı:</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none" strike="noStrike" kern="0" cap="none" spc="0" normalizeH="0" baseline="0" noProof="0" dirty="0">
                <a:ln>
                  <a:noFill/>
                </a:ln>
                <a:solidFill>
                  <a:prstClr val="black"/>
                </a:solidFill>
                <a:effectLst/>
                <a:uLnTx/>
                <a:uFillTx/>
                <a:latin typeface="Calibri"/>
                <a:ea typeface="+mn-ea"/>
                <a:cs typeface="+mn-cs"/>
              </a:rPr>
              <a:t>%75</a:t>
            </a:r>
            <a:endParaRPr kumimoji="0" lang="en-US" sz="2000" b="1" i="0" u="none" strike="noStrike" kern="0" cap="none" spc="0" normalizeH="0" baseline="0" noProof="0" dirty="0">
              <a:ln>
                <a:noFill/>
              </a:ln>
              <a:solidFill>
                <a:prstClr val="black"/>
              </a:solidFill>
              <a:effectLst/>
              <a:uLnTx/>
              <a:uFillTx/>
              <a:latin typeface="Calibri"/>
              <a:ea typeface="+mn-ea"/>
              <a:cs typeface="+mn-cs"/>
            </a:endParaRPr>
          </a:p>
        </p:txBody>
      </p:sp>
      <p:grpSp>
        <p:nvGrpSpPr>
          <p:cNvPr id="49" name="Grup 48"/>
          <p:cNvGrpSpPr/>
          <p:nvPr/>
        </p:nvGrpSpPr>
        <p:grpSpPr>
          <a:xfrm>
            <a:off x="6479883" y="1569429"/>
            <a:ext cx="2446298" cy="4772947"/>
            <a:chOff x="6991947" y="1569429"/>
            <a:chExt cx="2446298" cy="4772947"/>
          </a:xfrm>
        </p:grpSpPr>
        <p:sp>
          <p:nvSpPr>
            <p:cNvPr id="108" name="Metin kutusu 107"/>
            <p:cNvSpPr txBox="1"/>
            <p:nvPr/>
          </p:nvSpPr>
          <p:spPr>
            <a:xfrm>
              <a:off x="6991948" y="2536308"/>
              <a:ext cx="2434929" cy="657212"/>
            </a:xfrm>
            <a:prstGeom prst="rect">
              <a:avLst/>
            </a:prstGeom>
            <a:solidFill>
              <a:srgbClr val="4F81BD"/>
            </a:solidFill>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537914" tIns="61183" rIns="61183" bIns="61183" numCol="1" spcCol="1270" anchor="ctr" anchorCtr="0">
              <a:noAutofit/>
            </a:bodyPr>
            <a:lstStyle/>
            <a:p>
              <a:pPr marL="0" marR="0" lvl="0" indent="0" algn="l" defTabSz="1070747" rtl="0" eaLnBrk="1" fontAlgn="auto" latinLnBrk="0" hangingPunct="1">
                <a:lnSpc>
                  <a:spcPct val="90000"/>
                </a:lnSpc>
                <a:spcBef>
                  <a:spcPct val="0"/>
                </a:spcBef>
                <a:spcAft>
                  <a:spcPct val="35000"/>
                </a:spcAft>
                <a:buClrTx/>
                <a:buSzTx/>
                <a:buFontTx/>
                <a:buNone/>
                <a:tabLst/>
                <a:defRPr/>
              </a:pPr>
              <a:r>
                <a:rPr kumimoji="0" lang="tr-TR" sz="2409"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200.000 TL</a:t>
              </a:r>
            </a:p>
          </p:txBody>
        </p:sp>
        <p:sp>
          <p:nvSpPr>
            <p:cNvPr id="109" name="Metin kutusu 108"/>
            <p:cNvSpPr txBox="1"/>
            <p:nvPr/>
          </p:nvSpPr>
          <p:spPr>
            <a:xfrm>
              <a:off x="6991948" y="3599372"/>
              <a:ext cx="2434929" cy="657212"/>
            </a:xfrm>
            <a:prstGeom prst="rect">
              <a:avLst/>
            </a:prstGeom>
            <a:solidFill>
              <a:srgbClr val="C0504D"/>
            </a:solidFill>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537914" tIns="61183" rIns="61183" bIns="61183" numCol="1" spcCol="1270" anchor="ctr" anchorCtr="0">
              <a:noAutofit/>
            </a:bodyPr>
            <a:lstStyle/>
            <a:p>
              <a:pPr marL="0" marR="0" lvl="0" indent="0" algn="l" defTabSz="1070747" rtl="0" eaLnBrk="1" fontAlgn="auto" latinLnBrk="0" hangingPunct="1">
                <a:lnSpc>
                  <a:spcPct val="90000"/>
                </a:lnSpc>
                <a:spcBef>
                  <a:spcPts val="0"/>
                </a:spcBef>
                <a:spcAft>
                  <a:spcPct val="35000"/>
                </a:spcAft>
                <a:buClrTx/>
                <a:buSzTx/>
                <a:buFontTx/>
                <a:buNone/>
                <a:tabLst/>
                <a:defRPr/>
              </a:pPr>
              <a:r>
                <a:rPr kumimoji="0" lang="tr-TR" sz="2409"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100.000 TL</a:t>
              </a:r>
            </a:p>
          </p:txBody>
        </p:sp>
        <p:sp>
          <p:nvSpPr>
            <p:cNvPr id="110" name="Metin kutusu 109"/>
            <p:cNvSpPr txBox="1"/>
            <p:nvPr/>
          </p:nvSpPr>
          <p:spPr>
            <a:xfrm>
              <a:off x="6991948" y="4662436"/>
              <a:ext cx="2434929" cy="657212"/>
            </a:xfrm>
            <a:prstGeom prst="rect">
              <a:avLst/>
            </a:prstGeom>
            <a:solidFill>
              <a:srgbClr val="9BBB59"/>
            </a:solidFill>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537914" tIns="61183" rIns="61183" bIns="61183" numCol="1" spcCol="1270" anchor="ctr" anchorCtr="0">
              <a:noAutofit/>
            </a:bodyPr>
            <a:lstStyle/>
            <a:p>
              <a:pPr marL="0" marR="0" lvl="0" indent="0" algn="l" defTabSz="1070747" rtl="0" eaLnBrk="1" fontAlgn="auto" latinLnBrk="0" hangingPunct="1">
                <a:lnSpc>
                  <a:spcPct val="90000"/>
                </a:lnSpc>
                <a:spcBef>
                  <a:spcPts val="0"/>
                </a:spcBef>
                <a:spcAft>
                  <a:spcPct val="35000"/>
                </a:spcAft>
                <a:buClrTx/>
                <a:buSzTx/>
                <a:buFontTx/>
                <a:buNone/>
                <a:tabLst/>
                <a:defRPr/>
              </a:pPr>
              <a:r>
                <a:rPr kumimoji="0" lang="tr-TR" sz="2409"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100.000 TL</a:t>
              </a:r>
            </a:p>
          </p:txBody>
        </p:sp>
        <p:sp>
          <p:nvSpPr>
            <p:cNvPr id="111" name="Metin kutusu 110"/>
            <p:cNvSpPr txBox="1"/>
            <p:nvPr/>
          </p:nvSpPr>
          <p:spPr>
            <a:xfrm>
              <a:off x="6991947" y="5685164"/>
              <a:ext cx="2434929" cy="657212"/>
            </a:xfrm>
            <a:prstGeom prst="rect">
              <a:avLst/>
            </a:prstGeom>
            <a:solidFill>
              <a:srgbClr val="8064A2"/>
            </a:solidFill>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537914" tIns="61183" rIns="61183" bIns="61183" numCol="1" spcCol="1270" anchor="ctr" anchorCtr="0">
              <a:noAutofit/>
            </a:bodyPr>
            <a:lstStyle/>
            <a:p>
              <a:pPr marL="0" marR="0" lvl="0" indent="0" algn="l" defTabSz="1070747" rtl="0" eaLnBrk="1" fontAlgn="auto" latinLnBrk="0" hangingPunct="1">
                <a:lnSpc>
                  <a:spcPct val="90000"/>
                </a:lnSpc>
                <a:spcBef>
                  <a:spcPts val="0"/>
                </a:spcBef>
                <a:spcAft>
                  <a:spcPct val="35000"/>
                </a:spcAft>
                <a:buClrTx/>
                <a:buSzTx/>
                <a:buFontTx/>
                <a:buNone/>
                <a:tabLst/>
                <a:defRPr/>
              </a:pPr>
              <a:r>
                <a:rPr kumimoji="0" lang="tr-TR" sz="2409"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50.000 TL</a:t>
              </a:r>
            </a:p>
          </p:txBody>
        </p:sp>
        <p:sp>
          <p:nvSpPr>
            <p:cNvPr id="112" name="Metin kutusu 111"/>
            <p:cNvSpPr txBox="1"/>
            <p:nvPr/>
          </p:nvSpPr>
          <p:spPr>
            <a:xfrm>
              <a:off x="7003316" y="1569429"/>
              <a:ext cx="2434929" cy="657212"/>
            </a:xfrm>
            <a:prstGeom prst="rect">
              <a:avLst/>
            </a:prstGeom>
            <a:solidFill>
              <a:srgbClr val="1F497D"/>
            </a:solidFill>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537914" tIns="61183" rIns="61183" bIns="61183" numCol="1" spcCol="1270" anchor="ctr" anchorCtr="0">
              <a:noAutofit/>
            </a:bodyPr>
            <a:lstStyle/>
            <a:p>
              <a:pPr marL="0" marR="0" lvl="0" indent="0" algn="l" defTabSz="1070747" rtl="0" eaLnBrk="1" fontAlgn="auto" latinLnBrk="0" hangingPunct="1">
                <a:lnSpc>
                  <a:spcPct val="90000"/>
                </a:lnSpc>
                <a:spcBef>
                  <a:spcPct val="0"/>
                </a:spcBef>
                <a:spcAft>
                  <a:spcPct val="35000"/>
                </a:spcAft>
                <a:buClrTx/>
                <a:buSzTx/>
                <a:buFontTx/>
                <a:buNone/>
                <a:tabLst/>
                <a:defRPr/>
              </a:pPr>
              <a:r>
                <a:rPr kumimoji="0" lang="tr-TR" sz="2409"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450.000 TL</a:t>
              </a:r>
            </a:p>
          </p:txBody>
        </p:sp>
      </p:grpSp>
      <p:sp>
        <p:nvSpPr>
          <p:cNvPr id="63" name="4 Metin kutusu">
            <a:extLst>
              <a:ext uri="{FF2B5EF4-FFF2-40B4-BE49-F238E27FC236}">
                <a16:creationId xmlns:a16="http://schemas.microsoft.com/office/drawing/2014/main" id="{D24AB0B5-B3D1-40E8-9AFB-AEEE95DC7A3F}"/>
              </a:ext>
            </a:extLst>
          </p:cNvPr>
          <p:cNvSpPr txBox="1"/>
          <p:nvPr/>
        </p:nvSpPr>
        <p:spPr>
          <a:xfrm>
            <a:off x="1757302" y="278465"/>
            <a:ext cx="8888927"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Ar-G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Ür</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Ge v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İnovasyon</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 Destek Programı</a:t>
            </a:r>
          </a:p>
        </p:txBody>
      </p:sp>
      <p:sp>
        <p:nvSpPr>
          <p:cNvPr id="8" name="Slayt Numarası Yer Tutucusu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293110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7 Metin kutusu"/>
          <p:cNvSpPr txBox="1">
            <a:spLocks noChangeArrowheads="1"/>
          </p:cNvSpPr>
          <p:nvPr/>
        </p:nvSpPr>
        <p:spPr bwMode="auto">
          <a:xfrm>
            <a:off x="2726251" y="423085"/>
            <a:ext cx="7688134" cy="4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ase" hangingPunct="1">
              <a:spcBef>
                <a:spcPct val="0"/>
              </a:spcBef>
              <a:spcAft>
                <a:spcPct val="0"/>
              </a:spcAft>
            </a:pPr>
            <a:r>
              <a:rPr lang="tr-TR" altLang="tr-TR" sz="2400" b="1" dirty="0">
                <a:solidFill>
                  <a:srgbClr val="00A6E6"/>
                </a:solidFill>
                <a:latin typeface="Calibri" panose="020F0502020204030204" pitchFamily="34" charset="0"/>
                <a:ea typeface="ヒラギノ角ゴ Pro W3" pitchFamily="1" charset="-128"/>
                <a:cs typeface="Calibri" panose="020F0502020204030204" pitchFamily="34" charset="0"/>
              </a:rPr>
              <a:t>BELGELENDİRME DESTEĞİ</a:t>
            </a:r>
          </a:p>
        </p:txBody>
      </p:sp>
      <p:pic>
        <p:nvPicPr>
          <p:cNvPr id="52228" name="Picture 5" descr="C:\Users\yildiz.sapmaz\Desktop\imagesCA8FM7TQ.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53230" y="1064981"/>
            <a:ext cx="2299201" cy="348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Dikdörtgen 1"/>
          <p:cNvSpPr/>
          <p:nvPr/>
        </p:nvSpPr>
        <p:spPr>
          <a:xfrm>
            <a:off x="1" y="1333127"/>
            <a:ext cx="8047330" cy="3181699"/>
          </a:xfrm>
          <a:prstGeom prst="rect">
            <a:avLst/>
          </a:prstGeom>
        </p:spPr>
        <p:txBody>
          <a:bodyPr wrap="square">
            <a:spAutoFit/>
          </a:bodyPr>
          <a:lstStyle/>
          <a:p>
            <a:pPr marL="363289" algn="just" defTabSz="917783" fontAlgn="b">
              <a:defRPr/>
            </a:pPr>
            <a:r>
              <a:rPr lang="tr-TR" sz="2007" dirty="0">
                <a:solidFill>
                  <a:srgbClr val="020202"/>
                </a:solidFill>
                <a:latin typeface="Calibri" pitchFamily="34" charset="0"/>
                <a:ea typeface="ヒラギノ角ゴ Pro W3" pitchFamily="1" charset="-128"/>
                <a:cs typeface="Calibri" panose="020F0502020204030204" pitchFamily="34" charset="0"/>
              </a:rPr>
              <a:t>İşletmelerin; </a:t>
            </a:r>
          </a:p>
          <a:p>
            <a:pPr marL="650096" indent="-286807" algn="just" defTabSz="917783" fontAlgn="b">
              <a:buFont typeface="Wingdings" panose="05000000000000000000" pitchFamily="2" charset="2"/>
              <a:buChar char="ü"/>
              <a:defRPr/>
            </a:pPr>
            <a:r>
              <a:rPr lang="tr-TR" sz="2007" dirty="0">
                <a:solidFill>
                  <a:srgbClr val="020202"/>
                </a:solidFill>
                <a:latin typeface="Calibri" pitchFamily="34" charset="0"/>
                <a:ea typeface="ヒラギノ角ゴ Pro W3" pitchFamily="1" charset="-128"/>
                <a:cs typeface="Calibri" panose="020F0502020204030204" pitchFamily="34" charset="0"/>
              </a:rPr>
              <a:t>Türk Standartları Enstitüsü (TSE), </a:t>
            </a:r>
          </a:p>
          <a:p>
            <a:pPr marL="650096" indent="-286807" algn="just" defTabSz="917783" fontAlgn="b">
              <a:buFont typeface="Wingdings" panose="05000000000000000000" pitchFamily="2" charset="2"/>
              <a:buChar char="ü"/>
              <a:defRPr/>
            </a:pPr>
            <a:r>
              <a:rPr lang="tr-TR" sz="2007" dirty="0">
                <a:solidFill>
                  <a:srgbClr val="020202"/>
                </a:solidFill>
                <a:latin typeface="Calibri" pitchFamily="34" charset="0"/>
                <a:ea typeface="ヒラギノ角ゴ Pro W3" pitchFamily="1" charset="-128"/>
                <a:cs typeface="Calibri" panose="020F0502020204030204" pitchFamily="34" charset="0"/>
              </a:rPr>
              <a:t>Türk Akreditasyon Kurumu (TÜRKAK),</a:t>
            </a:r>
          </a:p>
          <a:p>
            <a:pPr marL="650096" indent="-286807" algn="just" defTabSz="917783" fontAlgn="b">
              <a:buFont typeface="Wingdings" panose="05000000000000000000" pitchFamily="2" charset="2"/>
              <a:buChar char="ü"/>
              <a:defRPr/>
            </a:pPr>
            <a:r>
              <a:rPr lang="tr-TR" sz="2007" dirty="0">
                <a:solidFill>
                  <a:srgbClr val="020202"/>
                </a:solidFill>
                <a:latin typeface="Calibri" pitchFamily="34" charset="0"/>
                <a:ea typeface="ヒラギノ角ゴ Pro W3" pitchFamily="1" charset="-128"/>
                <a:cs typeface="Calibri" panose="020F0502020204030204" pitchFamily="34" charset="0"/>
              </a:rPr>
              <a:t>TÜRKAK tarafından akredite edilmiş kurum/kuruluşlardan akredite oldukları konularda alacakları</a:t>
            </a:r>
          </a:p>
          <a:p>
            <a:pPr marL="1106665" lvl="1" indent="-286807" algn="just" defTabSz="917783" fontAlgn="b">
              <a:buFont typeface="Wingdings" panose="05000000000000000000" pitchFamily="2" charset="2"/>
              <a:buChar char="Ø"/>
              <a:defRPr/>
            </a:pPr>
            <a:r>
              <a:rPr lang="tr-TR" sz="2007" dirty="0">
                <a:solidFill>
                  <a:srgbClr val="020202"/>
                </a:solidFill>
                <a:latin typeface="Calibri" pitchFamily="34" charset="0"/>
                <a:ea typeface="ヒラギノ角ゴ Pro W3" pitchFamily="1" charset="-128"/>
                <a:cs typeface="Calibri" panose="020F0502020204030204" pitchFamily="34" charset="0"/>
              </a:rPr>
              <a:t> ürün, </a:t>
            </a:r>
          </a:p>
          <a:p>
            <a:pPr marL="1106665" lvl="1" indent="-286807" algn="just" defTabSz="917783" fontAlgn="b">
              <a:buFont typeface="Wingdings" panose="05000000000000000000" pitchFamily="2" charset="2"/>
              <a:buChar char="Ø"/>
              <a:defRPr/>
            </a:pPr>
            <a:r>
              <a:rPr lang="tr-TR" sz="2007" dirty="0">
                <a:solidFill>
                  <a:srgbClr val="020202"/>
                </a:solidFill>
                <a:latin typeface="Calibri" pitchFamily="34" charset="0"/>
                <a:ea typeface="ヒラギノ角ゴ Pro W3" pitchFamily="1" charset="-128"/>
                <a:cs typeface="Calibri" panose="020F0502020204030204" pitchFamily="34" charset="0"/>
              </a:rPr>
              <a:t>sistem, </a:t>
            </a:r>
          </a:p>
          <a:p>
            <a:pPr marL="1106665" lvl="1" indent="-286807" algn="just" defTabSz="917783" fontAlgn="b">
              <a:buFont typeface="Wingdings" panose="05000000000000000000" pitchFamily="2" charset="2"/>
              <a:buChar char="Ø"/>
              <a:defRPr/>
            </a:pPr>
            <a:r>
              <a:rPr lang="tr-TR" sz="2007" dirty="0">
                <a:solidFill>
                  <a:srgbClr val="020202"/>
                </a:solidFill>
                <a:latin typeface="Calibri" pitchFamily="34" charset="0"/>
                <a:ea typeface="ヒラギノ角ゴ Pro W3" pitchFamily="1" charset="-128"/>
                <a:cs typeface="Calibri" panose="020F0502020204030204" pitchFamily="34" charset="0"/>
              </a:rPr>
              <a:t>personel, </a:t>
            </a:r>
          </a:p>
          <a:p>
            <a:pPr marL="1106665" lvl="1" indent="-286807" algn="just" defTabSz="917783" fontAlgn="b">
              <a:buFont typeface="Wingdings" panose="05000000000000000000" pitchFamily="2" charset="2"/>
              <a:buChar char="Ø"/>
              <a:defRPr/>
            </a:pPr>
            <a:r>
              <a:rPr lang="tr-TR" sz="2007" dirty="0">
                <a:solidFill>
                  <a:srgbClr val="020202"/>
                </a:solidFill>
                <a:latin typeface="Calibri" pitchFamily="34" charset="0"/>
                <a:ea typeface="ヒラギノ角ゴ Pro W3" pitchFamily="1" charset="-128"/>
                <a:cs typeface="Calibri" panose="020F0502020204030204" pitchFamily="34" charset="0"/>
              </a:rPr>
              <a:t>laboratuvar akreditasyon belgelerine </a:t>
            </a:r>
          </a:p>
          <a:p>
            <a:pPr marL="361696" lvl="1" algn="just" defTabSz="917783" fontAlgn="b">
              <a:defRPr/>
            </a:pPr>
            <a:endParaRPr lang="tr-TR" sz="2007" dirty="0">
              <a:solidFill>
                <a:srgbClr val="020202"/>
              </a:solidFill>
              <a:latin typeface="Calibri" pitchFamily="34" charset="0"/>
              <a:ea typeface="ヒラギノ角ゴ Pro W3" pitchFamily="1" charset="-128"/>
              <a:cs typeface="Calibri" panose="020F0502020204030204" pitchFamily="34" charset="0"/>
            </a:endParaRPr>
          </a:p>
        </p:txBody>
      </p:sp>
      <p:sp>
        <p:nvSpPr>
          <p:cNvPr id="3" name="Dikdörtgen 2"/>
          <p:cNvSpPr/>
          <p:nvPr/>
        </p:nvSpPr>
        <p:spPr>
          <a:xfrm>
            <a:off x="-131747" y="4278972"/>
            <a:ext cx="11937194" cy="1946087"/>
          </a:xfrm>
          <a:prstGeom prst="rect">
            <a:avLst/>
          </a:prstGeom>
        </p:spPr>
        <p:txBody>
          <a:bodyPr wrap="square">
            <a:spAutoFit/>
          </a:bodyPr>
          <a:lstStyle/>
          <a:p>
            <a:pPr marL="648504" lvl="1" indent="-286807" algn="just" defTabSz="917783" fontAlgn="b">
              <a:buFont typeface="Wingdings" panose="05000000000000000000" pitchFamily="2" charset="2"/>
              <a:buChar char="ü"/>
              <a:defRPr/>
            </a:pPr>
            <a:r>
              <a:rPr lang="tr-TR" sz="2007" dirty="0">
                <a:solidFill>
                  <a:srgbClr val="020202"/>
                </a:solidFill>
                <a:latin typeface="Calibri" pitchFamily="34" charset="0"/>
                <a:ea typeface="ヒラギノ角ゴ Pro W3" pitchFamily="1" charset="-128"/>
                <a:cs typeface="Calibri" panose="020F0502020204030204" pitchFamily="34" charset="0"/>
              </a:rPr>
              <a:t>Helal Akreditasyon Kurumu (HAK)</a:t>
            </a:r>
          </a:p>
          <a:p>
            <a:pPr marL="648504" lvl="1" indent="-286807" algn="just" defTabSz="917783" fontAlgn="b">
              <a:buFont typeface="Wingdings" panose="05000000000000000000" pitchFamily="2" charset="2"/>
              <a:buChar char="ü"/>
              <a:defRPr/>
            </a:pPr>
            <a:r>
              <a:rPr lang="tr-TR" sz="2007" dirty="0">
                <a:solidFill>
                  <a:srgbClr val="020202"/>
                </a:solidFill>
                <a:latin typeface="Calibri" pitchFamily="34" charset="0"/>
                <a:ea typeface="ヒラギノ角ゴ Pro W3" pitchFamily="1" charset="-128"/>
                <a:cs typeface="Calibri" panose="020F0502020204030204" pitchFamily="34" charset="0"/>
              </a:rPr>
              <a:t>HAK tarafından akredite edilmiş kurum/kuruluşlardan </a:t>
            </a:r>
          </a:p>
          <a:p>
            <a:pPr marL="648504" lvl="1" indent="-286807" algn="just" defTabSz="917783" fontAlgn="b">
              <a:buFont typeface="Wingdings" panose="05000000000000000000" pitchFamily="2" charset="2"/>
              <a:buChar char="ü"/>
              <a:defRPr/>
            </a:pPr>
            <a:r>
              <a:rPr lang="tr-TR" sz="2007" dirty="0">
                <a:solidFill>
                  <a:prstClr val="black"/>
                </a:solidFill>
                <a:latin typeface="Calibri" pitchFamily="34" charset="0"/>
                <a:ea typeface="ヒラギノ角ゴ Pro W3" pitchFamily="1" charset="-128"/>
                <a:cs typeface="Calibri" panose="020F0502020204030204" pitchFamily="34" charset="0"/>
              </a:rPr>
              <a:t>TRTEST Test ve Değerlendirme A.Ş </a:t>
            </a:r>
            <a:r>
              <a:rPr lang="tr-TR" sz="2007" dirty="0">
                <a:solidFill>
                  <a:srgbClr val="020202"/>
                </a:solidFill>
                <a:latin typeface="Calibri" pitchFamily="34" charset="0"/>
                <a:ea typeface="ヒラギノ角ゴ Pro W3" pitchFamily="1" charset="-128"/>
                <a:cs typeface="Calibri" panose="020F0502020204030204" pitchFamily="34" charset="0"/>
              </a:rPr>
              <a:t>alınacak belgelere</a:t>
            </a:r>
          </a:p>
          <a:p>
            <a:pPr marL="648504" lvl="1" indent="-286807" algn="just" defTabSz="917783" fontAlgn="b">
              <a:buFont typeface="Wingdings" panose="05000000000000000000" pitchFamily="2" charset="2"/>
              <a:buChar char="ü"/>
              <a:defRPr/>
            </a:pPr>
            <a:r>
              <a:rPr lang="tr-TR" sz="2007" dirty="0">
                <a:solidFill>
                  <a:srgbClr val="020202"/>
                </a:solidFill>
                <a:latin typeface="Calibri" pitchFamily="34" charset="0"/>
                <a:ea typeface="ヒラギノ角ゴ Pro W3" pitchFamily="1" charset="-128"/>
                <a:cs typeface="Calibri" panose="020F0502020204030204" pitchFamily="34" charset="0"/>
              </a:rPr>
              <a:t>TÜRKAK tarafından herhangi bir konuda akredite edilmiş belgelendirme kuruluşlarından alacakları İş Sağlığı ve Güvenliği konusundaki belgelere (İş Sağlığı ve Güvenliği Yönetim Sistemi (OHSAS, TS ISO 18001), TS ISO 45001:2018 vb.)  ilişkin giderlerine destek verilir. </a:t>
            </a:r>
          </a:p>
        </p:txBody>
      </p:sp>
    </p:spTree>
    <p:extLst>
      <p:ext uri="{BB962C8B-B14F-4D97-AF65-F5344CB8AC3E}">
        <p14:creationId xmlns:p14="http://schemas.microsoft.com/office/powerpoint/2010/main" val="3335807839"/>
      </p:ext>
    </p:extLst>
  </p:cSld>
  <p:clrMapOvr>
    <a:masterClrMapping/>
  </p:clrMapOvr>
  <p:transition spd="slow">
    <p:push dir="u"/>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7 Metin kutusu"/>
          <p:cNvSpPr txBox="1">
            <a:spLocks noChangeArrowheads="1"/>
          </p:cNvSpPr>
          <p:nvPr/>
        </p:nvSpPr>
        <p:spPr bwMode="auto">
          <a:xfrm>
            <a:off x="2726251" y="423085"/>
            <a:ext cx="7688134" cy="4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ase" hangingPunct="1">
              <a:spcBef>
                <a:spcPct val="0"/>
              </a:spcBef>
              <a:spcAft>
                <a:spcPct val="0"/>
              </a:spcAft>
            </a:pPr>
            <a:r>
              <a:rPr lang="tr-TR" altLang="tr-TR" sz="2400" b="1" dirty="0">
                <a:solidFill>
                  <a:srgbClr val="00A6E6"/>
                </a:solidFill>
                <a:latin typeface="Calibri" panose="020F0502020204030204" pitchFamily="34" charset="0"/>
                <a:ea typeface="ヒラギノ角ゴ Pro W3" pitchFamily="1" charset="-128"/>
                <a:cs typeface="Calibri" panose="020F0502020204030204" pitchFamily="34" charset="0"/>
              </a:rPr>
              <a:t>BELGELENDİRME DESTEĞİ</a:t>
            </a:r>
          </a:p>
        </p:txBody>
      </p:sp>
      <p:sp>
        <p:nvSpPr>
          <p:cNvPr id="3" name="Dikdörtgen 2"/>
          <p:cNvSpPr/>
          <p:nvPr/>
        </p:nvSpPr>
        <p:spPr>
          <a:xfrm>
            <a:off x="22542" y="1558721"/>
            <a:ext cx="8892046" cy="2872796"/>
          </a:xfrm>
          <a:prstGeom prst="rect">
            <a:avLst/>
          </a:prstGeom>
        </p:spPr>
        <p:txBody>
          <a:bodyPr wrap="square">
            <a:spAutoFit/>
          </a:bodyPr>
          <a:lstStyle/>
          <a:p>
            <a:pPr marL="361696" lvl="1" algn="just" defTabSz="917783" fontAlgn="b">
              <a:defRPr/>
            </a:pPr>
            <a:r>
              <a:rPr lang="tr-TR" sz="2007" dirty="0">
                <a:solidFill>
                  <a:srgbClr val="020202"/>
                </a:solidFill>
                <a:latin typeface="Calibri" pitchFamily="34" charset="0"/>
                <a:ea typeface="ヒラギノ角ゴ Pro W3" pitchFamily="1" charset="-128"/>
                <a:cs typeface="Calibri" panose="020F0502020204030204" pitchFamily="34" charset="0"/>
              </a:rPr>
              <a:t>ISO /IEC15408, ISO/IEC 19790, ISO/IEC 24759, ISO/IEC 15504, TS13298, ISO9241151,  ISO/IEC 25051,  ISO/IEC 40500:2012, ISO/IEC 12207, ISO/IEC 15288 ve ISO/IEC 17025 kapsamlarındaki belgeler için destek üst limiti </a:t>
            </a:r>
            <a:r>
              <a:rPr lang="tr-TR" sz="2007" b="1" dirty="0">
                <a:solidFill>
                  <a:srgbClr val="020202"/>
                </a:solidFill>
                <a:latin typeface="Calibri" pitchFamily="34" charset="0"/>
                <a:ea typeface="ヒラギノ角ゴ Pro W3" pitchFamily="1" charset="-128"/>
                <a:cs typeface="Calibri" panose="020F0502020204030204" pitchFamily="34" charset="0"/>
              </a:rPr>
              <a:t>10.000 TL</a:t>
            </a:r>
            <a:r>
              <a:rPr lang="tr-TR" sz="2007" dirty="0">
                <a:solidFill>
                  <a:srgbClr val="020202"/>
                </a:solidFill>
                <a:latin typeface="Calibri" pitchFamily="34" charset="0"/>
                <a:ea typeface="ヒラギノ角ゴ Pro W3" pitchFamily="1" charset="-128"/>
                <a:cs typeface="Calibri" panose="020F0502020204030204" pitchFamily="34" charset="0"/>
              </a:rPr>
              <a:t>, Bu belgeler dışında kalan belgeler için ise destek üst limiti </a:t>
            </a:r>
            <a:r>
              <a:rPr lang="tr-TR" sz="2007" b="1" dirty="0">
                <a:solidFill>
                  <a:srgbClr val="020202"/>
                </a:solidFill>
                <a:latin typeface="Calibri" pitchFamily="34" charset="0"/>
                <a:ea typeface="ヒラギノ角ゴ Pro W3" pitchFamily="1" charset="-128"/>
                <a:cs typeface="Calibri" panose="020F0502020204030204" pitchFamily="34" charset="0"/>
              </a:rPr>
              <a:t>2.500 TL</a:t>
            </a:r>
            <a:r>
              <a:rPr lang="tr-TR" sz="2007" dirty="0">
                <a:solidFill>
                  <a:srgbClr val="020202"/>
                </a:solidFill>
                <a:latin typeface="Calibri" pitchFamily="34" charset="0"/>
                <a:ea typeface="ヒラギノ角ゴ Pro W3" pitchFamily="1" charset="-128"/>
                <a:cs typeface="Calibri" panose="020F0502020204030204" pitchFamily="34" charset="0"/>
              </a:rPr>
              <a:t>’dir.</a:t>
            </a:r>
          </a:p>
          <a:p>
            <a:pPr marL="361696" lvl="1" algn="just" defTabSz="917783" fontAlgn="b">
              <a:defRPr/>
            </a:pPr>
            <a:endParaRPr lang="tr-TR" sz="2007" dirty="0">
              <a:solidFill>
                <a:srgbClr val="020202"/>
              </a:solidFill>
              <a:latin typeface="Calibri" pitchFamily="34" charset="0"/>
              <a:ea typeface="ヒラギノ角ゴ Pro W3" pitchFamily="1" charset="-128"/>
              <a:cs typeface="Calibri" panose="020F0502020204030204" pitchFamily="34" charset="0"/>
            </a:endParaRPr>
          </a:p>
          <a:p>
            <a:pPr marL="363289" algn="just" defTabSz="917783" fontAlgn="b">
              <a:defRPr/>
            </a:pPr>
            <a:r>
              <a:rPr lang="tr-TR" sz="2007" dirty="0">
                <a:solidFill>
                  <a:srgbClr val="020202"/>
                </a:solidFill>
                <a:latin typeface="Calibri" pitchFamily="34" charset="0"/>
                <a:ea typeface="ヒラギノ角ゴ Pro W3" pitchFamily="1" charset="-128"/>
                <a:cs typeface="Calibri" panose="020F0502020204030204" pitchFamily="34" charset="0"/>
              </a:rPr>
              <a:t>CE işaretlemesi için alınan belgelerde modül ayırımı gözetmeden Öncelikli Teknoloji Alanları Tablosunda belirtilen teknoloji düzeyi orta-yüksek teknoloji olan işletmeler için destek üst limiti </a:t>
            </a:r>
            <a:r>
              <a:rPr lang="tr-TR" sz="2007" b="1" dirty="0">
                <a:solidFill>
                  <a:srgbClr val="020202"/>
                </a:solidFill>
                <a:latin typeface="Calibri" pitchFamily="34" charset="0"/>
                <a:ea typeface="ヒラギノ角ゴ Pro W3" pitchFamily="1" charset="-128"/>
                <a:cs typeface="Calibri" panose="020F0502020204030204" pitchFamily="34" charset="0"/>
              </a:rPr>
              <a:t>25.000</a:t>
            </a:r>
            <a:r>
              <a:rPr lang="tr-TR" sz="2007" dirty="0">
                <a:solidFill>
                  <a:srgbClr val="020202"/>
                </a:solidFill>
                <a:latin typeface="Calibri" pitchFamily="34" charset="0"/>
                <a:ea typeface="ヒラギノ角ゴ Pro W3" pitchFamily="1" charset="-128"/>
                <a:cs typeface="Calibri" panose="020F0502020204030204" pitchFamily="34" charset="0"/>
              </a:rPr>
              <a:t> TL, belirtilen teknoloji düzeyi yüksek teknoloji olan işletmeler için destek üst limiti </a:t>
            </a:r>
            <a:r>
              <a:rPr lang="tr-TR" sz="2007" b="1" dirty="0">
                <a:solidFill>
                  <a:srgbClr val="020202"/>
                </a:solidFill>
                <a:latin typeface="Calibri" pitchFamily="34" charset="0"/>
                <a:ea typeface="ヒラギノ角ゴ Pro W3" pitchFamily="1" charset="-128"/>
                <a:cs typeface="Calibri" panose="020F0502020204030204" pitchFamily="34" charset="0"/>
              </a:rPr>
              <a:t>50.000 TL</a:t>
            </a:r>
            <a:r>
              <a:rPr lang="tr-TR" sz="2007" dirty="0">
                <a:solidFill>
                  <a:srgbClr val="020202"/>
                </a:solidFill>
                <a:latin typeface="Calibri" pitchFamily="34" charset="0"/>
                <a:ea typeface="ヒラギノ角ゴ Pro W3" pitchFamily="1" charset="-128"/>
                <a:cs typeface="Calibri" panose="020F0502020204030204" pitchFamily="34" charset="0"/>
              </a:rPr>
              <a:t>’dir.</a:t>
            </a:r>
          </a:p>
        </p:txBody>
      </p:sp>
      <p:pic>
        <p:nvPicPr>
          <p:cNvPr id="6" name="Resim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01692" y="1911299"/>
            <a:ext cx="3228218" cy="1734264"/>
          </a:xfrm>
          <a:prstGeom prst="rect">
            <a:avLst/>
          </a:prstGeom>
        </p:spPr>
      </p:pic>
      <p:sp>
        <p:nvSpPr>
          <p:cNvPr id="7" name="Dikdörtgen 6"/>
          <p:cNvSpPr/>
          <p:nvPr/>
        </p:nvSpPr>
        <p:spPr>
          <a:xfrm>
            <a:off x="458824" y="4575661"/>
            <a:ext cx="10781804" cy="710476"/>
          </a:xfrm>
          <a:prstGeom prst="rect">
            <a:avLst/>
          </a:prstGeom>
        </p:spPr>
        <p:txBody>
          <a:bodyPr wrap="square">
            <a:spAutoFit/>
          </a:bodyPr>
          <a:lstStyle/>
          <a:p>
            <a:pPr defTabSz="917783" fontAlgn="base">
              <a:spcBef>
                <a:spcPct val="0"/>
              </a:spcBef>
              <a:spcAft>
                <a:spcPct val="0"/>
              </a:spcAft>
            </a:pPr>
            <a:r>
              <a:rPr lang="tr-TR" sz="2007" dirty="0">
                <a:solidFill>
                  <a:prstClr val="black"/>
                </a:solidFill>
                <a:latin typeface="Calibri" pitchFamily="34" charset="0"/>
                <a:ea typeface="Calibri" panose="020F0502020204030204" pitchFamily="34" charset="0"/>
                <a:cs typeface="Calibri" panose="020F0502020204030204" pitchFamily="34" charset="0"/>
              </a:rPr>
              <a:t>Destek programı süresince </a:t>
            </a:r>
            <a:r>
              <a:rPr lang="tr-TR" sz="2007" b="1" dirty="0">
                <a:solidFill>
                  <a:prstClr val="black"/>
                </a:solidFill>
                <a:latin typeface="Calibri" pitchFamily="34" charset="0"/>
                <a:ea typeface="Calibri" panose="020F0502020204030204" pitchFamily="34" charset="0"/>
                <a:cs typeface="Calibri" panose="020F0502020204030204" pitchFamily="34" charset="0"/>
              </a:rPr>
              <a:t>yurtdışından alınacak CE Uygunluk İşareti Belgesi için destek üst limiti 150.000 TL’dir. </a:t>
            </a:r>
            <a:endParaRPr lang="tr-TR" sz="2007" dirty="0">
              <a:solidFill>
                <a:prstClr val="black"/>
              </a:solidFill>
              <a:latin typeface="Calibri" pitchFamily="34" charset="0"/>
              <a:ea typeface="ヒラギノ角ゴ Pro W3" pitchFamily="1" charset="-128"/>
              <a:cs typeface="Calibri" panose="020F0502020204030204" pitchFamily="34" charset="0"/>
            </a:endParaRPr>
          </a:p>
        </p:txBody>
      </p:sp>
    </p:spTree>
    <p:extLst>
      <p:ext uri="{BB962C8B-B14F-4D97-AF65-F5344CB8AC3E}">
        <p14:creationId xmlns:p14="http://schemas.microsoft.com/office/powerpoint/2010/main" val="1124627565"/>
      </p:ext>
    </p:extLst>
  </p:cSld>
  <p:clrMapOvr>
    <a:masterClrMapping/>
  </p:clrMapOvr>
  <p:transition spd="slow">
    <p:push dir="u"/>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defTabSz="1097302"/>
            <a:fld id="{7C1868C5-B491-42BF-9F5C-46095BC3F40A}" type="slidenum">
              <a:rPr lang="tr-TR">
                <a:solidFill>
                  <a:prstClr val="black"/>
                </a:solidFill>
                <a:latin typeface="Frutiger 45 Light"/>
                <a:ea typeface="ヒラギノ角ゴ Pro W3" pitchFamily="1" charset="-128"/>
              </a:rPr>
              <a:pPr defTabSz="1097302"/>
              <a:t>102</a:t>
            </a:fld>
            <a:endParaRPr lang="tr-TR" dirty="0">
              <a:solidFill>
                <a:prstClr val="black"/>
              </a:solidFill>
              <a:latin typeface="Frutiger 45 Light"/>
              <a:ea typeface="ヒラギノ角ゴ Pro W3" pitchFamily="1" charset="-128"/>
            </a:endParaRPr>
          </a:p>
        </p:txBody>
      </p:sp>
      <p:sp>
        <p:nvSpPr>
          <p:cNvPr id="5" name="Dikdörtgen 4"/>
          <p:cNvSpPr/>
          <p:nvPr/>
        </p:nvSpPr>
        <p:spPr>
          <a:xfrm>
            <a:off x="456001" y="4354188"/>
            <a:ext cx="10850811" cy="401574"/>
          </a:xfrm>
          <a:prstGeom prst="rect">
            <a:avLst/>
          </a:prstGeom>
        </p:spPr>
        <p:txBody>
          <a:bodyPr wrap="square">
            <a:spAutoFit/>
          </a:bodyPr>
          <a:lstStyle/>
          <a:p>
            <a:pPr algn="just" defTabSz="917783" fontAlgn="base">
              <a:spcBef>
                <a:spcPct val="0"/>
              </a:spcBef>
              <a:spcAft>
                <a:spcPct val="0"/>
              </a:spcAft>
            </a:pPr>
            <a:r>
              <a:rPr lang="tr-TR" sz="2007" dirty="0">
                <a:solidFill>
                  <a:prstClr val="black"/>
                </a:solidFill>
                <a:latin typeface="Calibri" pitchFamily="34" charset="0"/>
                <a:ea typeface="Calibri" panose="020F0502020204030204" pitchFamily="34" charset="0"/>
                <a:cs typeface="Calibri" panose="020F0502020204030204" pitchFamily="34" charset="0"/>
              </a:rPr>
              <a:t>İşletmelerin yurtdışından alacakları belgelerden sadece CE Uygunluk İşareti Belgesi için destek verilir. </a:t>
            </a:r>
          </a:p>
        </p:txBody>
      </p:sp>
      <p:sp>
        <p:nvSpPr>
          <p:cNvPr id="7" name="Dikdörtgen 6"/>
          <p:cNvSpPr/>
          <p:nvPr/>
        </p:nvSpPr>
        <p:spPr>
          <a:xfrm>
            <a:off x="456002" y="1530758"/>
            <a:ext cx="10850811" cy="2610228"/>
          </a:xfrm>
          <a:prstGeom prst="rect">
            <a:avLst/>
          </a:prstGeom>
        </p:spPr>
        <p:txBody>
          <a:bodyPr wrap="square">
            <a:spAutoFit/>
          </a:bodyPr>
          <a:lstStyle/>
          <a:p>
            <a:pPr algn="just" defTabSz="917783" fontAlgn="base">
              <a:lnSpc>
                <a:spcPct val="115000"/>
              </a:lnSpc>
              <a:spcBef>
                <a:spcPct val="0"/>
              </a:spcBef>
              <a:spcAft>
                <a:spcPts val="1004"/>
              </a:spcAft>
              <a:tabLst>
                <a:tab pos="183557" algn="l"/>
              </a:tabLst>
            </a:pPr>
            <a:r>
              <a:rPr lang="tr-TR" sz="2007" dirty="0">
                <a:solidFill>
                  <a:prstClr val="black"/>
                </a:solidFill>
                <a:latin typeface="Calibri" pitchFamily="34" charset="0"/>
                <a:ea typeface="Calibri" panose="020F0502020204030204" pitchFamily="34" charset="0"/>
                <a:cs typeface="Calibri" panose="020F0502020204030204" pitchFamily="34" charset="0"/>
              </a:rPr>
              <a:t>Destek oranları;</a:t>
            </a:r>
          </a:p>
          <a:p>
            <a:pPr algn="just" defTabSz="917783" fontAlgn="base">
              <a:lnSpc>
                <a:spcPct val="115000"/>
              </a:lnSpc>
              <a:spcBef>
                <a:spcPct val="0"/>
              </a:spcBef>
              <a:spcAft>
                <a:spcPts val="1004"/>
              </a:spcAft>
              <a:tabLst>
                <a:tab pos="183557" algn="l"/>
              </a:tabLst>
            </a:pPr>
            <a:r>
              <a:rPr lang="tr-TR" sz="2007" dirty="0">
                <a:solidFill>
                  <a:prstClr val="black"/>
                </a:solidFill>
                <a:latin typeface="Calibri" pitchFamily="34" charset="0"/>
                <a:ea typeface="Calibri" panose="020F0502020204030204" pitchFamily="34" charset="0"/>
                <a:cs typeface="Calibri" panose="020F0502020204030204" pitchFamily="34" charset="0"/>
              </a:rPr>
              <a:t>TSE’den alınacak belgeler %80,</a:t>
            </a:r>
          </a:p>
          <a:p>
            <a:pPr algn="just" defTabSz="917783" fontAlgn="base">
              <a:lnSpc>
                <a:spcPct val="115000"/>
              </a:lnSpc>
              <a:spcBef>
                <a:spcPct val="0"/>
              </a:spcBef>
              <a:spcAft>
                <a:spcPts val="1004"/>
              </a:spcAft>
              <a:tabLst>
                <a:tab pos="183557" algn="l"/>
              </a:tabLst>
            </a:pPr>
            <a:r>
              <a:rPr lang="tr-TR" sz="2007" dirty="0">
                <a:solidFill>
                  <a:prstClr val="black"/>
                </a:solidFill>
                <a:latin typeface="Calibri" pitchFamily="34" charset="0"/>
                <a:ea typeface="Calibri" panose="020F0502020204030204" pitchFamily="34" charset="0"/>
                <a:cs typeface="Calibri" panose="020F0502020204030204" pitchFamily="34" charset="0"/>
              </a:rPr>
              <a:t>TÜRKAK ve TÜRKAK tarafından akredite edilmiş kurum/kuruluşlardan, HAK ve HAK tarafından akredite edilmiş kurum/kuruluşlardan, TRTEST Test ve Değerlendirme </a:t>
            </a:r>
            <a:r>
              <a:rPr lang="tr-TR" sz="2007" dirty="0" err="1">
                <a:solidFill>
                  <a:prstClr val="black"/>
                </a:solidFill>
                <a:latin typeface="Calibri" pitchFamily="34" charset="0"/>
                <a:ea typeface="Calibri" panose="020F0502020204030204" pitchFamily="34" charset="0"/>
                <a:cs typeface="Calibri" panose="020F0502020204030204" pitchFamily="34" charset="0"/>
              </a:rPr>
              <a:t>A.Ş.’den</a:t>
            </a:r>
            <a:r>
              <a:rPr lang="tr-TR" sz="2007" dirty="0">
                <a:solidFill>
                  <a:prstClr val="black"/>
                </a:solidFill>
                <a:latin typeface="Calibri" pitchFamily="34" charset="0"/>
                <a:ea typeface="Calibri" panose="020F0502020204030204" pitchFamily="34" charset="0"/>
                <a:cs typeface="Calibri" panose="020F0502020204030204" pitchFamily="34" charset="0"/>
              </a:rPr>
              <a:t>, alınacak belgeler %70,</a:t>
            </a:r>
          </a:p>
          <a:p>
            <a:pPr algn="just" defTabSz="917783" fontAlgn="base">
              <a:lnSpc>
                <a:spcPct val="115000"/>
              </a:lnSpc>
              <a:spcBef>
                <a:spcPct val="0"/>
              </a:spcBef>
              <a:spcAft>
                <a:spcPts val="1004"/>
              </a:spcAft>
              <a:tabLst>
                <a:tab pos="183557" algn="l"/>
              </a:tabLst>
            </a:pPr>
            <a:r>
              <a:rPr lang="tr-TR" sz="2007" dirty="0">
                <a:solidFill>
                  <a:prstClr val="black"/>
                </a:solidFill>
                <a:latin typeface="Calibri" pitchFamily="34" charset="0"/>
                <a:ea typeface="Calibri" panose="020F0502020204030204" pitchFamily="34" charset="0"/>
                <a:cs typeface="Calibri" panose="020F0502020204030204" pitchFamily="34" charset="0"/>
              </a:rPr>
              <a:t>Yurtdışından alınacak belgelerden, TSE tarafından verilenlerine destek sağlanmaz, TSE tarafından verilmeyen belgeler %60  olacaktır.</a:t>
            </a:r>
          </a:p>
        </p:txBody>
      </p:sp>
      <p:sp>
        <p:nvSpPr>
          <p:cNvPr id="9" name="7 Metin kutusu"/>
          <p:cNvSpPr txBox="1">
            <a:spLocks noChangeArrowheads="1"/>
          </p:cNvSpPr>
          <p:nvPr/>
        </p:nvSpPr>
        <p:spPr bwMode="auto">
          <a:xfrm>
            <a:off x="2071593" y="454043"/>
            <a:ext cx="7688134" cy="4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ase" hangingPunct="1">
              <a:spcBef>
                <a:spcPct val="0"/>
              </a:spcBef>
              <a:spcAft>
                <a:spcPct val="0"/>
              </a:spcAft>
            </a:pPr>
            <a:r>
              <a:rPr lang="tr-TR" altLang="tr-TR" sz="2400" b="1" dirty="0">
                <a:solidFill>
                  <a:srgbClr val="00A6E6"/>
                </a:solidFill>
                <a:latin typeface="Calibri" panose="020F0502020204030204" pitchFamily="34" charset="0"/>
                <a:ea typeface="ヒラギノ角ゴ Pro W3" pitchFamily="1" charset="-128"/>
                <a:cs typeface="Calibri" panose="020F0502020204030204" pitchFamily="34" charset="0"/>
              </a:rPr>
              <a:t>BELGELENDİRME DESTEĞİ</a:t>
            </a:r>
          </a:p>
        </p:txBody>
      </p:sp>
    </p:spTree>
    <p:extLst>
      <p:ext uri="{BB962C8B-B14F-4D97-AF65-F5344CB8AC3E}">
        <p14:creationId xmlns:p14="http://schemas.microsoft.com/office/powerpoint/2010/main" val="4020807148"/>
      </p:ext>
    </p:extLst>
  </p:cSld>
  <p:clrMapOvr>
    <a:masterClrMapping/>
  </p:clrMapOvr>
  <p:transition spd="slow">
    <p:push dir="u"/>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3" name="7 Metin kutusu"/>
          <p:cNvSpPr txBox="1">
            <a:spLocks noChangeArrowheads="1"/>
          </p:cNvSpPr>
          <p:nvPr/>
        </p:nvSpPr>
        <p:spPr bwMode="auto">
          <a:xfrm>
            <a:off x="2552905" y="232597"/>
            <a:ext cx="7688134" cy="648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 hangingPunct="1">
              <a:lnSpc>
                <a:spcPct val="150000"/>
              </a:lnSpc>
              <a:defRPr/>
            </a:pPr>
            <a:r>
              <a:rPr lang="tr-TR" sz="2400" b="1" dirty="0">
                <a:solidFill>
                  <a:srgbClr val="00A6E6"/>
                </a:solidFill>
                <a:latin typeface="Calibri" panose="020F0502020204030204" pitchFamily="34" charset="0"/>
                <a:ea typeface="ヒラギノ角ゴ Pro W3" pitchFamily="1" charset="-128"/>
                <a:cs typeface="Calibri" panose="020F0502020204030204" pitchFamily="34" charset="0"/>
              </a:rPr>
              <a:t>TEST VE ANALİZ DESTEĞİ</a:t>
            </a:r>
          </a:p>
        </p:txBody>
      </p:sp>
      <p:pic>
        <p:nvPicPr>
          <p:cNvPr id="56324" name="Picture 5" descr="C:\Users\yildiz.sapmaz\Desktop\iltem_kalibrasyon-660x33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33272" y="778711"/>
            <a:ext cx="3565953" cy="2979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ikdörtgen 2"/>
          <p:cNvSpPr/>
          <p:nvPr/>
        </p:nvSpPr>
        <p:spPr>
          <a:xfrm>
            <a:off x="233269" y="1146745"/>
            <a:ext cx="7723541" cy="3336150"/>
          </a:xfrm>
          <a:prstGeom prst="rect">
            <a:avLst/>
          </a:prstGeom>
        </p:spPr>
        <p:txBody>
          <a:bodyPr wrap="square">
            <a:spAutoFit/>
          </a:bodyPr>
          <a:lstStyle/>
          <a:p>
            <a:pPr marL="363289" algn="just" defTabSz="917783" fontAlgn="base">
              <a:lnSpc>
                <a:spcPct val="150000"/>
              </a:lnSpc>
              <a:spcBef>
                <a:spcPct val="0"/>
              </a:spcBef>
            </a:pPr>
            <a:r>
              <a:rPr lang="tr-TR" sz="2007" dirty="0">
                <a:solidFill>
                  <a:srgbClr val="020202"/>
                </a:solidFill>
                <a:latin typeface="Calibri" pitchFamily="34" charset="0"/>
                <a:ea typeface="ヒラギノ角ゴ Pro W3" pitchFamily="1" charset="-128"/>
                <a:cs typeface="Calibri" panose="020F0502020204030204" pitchFamily="34" charset="0"/>
              </a:rPr>
              <a:t>İşletmelerin, , kamu kuruluşlarından, üniversite laboratuvarlarından veya TRTEST Test ve Değerlendirme </a:t>
            </a:r>
            <a:r>
              <a:rPr lang="tr-TR" sz="2007" dirty="0" err="1">
                <a:solidFill>
                  <a:srgbClr val="020202"/>
                </a:solidFill>
                <a:latin typeface="Calibri" pitchFamily="34" charset="0"/>
                <a:ea typeface="ヒラギノ角ゴ Pro W3" pitchFamily="1" charset="-128"/>
                <a:cs typeface="Calibri" panose="020F0502020204030204" pitchFamily="34" charset="0"/>
              </a:rPr>
              <a:t>A.Ş.’den</a:t>
            </a:r>
            <a:r>
              <a:rPr lang="tr-TR" sz="2007" dirty="0">
                <a:solidFill>
                  <a:srgbClr val="020202"/>
                </a:solidFill>
                <a:latin typeface="Calibri" pitchFamily="34" charset="0"/>
                <a:ea typeface="ヒラギノ角ゴ Pro W3" pitchFamily="1" charset="-128"/>
                <a:cs typeface="Calibri" panose="020F0502020204030204" pitchFamily="34" charset="0"/>
              </a:rPr>
              <a:t> alacakları: ürün, malzeme, parça, numunelere ilişkin </a:t>
            </a:r>
            <a:r>
              <a:rPr lang="tr-TR" sz="2007" b="1" dirty="0">
                <a:solidFill>
                  <a:srgbClr val="020202"/>
                </a:solidFill>
                <a:latin typeface="Calibri" pitchFamily="34" charset="0"/>
                <a:ea typeface="ヒラギノ角ゴ Pro W3" pitchFamily="1" charset="-128"/>
                <a:cs typeface="Calibri" panose="020F0502020204030204" pitchFamily="34" charset="0"/>
              </a:rPr>
              <a:t>test, analiz, kontrol-muayene ile yurt içi ve yurt dışı laboratuvarlarda akredite olunan test, analiz, kontrol-muayene konularında</a:t>
            </a:r>
            <a:r>
              <a:rPr lang="tr-TR" sz="2007" dirty="0">
                <a:solidFill>
                  <a:srgbClr val="020202"/>
                </a:solidFill>
                <a:latin typeface="Calibri" pitchFamily="34" charset="0"/>
                <a:ea typeface="ヒラギノ角ゴ Pro W3" pitchFamily="1" charset="-128"/>
                <a:cs typeface="Calibri" panose="020F0502020204030204" pitchFamily="34" charset="0"/>
              </a:rPr>
              <a:t> alacakları hizmet giderlerine destek verilir.</a:t>
            </a:r>
          </a:p>
          <a:p>
            <a:pPr marL="363289" algn="just" defTabSz="917783">
              <a:lnSpc>
                <a:spcPct val="150000"/>
              </a:lnSpc>
              <a:defRPr/>
            </a:pPr>
            <a:r>
              <a:rPr lang="tr-TR" sz="2007" dirty="0">
                <a:solidFill>
                  <a:srgbClr val="020202"/>
                </a:solidFill>
                <a:latin typeface="Calibri" pitchFamily="34" charset="0"/>
                <a:ea typeface="ヒラギノ角ゴ Pro W3" pitchFamily="1" charset="-128"/>
                <a:cs typeface="Calibri" panose="020F0502020204030204" pitchFamily="34" charset="0"/>
              </a:rPr>
              <a:t> </a:t>
            </a:r>
          </a:p>
        </p:txBody>
      </p:sp>
      <p:sp>
        <p:nvSpPr>
          <p:cNvPr id="2" name="Dikdörtgen 1"/>
          <p:cNvSpPr/>
          <p:nvPr/>
        </p:nvSpPr>
        <p:spPr>
          <a:xfrm>
            <a:off x="518693" y="3862629"/>
            <a:ext cx="11295858" cy="2610228"/>
          </a:xfrm>
          <a:prstGeom prst="rect">
            <a:avLst/>
          </a:prstGeom>
        </p:spPr>
        <p:txBody>
          <a:bodyPr wrap="square">
            <a:spAutoFit/>
          </a:bodyPr>
          <a:lstStyle/>
          <a:p>
            <a:pPr algn="just" defTabSz="917783" fontAlgn="base">
              <a:lnSpc>
                <a:spcPct val="115000"/>
              </a:lnSpc>
              <a:spcBef>
                <a:spcPct val="0"/>
              </a:spcBef>
              <a:spcAft>
                <a:spcPts val="1004"/>
              </a:spcAft>
            </a:pPr>
            <a:r>
              <a:rPr lang="tr-TR" sz="2007" dirty="0">
                <a:solidFill>
                  <a:prstClr val="black"/>
                </a:solidFill>
                <a:latin typeface="Calibri" pitchFamily="34" charset="0"/>
                <a:ea typeface="ヒラギノ角ゴ Pro W3" pitchFamily="1" charset="-128"/>
                <a:cs typeface="Calibri" panose="020F0502020204030204" pitchFamily="34" charset="0"/>
              </a:rPr>
              <a:t>Destek oranı </a:t>
            </a:r>
            <a:r>
              <a:rPr lang="tr-TR" sz="2007" dirty="0">
                <a:solidFill>
                  <a:prstClr val="black"/>
                </a:solidFill>
                <a:latin typeface="Calibri" pitchFamily="34" charset="0"/>
                <a:ea typeface="Calibri" panose="020F0502020204030204" pitchFamily="34" charset="0"/>
                <a:cs typeface="Calibri" panose="020F0502020204030204" pitchFamily="34" charset="0"/>
              </a:rPr>
              <a:t>TSE’den alınacak hizmetler %80,</a:t>
            </a:r>
          </a:p>
          <a:p>
            <a:pPr algn="just" defTabSz="917783" fontAlgn="base">
              <a:lnSpc>
                <a:spcPct val="115000"/>
              </a:lnSpc>
              <a:spcBef>
                <a:spcPct val="0"/>
              </a:spcBef>
              <a:spcAft>
                <a:spcPts val="1004"/>
              </a:spcAft>
            </a:pPr>
            <a:r>
              <a:rPr lang="tr-TR" sz="2007" dirty="0">
                <a:solidFill>
                  <a:prstClr val="black"/>
                </a:solidFill>
                <a:latin typeface="Calibri" pitchFamily="34" charset="0"/>
                <a:ea typeface="Calibri" panose="020F0502020204030204" pitchFamily="34" charset="0"/>
                <a:cs typeface="Calibri" panose="020F0502020204030204" pitchFamily="34" charset="0"/>
              </a:rPr>
              <a:t>Kamu kuruluşları ve üniversite laboratuvarları ile TRTEST Test ve Değerlendirme </a:t>
            </a:r>
            <a:r>
              <a:rPr lang="tr-TR" sz="2007" dirty="0" err="1">
                <a:solidFill>
                  <a:prstClr val="black"/>
                </a:solidFill>
                <a:latin typeface="Calibri" pitchFamily="34" charset="0"/>
                <a:ea typeface="Calibri" panose="020F0502020204030204" pitchFamily="34" charset="0"/>
                <a:cs typeface="Calibri" panose="020F0502020204030204" pitchFamily="34" charset="0"/>
              </a:rPr>
              <a:t>A.Ş.’den</a:t>
            </a:r>
            <a:r>
              <a:rPr lang="tr-TR" sz="2007" dirty="0">
                <a:solidFill>
                  <a:prstClr val="black"/>
                </a:solidFill>
                <a:latin typeface="Calibri" pitchFamily="34" charset="0"/>
                <a:ea typeface="Calibri" panose="020F0502020204030204" pitchFamily="34" charset="0"/>
                <a:cs typeface="Calibri" panose="020F0502020204030204" pitchFamily="34" charset="0"/>
              </a:rPr>
              <a:t> alınacak hizmetler  %70</a:t>
            </a:r>
          </a:p>
          <a:p>
            <a:pPr algn="just" defTabSz="917783" fontAlgn="base">
              <a:lnSpc>
                <a:spcPct val="115000"/>
              </a:lnSpc>
              <a:spcBef>
                <a:spcPct val="0"/>
              </a:spcBef>
              <a:spcAft>
                <a:spcPts val="1004"/>
              </a:spcAft>
            </a:pPr>
            <a:r>
              <a:rPr lang="tr-TR" sz="2007" dirty="0">
                <a:solidFill>
                  <a:prstClr val="black"/>
                </a:solidFill>
                <a:latin typeface="Calibri" pitchFamily="34" charset="0"/>
                <a:ea typeface="Calibri" panose="020F0502020204030204" pitchFamily="34" charset="0"/>
                <a:cs typeface="Calibri" panose="020F0502020204030204" pitchFamily="34" charset="0"/>
              </a:rPr>
              <a:t>Yurtdışından alınacak hizmetlerden, TSE tarafından verilenlerine destek sağlanmaz, TSE tarafından verilmeyen hizmetler %60</a:t>
            </a:r>
          </a:p>
          <a:p>
            <a:pPr algn="just" defTabSz="917783" fontAlgn="base">
              <a:lnSpc>
                <a:spcPct val="115000"/>
              </a:lnSpc>
              <a:spcBef>
                <a:spcPct val="0"/>
              </a:spcBef>
              <a:spcAft>
                <a:spcPts val="1004"/>
              </a:spcAft>
            </a:pPr>
            <a:r>
              <a:rPr lang="tr-TR" sz="2007" dirty="0">
                <a:solidFill>
                  <a:prstClr val="black"/>
                </a:solidFill>
                <a:latin typeface="Calibri" pitchFamily="34" charset="0"/>
                <a:ea typeface="ヒラギノ角ゴ Pro W3" pitchFamily="1" charset="-128"/>
              </a:rPr>
              <a:t>Destek programı süresince desteğin üst limiti </a:t>
            </a:r>
            <a:r>
              <a:rPr lang="tr-TR" sz="2007" b="1" dirty="0">
                <a:solidFill>
                  <a:prstClr val="black"/>
                </a:solidFill>
                <a:latin typeface="Calibri" pitchFamily="34" charset="0"/>
                <a:ea typeface="ヒラギノ角ゴ Pro W3" pitchFamily="1" charset="-128"/>
              </a:rPr>
              <a:t>100.000 TL’dir.</a:t>
            </a:r>
            <a:r>
              <a:rPr lang="tr-TR" sz="2007" dirty="0">
                <a:solidFill>
                  <a:prstClr val="black"/>
                </a:solidFill>
                <a:latin typeface="Calibri" pitchFamily="34" charset="0"/>
                <a:ea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613664125"/>
      </p:ext>
    </p:extLst>
  </p:cSld>
  <p:clrMapOvr>
    <a:masterClrMapping/>
  </p:clrMapOvr>
  <p:transition spd="slow">
    <p:push dir="u"/>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7 Metin kutusu"/>
          <p:cNvSpPr txBox="1">
            <a:spLocks noChangeArrowheads="1"/>
          </p:cNvSpPr>
          <p:nvPr/>
        </p:nvSpPr>
        <p:spPr bwMode="auto">
          <a:xfrm>
            <a:off x="1976525" y="405921"/>
            <a:ext cx="7688134" cy="4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ase" hangingPunct="1">
              <a:spcBef>
                <a:spcPct val="0"/>
              </a:spcBef>
              <a:spcAft>
                <a:spcPct val="0"/>
              </a:spcAft>
            </a:pPr>
            <a:r>
              <a:rPr lang="tr-TR" sz="2409" b="1" dirty="0">
                <a:solidFill>
                  <a:srgbClr val="00A6E6"/>
                </a:solidFill>
                <a:latin typeface="Calibri" panose="020F0502020204030204" pitchFamily="34" charset="0"/>
                <a:ea typeface="ヒラギノ角ゴ Pro W3" pitchFamily="1" charset="-128"/>
                <a:cs typeface="Calibri" panose="020F0502020204030204" pitchFamily="34" charset="0"/>
              </a:rPr>
              <a:t>TEKNİK DANIŞMANLIK DESTEĞİ</a:t>
            </a:r>
          </a:p>
        </p:txBody>
      </p:sp>
      <p:sp>
        <p:nvSpPr>
          <p:cNvPr id="2" name="Dikdörtgen 1"/>
          <p:cNvSpPr/>
          <p:nvPr/>
        </p:nvSpPr>
        <p:spPr>
          <a:xfrm>
            <a:off x="603367" y="1622213"/>
            <a:ext cx="6504434" cy="3830394"/>
          </a:xfrm>
          <a:prstGeom prst="rect">
            <a:avLst/>
          </a:prstGeom>
        </p:spPr>
        <p:txBody>
          <a:bodyPr wrap="square">
            <a:spAutoFit/>
          </a:bodyPr>
          <a:lstStyle/>
          <a:p>
            <a:pPr algn="just" defTabSz="917783" fontAlgn="base"/>
            <a:r>
              <a:rPr lang="tr-TR" sz="2208" dirty="0">
                <a:solidFill>
                  <a:srgbClr val="020202"/>
                </a:solidFill>
                <a:latin typeface="Calibri" pitchFamily="34" charset="0"/>
                <a:ea typeface="ヒラギノ角ゴ Pro W3" pitchFamily="1" charset="-128"/>
                <a:cs typeface="Calibri" panose="020F0502020204030204" pitchFamily="34" charset="0"/>
              </a:rPr>
              <a:t>İşletmelerin finansman, </a:t>
            </a:r>
            <a:r>
              <a:rPr lang="tr-TR" sz="2208" dirty="0" err="1">
                <a:solidFill>
                  <a:srgbClr val="020202"/>
                </a:solidFill>
                <a:latin typeface="Calibri" pitchFamily="34" charset="0"/>
                <a:ea typeface="ヒラギノ角ゴ Pro W3" pitchFamily="1" charset="-128"/>
                <a:cs typeface="Calibri" panose="020F0502020204030204" pitchFamily="34" charset="0"/>
              </a:rPr>
              <a:t>uluslararasılaşma</a:t>
            </a:r>
            <a:r>
              <a:rPr lang="tr-TR" sz="2208" dirty="0">
                <a:solidFill>
                  <a:srgbClr val="020202"/>
                </a:solidFill>
                <a:latin typeface="Calibri" pitchFamily="34" charset="0"/>
                <a:ea typeface="ヒラギノ角ゴ Pro W3" pitchFamily="1" charset="-128"/>
                <a:cs typeface="Calibri" panose="020F0502020204030204" pitchFamily="34" charset="0"/>
              </a:rPr>
              <a:t>, teknoloji/ yenilik/ dijitalleşme ve büyüme alanları kapsamında KOSGEB tarafından belirlenen alt alanlarda beceri ve kabiliyetlerinin geliştirilmesine yönelik Teknik Danışmanlardan alacakları danışmanlık hizmetine destek verilir.</a:t>
            </a:r>
          </a:p>
          <a:p>
            <a:pPr algn="just" defTabSz="917783" fontAlgn="base"/>
            <a:endParaRPr lang="tr-TR" sz="2208" dirty="0">
              <a:solidFill>
                <a:prstClr val="black"/>
              </a:solidFill>
              <a:latin typeface="Calibri" pitchFamily="34" charset="0"/>
              <a:ea typeface="ヒラギノ角ゴ Pro W3" pitchFamily="1" charset="-128"/>
              <a:cs typeface="Calibri" panose="020F0502020204030204" pitchFamily="34" charset="0"/>
            </a:endParaRPr>
          </a:p>
          <a:p>
            <a:pPr algn="just" defTabSz="917783" fontAlgn="base"/>
            <a:r>
              <a:rPr lang="tr-TR" sz="2208" dirty="0">
                <a:solidFill>
                  <a:srgbClr val="020202"/>
                </a:solidFill>
                <a:latin typeface="Calibri" pitchFamily="34" charset="0"/>
                <a:ea typeface="ヒラギノ角ゴ Pro W3" pitchFamily="1" charset="-128"/>
                <a:cs typeface="Calibri" panose="020F0502020204030204" pitchFamily="34" charset="0"/>
              </a:rPr>
              <a:t>Desteğin üst limitin </a:t>
            </a:r>
            <a:r>
              <a:rPr lang="tr-TR" sz="2208" b="1" dirty="0">
                <a:solidFill>
                  <a:srgbClr val="020202"/>
                </a:solidFill>
                <a:latin typeface="Calibri" pitchFamily="34" charset="0"/>
                <a:ea typeface="ヒラギノ角ゴ Pro W3" pitchFamily="1" charset="-128"/>
                <a:cs typeface="Calibri" panose="020F0502020204030204" pitchFamily="34" charset="0"/>
              </a:rPr>
              <a:t>40.000 TL </a:t>
            </a:r>
            <a:r>
              <a:rPr lang="tr-TR" sz="2208" dirty="0">
                <a:solidFill>
                  <a:srgbClr val="020202"/>
                </a:solidFill>
                <a:latin typeface="Calibri" pitchFamily="34" charset="0"/>
                <a:ea typeface="ヒラギノ角ゴ Pro W3" pitchFamily="1" charset="-128"/>
                <a:cs typeface="Calibri" panose="020F0502020204030204" pitchFamily="34" charset="0"/>
              </a:rPr>
              <a:t>olup Teknoparkta yer alan işletmeler için üst limit </a:t>
            </a:r>
            <a:r>
              <a:rPr lang="tr-TR" sz="2208" b="1" dirty="0">
                <a:solidFill>
                  <a:srgbClr val="020202"/>
                </a:solidFill>
                <a:latin typeface="Calibri" pitchFamily="34" charset="0"/>
                <a:ea typeface="ヒラギノ角ゴ Pro W3" pitchFamily="1" charset="-128"/>
                <a:cs typeface="Calibri" panose="020F0502020204030204" pitchFamily="34" charset="0"/>
              </a:rPr>
              <a:t>50.000 TL’dir.</a:t>
            </a:r>
          </a:p>
          <a:p>
            <a:pPr algn="just" defTabSz="917783" fontAlgn="base"/>
            <a:endParaRPr lang="tr-TR" sz="2208" dirty="0">
              <a:solidFill>
                <a:srgbClr val="020202"/>
              </a:solidFill>
              <a:latin typeface="Calibri" pitchFamily="34" charset="0"/>
              <a:ea typeface="ヒラギノ角ゴ Pro W3" pitchFamily="1" charset="-128"/>
              <a:cs typeface="Calibri" panose="020F0502020204030204" pitchFamily="34" charset="0"/>
            </a:endParaRPr>
          </a:p>
          <a:p>
            <a:pPr algn="just" defTabSz="917783" fontAlgn="base"/>
            <a:r>
              <a:rPr lang="tr-TR" sz="2208" dirty="0">
                <a:solidFill>
                  <a:srgbClr val="020202"/>
                </a:solidFill>
                <a:latin typeface="Calibri" pitchFamily="34" charset="0"/>
                <a:ea typeface="ヒラギノ角ゴ Pro W3" pitchFamily="1" charset="-128"/>
                <a:cs typeface="Calibri" panose="020F0502020204030204" pitchFamily="34" charset="0"/>
              </a:rPr>
              <a:t>Destek oranı </a:t>
            </a:r>
            <a:r>
              <a:rPr lang="tr-TR" sz="2208" b="1" dirty="0">
                <a:solidFill>
                  <a:srgbClr val="020202"/>
                </a:solidFill>
                <a:latin typeface="Calibri" pitchFamily="34" charset="0"/>
                <a:ea typeface="ヒラギノ角ゴ Pro W3" pitchFamily="1" charset="-128"/>
                <a:cs typeface="Calibri" panose="020F0502020204030204" pitchFamily="34" charset="0"/>
              </a:rPr>
              <a:t>%60’dır</a:t>
            </a:r>
            <a:r>
              <a:rPr lang="tr-TR" sz="2208" dirty="0">
                <a:solidFill>
                  <a:srgbClr val="020202"/>
                </a:solidFill>
                <a:latin typeface="Calibri" pitchFamily="34" charset="0"/>
                <a:ea typeface="ヒラギノ角ゴ Pro W3" pitchFamily="1" charset="-128"/>
                <a:cs typeface="Calibri" panose="020F0502020204030204" pitchFamily="34" charset="0"/>
              </a:rPr>
              <a:t>. </a:t>
            </a:r>
          </a:p>
        </p:txBody>
      </p:sp>
      <p:pic>
        <p:nvPicPr>
          <p:cNvPr id="6" name="Resim 5"/>
          <p:cNvPicPr>
            <a:picLocks noChangeAspect="1"/>
          </p:cNvPicPr>
          <p:nvPr/>
        </p:nvPicPr>
        <p:blipFill>
          <a:blip r:embed="rId2"/>
          <a:stretch>
            <a:fillRect/>
          </a:stretch>
        </p:blipFill>
        <p:spPr>
          <a:xfrm>
            <a:off x="7107801" y="1023776"/>
            <a:ext cx="5084199" cy="4963993"/>
          </a:xfrm>
          <a:prstGeom prst="rect">
            <a:avLst/>
          </a:prstGeom>
        </p:spPr>
      </p:pic>
    </p:spTree>
    <p:extLst>
      <p:ext uri="{BB962C8B-B14F-4D97-AF65-F5344CB8AC3E}">
        <p14:creationId xmlns:p14="http://schemas.microsoft.com/office/powerpoint/2010/main" val="524882535"/>
      </p:ext>
    </p:extLst>
  </p:cSld>
  <p:clrMapOvr>
    <a:masterClrMapping/>
  </p:clrMapOvr>
  <p:transition spd="slow">
    <p:push dir="u"/>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7 Metin kutusu"/>
          <p:cNvSpPr txBox="1">
            <a:spLocks noChangeArrowheads="1"/>
          </p:cNvSpPr>
          <p:nvPr/>
        </p:nvSpPr>
        <p:spPr bwMode="auto">
          <a:xfrm>
            <a:off x="1831982" y="321327"/>
            <a:ext cx="7688134" cy="463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ase" hangingPunct="1">
              <a:spcBef>
                <a:spcPct val="0"/>
              </a:spcBef>
              <a:spcAft>
                <a:spcPct val="0"/>
              </a:spcAft>
            </a:pPr>
            <a:r>
              <a:rPr lang="tr-TR" sz="2400" b="1" dirty="0">
                <a:solidFill>
                  <a:srgbClr val="00A6E6"/>
                </a:solidFill>
                <a:latin typeface="Calibri" panose="020F0502020204030204" pitchFamily="34" charset="0"/>
                <a:ea typeface="ヒラギノ角ゴ Pro W3" pitchFamily="1" charset="-128"/>
                <a:cs typeface="Calibri" panose="020F0502020204030204" pitchFamily="34" charset="0"/>
              </a:rPr>
              <a:t>ENERJİ VERİMLİ ELEKTRİK MOTORLARI DEĞİŞİMİ DESTEĞİ </a:t>
            </a:r>
          </a:p>
        </p:txBody>
      </p:sp>
      <p:sp>
        <p:nvSpPr>
          <p:cNvPr id="3" name="Dikdörtgen 2"/>
          <p:cNvSpPr/>
          <p:nvPr/>
        </p:nvSpPr>
        <p:spPr>
          <a:xfrm>
            <a:off x="314281" y="1350623"/>
            <a:ext cx="7635300" cy="4679877"/>
          </a:xfrm>
          <a:prstGeom prst="rect">
            <a:avLst/>
          </a:prstGeom>
        </p:spPr>
        <p:txBody>
          <a:bodyPr wrap="square">
            <a:spAutoFit/>
          </a:bodyPr>
          <a:lstStyle/>
          <a:p>
            <a:pPr marL="363289" algn="just" defTabSz="917783" fontAlgn="base">
              <a:lnSpc>
                <a:spcPct val="150000"/>
              </a:lnSpc>
              <a:spcBef>
                <a:spcPct val="0"/>
              </a:spcBef>
            </a:pPr>
            <a:r>
              <a:rPr lang="tr-TR" sz="2208" dirty="0">
                <a:solidFill>
                  <a:srgbClr val="020202"/>
                </a:solidFill>
                <a:latin typeface="Calibri" pitchFamily="34" charset="0"/>
                <a:ea typeface="ヒラギノ角ゴ Pro W3" pitchFamily="1" charset="-128"/>
                <a:cs typeface="Calibri" panose="020F0502020204030204" pitchFamily="34" charset="0"/>
              </a:rPr>
              <a:t>TEVMOT (Türkiye’de Küçük ve Orta Ölçekli İşletmelerde Enerji Verimli Motorların Teşvik Edilmesi) projesi kapsamında pilot olarak seçilen Kocaeli Gebze OSB, Antalya OSB, Uşak OSB, Bursa OSB, İzmir Kemalpaşa OSB, Ankara Sanayi Odası 1. OSB ve Adana Hacı Sabancı OSB’de faaliyet gösteren işletmelerin enerji verimli motor değişimlerine imzalanan protokol çerçevesinde destek verilir.</a:t>
            </a:r>
          </a:p>
          <a:p>
            <a:pPr marL="363289" algn="just" defTabSz="917783" fontAlgn="base">
              <a:lnSpc>
                <a:spcPct val="150000"/>
              </a:lnSpc>
              <a:spcBef>
                <a:spcPct val="0"/>
              </a:spcBef>
            </a:pPr>
            <a:endParaRPr lang="tr-TR" sz="2208" dirty="0">
              <a:solidFill>
                <a:srgbClr val="020202"/>
              </a:solidFill>
              <a:latin typeface="Calibri" pitchFamily="34" charset="0"/>
              <a:ea typeface="ヒラギノ角ゴ Pro W3" pitchFamily="1" charset="-128"/>
              <a:cs typeface="Calibri" panose="020F0502020204030204" pitchFamily="34" charset="0"/>
            </a:endParaRPr>
          </a:p>
          <a:p>
            <a:pPr marL="363289" algn="just" defTabSz="917783" fontAlgn="base">
              <a:lnSpc>
                <a:spcPct val="150000"/>
              </a:lnSpc>
              <a:spcBef>
                <a:spcPct val="0"/>
              </a:spcBef>
            </a:pPr>
            <a:endParaRPr lang="tr-TR" sz="2208" dirty="0">
              <a:solidFill>
                <a:srgbClr val="020202"/>
              </a:solidFill>
              <a:latin typeface="Calibri" pitchFamily="34" charset="0"/>
              <a:ea typeface="ヒラギノ角ゴ Pro W3" pitchFamily="1" charset="-128"/>
              <a:cs typeface="Calibri" panose="020F0502020204030204" pitchFamily="34" charset="0"/>
            </a:endParaRPr>
          </a:p>
        </p:txBody>
      </p:sp>
      <p:pic>
        <p:nvPicPr>
          <p:cNvPr id="7" name="Resim 6"/>
          <p:cNvPicPr>
            <a:picLocks noChangeAspect="1"/>
          </p:cNvPicPr>
          <p:nvPr/>
        </p:nvPicPr>
        <p:blipFill>
          <a:blip r:embed="rId3"/>
          <a:stretch>
            <a:fillRect/>
          </a:stretch>
        </p:blipFill>
        <p:spPr>
          <a:xfrm>
            <a:off x="8408433" y="1350623"/>
            <a:ext cx="3661424" cy="3403308"/>
          </a:xfrm>
          <a:prstGeom prst="rect">
            <a:avLst/>
          </a:prstGeom>
        </p:spPr>
      </p:pic>
      <p:sp>
        <p:nvSpPr>
          <p:cNvPr id="8" name="Dikdörtgen 7"/>
          <p:cNvSpPr/>
          <p:nvPr/>
        </p:nvSpPr>
        <p:spPr>
          <a:xfrm>
            <a:off x="603367" y="5380331"/>
            <a:ext cx="11466490" cy="1019379"/>
          </a:xfrm>
          <a:prstGeom prst="rect">
            <a:avLst/>
          </a:prstGeom>
        </p:spPr>
        <p:txBody>
          <a:bodyPr wrap="square">
            <a:spAutoFit/>
          </a:bodyPr>
          <a:lstStyle/>
          <a:p>
            <a:pPr algn="just" defTabSz="917783" fontAlgn="base"/>
            <a:r>
              <a:rPr lang="tr-TR" sz="2007" dirty="0">
                <a:solidFill>
                  <a:srgbClr val="020202"/>
                </a:solidFill>
                <a:latin typeface="Calibri" pitchFamily="34" charset="0"/>
                <a:ea typeface="ヒラギノ角ゴ Pro W3" pitchFamily="1" charset="-128"/>
                <a:cs typeface="Calibri" panose="020F0502020204030204" pitchFamily="34" charset="0"/>
              </a:rPr>
              <a:t>Desteğin üst limiti </a:t>
            </a:r>
            <a:r>
              <a:rPr lang="tr-TR" sz="2007" b="1" dirty="0">
                <a:solidFill>
                  <a:srgbClr val="020202"/>
                </a:solidFill>
                <a:latin typeface="Calibri" pitchFamily="34" charset="0"/>
                <a:ea typeface="ヒラギノ角ゴ Pro W3" pitchFamily="1" charset="-128"/>
                <a:cs typeface="Calibri" panose="020F0502020204030204" pitchFamily="34" charset="0"/>
              </a:rPr>
              <a:t>80.000  TL </a:t>
            </a:r>
            <a:r>
              <a:rPr lang="tr-TR" sz="2007" dirty="0">
                <a:solidFill>
                  <a:srgbClr val="020202"/>
                </a:solidFill>
                <a:latin typeface="Calibri" pitchFamily="34" charset="0"/>
                <a:ea typeface="ヒラギノ角ゴ Pro W3" pitchFamily="1" charset="-128"/>
                <a:cs typeface="Calibri" panose="020F0502020204030204" pitchFamily="34" charset="0"/>
              </a:rPr>
              <a:t>olup</a:t>
            </a:r>
            <a:r>
              <a:rPr lang="tr-TR" sz="2007" b="1" dirty="0">
                <a:solidFill>
                  <a:srgbClr val="020202"/>
                </a:solidFill>
                <a:latin typeface="Calibri" pitchFamily="34" charset="0"/>
                <a:ea typeface="ヒラギノ角ゴ Pro W3" pitchFamily="1" charset="-128"/>
                <a:cs typeface="Calibri" panose="020F0502020204030204" pitchFamily="34" charset="0"/>
              </a:rPr>
              <a:t> </a:t>
            </a:r>
            <a:r>
              <a:rPr lang="tr-TR" sz="2007" dirty="0">
                <a:solidFill>
                  <a:srgbClr val="020202"/>
                </a:solidFill>
                <a:latin typeface="Calibri" pitchFamily="34" charset="0"/>
                <a:ea typeface="ヒラギノ角ゴ Pro W3" pitchFamily="1" charset="-128"/>
                <a:cs typeface="Calibri" panose="020F0502020204030204" pitchFamily="34" charset="0"/>
              </a:rPr>
              <a:t>d</a:t>
            </a:r>
            <a:r>
              <a:rPr lang="tr-TR" sz="2007" dirty="0">
                <a:solidFill>
                  <a:prstClr val="black"/>
                </a:solidFill>
                <a:latin typeface="Calibri" pitchFamily="34" charset="0"/>
                <a:ea typeface="ヒラギノ角ゴ Pro W3" pitchFamily="1" charset="-128"/>
                <a:cs typeface="Calibri" panose="020F0502020204030204" pitchFamily="34" charset="0"/>
              </a:rPr>
              <a:t>estek oranı </a:t>
            </a:r>
            <a:r>
              <a:rPr lang="tr-TR" sz="2007" b="1" dirty="0">
                <a:solidFill>
                  <a:prstClr val="black"/>
                </a:solidFill>
                <a:latin typeface="Calibri" pitchFamily="34" charset="0"/>
                <a:ea typeface="ヒラギノ角ゴ Pro W3" pitchFamily="1" charset="-128"/>
                <a:cs typeface="Calibri" panose="020F0502020204030204" pitchFamily="34" charset="0"/>
              </a:rPr>
              <a:t>%60</a:t>
            </a:r>
            <a:r>
              <a:rPr lang="tr-TR" sz="2007" dirty="0">
                <a:solidFill>
                  <a:prstClr val="black"/>
                </a:solidFill>
                <a:latin typeface="Calibri" pitchFamily="34" charset="0"/>
                <a:ea typeface="ヒラギノ角ゴ Pro W3" pitchFamily="1" charset="-128"/>
                <a:cs typeface="Calibri" panose="020F0502020204030204" pitchFamily="34" charset="0"/>
              </a:rPr>
              <a:t>’dır. Desteğe konu satın alınacak motorun yerli malı olması durumunda, destek oranına  </a:t>
            </a:r>
            <a:r>
              <a:rPr lang="tr-TR" sz="2007" b="1" dirty="0">
                <a:solidFill>
                  <a:prstClr val="black"/>
                </a:solidFill>
                <a:latin typeface="Calibri" pitchFamily="34" charset="0"/>
                <a:ea typeface="ヒラギノ角ゴ Pro W3" pitchFamily="1" charset="-128"/>
                <a:cs typeface="Calibri" panose="020F0502020204030204" pitchFamily="34" charset="0"/>
              </a:rPr>
              <a:t>% 15 </a:t>
            </a:r>
            <a:r>
              <a:rPr lang="tr-TR" sz="2007" dirty="0">
                <a:solidFill>
                  <a:prstClr val="black"/>
                </a:solidFill>
                <a:latin typeface="Calibri" pitchFamily="34" charset="0"/>
                <a:ea typeface="ヒラギノ角ゴ Pro W3" pitchFamily="1" charset="-128"/>
                <a:cs typeface="Calibri" panose="020F0502020204030204" pitchFamily="34" charset="0"/>
              </a:rPr>
              <a:t>ilave edilir.</a:t>
            </a:r>
          </a:p>
          <a:p>
            <a:pPr algn="just" defTabSz="917783" fontAlgn="base"/>
            <a:r>
              <a:rPr lang="tr-TR" sz="2007" dirty="0">
                <a:solidFill>
                  <a:prstClr val="black"/>
                </a:solidFill>
                <a:latin typeface="Calibri" pitchFamily="34" charset="0"/>
                <a:ea typeface="ヒラギノ角ゴ Pro W3" pitchFamily="1" charset="-128"/>
                <a:cs typeface="Calibri" panose="020F0502020204030204" pitchFamily="34" charset="0"/>
              </a:rPr>
              <a:t> </a:t>
            </a:r>
          </a:p>
        </p:txBody>
      </p:sp>
    </p:spTree>
    <p:extLst>
      <p:ext uri="{BB962C8B-B14F-4D97-AF65-F5344CB8AC3E}">
        <p14:creationId xmlns:p14="http://schemas.microsoft.com/office/powerpoint/2010/main" val="3884271640"/>
      </p:ext>
    </p:extLst>
  </p:cSld>
  <p:clrMapOvr>
    <a:masterClrMapping/>
  </p:clrMapOvr>
  <p:transition spd="slow">
    <p:push dir="u"/>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7 Metin kutusu"/>
          <p:cNvSpPr txBox="1">
            <a:spLocks noChangeArrowheads="1"/>
          </p:cNvSpPr>
          <p:nvPr/>
        </p:nvSpPr>
        <p:spPr bwMode="auto">
          <a:xfrm>
            <a:off x="1687439" y="340059"/>
            <a:ext cx="7688134" cy="648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 hangingPunct="1">
              <a:lnSpc>
                <a:spcPct val="150000"/>
              </a:lnSpc>
              <a:defRPr/>
            </a:pPr>
            <a:r>
              <a:rPr lang="tr-TR" sz="2400" b="1" dirty="0">
                <a:solidFill>
                  <a:srgbClr val="00A6E6"/>
                </a:solidFill>
                <a:latin typeface="Calibri" panose="020F0502020204030204" pitchFamily="34" charset="0"/>
                <a:ea typeface="ヒラギノ角ゴ Pro W3" pitchFamily="1" charset="-128"/>
                <a:cs typeface="Calibri" panose="020F0502020204030204" pitchFamily="34" charset="0"/>
              </a:rPr>
              <a:t>BAĞIMSIZ DEĞERLENDİRME DESTEĞİ</a:t>
            </a:r>
          </a:p>
        </p:txBody>
      </p:sp>
      <p:pic>
        <p:nvPicPr>
          <p:cNvPr id="59398" name="Picture 7" descr="C:\Users\yildiz.sapmaz\Desktop\imagesCA6EOIJ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8688" y="1694484"/>
            <a:ext cx="2882099" cy="2447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Dikdörtgen 5"/>
          <p:cNvSpPr/>
          <p:nvPr/>
        </p:nvSpPr>
        <p:spPr>
          <a:xfrm>
            <a:off x="300973" y="1518738"/>
            <a:ext cx="7818629" cy="2872796"/>
          </a:xfrm>
          <a:prstGeom prst="rect">
            <a:avLst/>
          </a:prstGeom>
        </p:spPr>
        <p:txBody>
          <a:bodyPr wrap="square">
            <a:spAutoFit/>
          </a:bodyPr>
          <a:lstStyle/>
          <a:p>
            <a:pPr marL="363289" algn="just" defTabSz="917783" fontAlgn="base">
              <a:lnSpc>
                <a:spcPct val="150000"/>
              </a:lnSpc>
              <a:spcBef>
                <a:spcPct val="0"/>
              </a:spcBef>
              <a:defRPr/>
            </a:pPr>
            <a:r>
              <a:rPr lang="tr-TR" sz="2007" dirty="0">
                <a:solidFill>
                  <a:srgbClr val="020202"/>
                </a:solidFill>
                <a:latin typeface="Calibri" pitchFamily="34" charset="0"/>
                <a:ea typeface="ヒラギノ角ゴ Pro W3" pitchFamily="1" charset="-128"/>
                <a:cs typeface="Calibri" panose="020F0502020204030204" pitchFamily="34" charset="0"/>
              </a:rPr>
              <a:t> İşletmelerin Teknoloji Odaklı Sanayi Hamlesi Programı Uygulama Esasları Tebliği’nin çağrı planlarında belirtilen öncelikli ürün listesinde yer alan ürünleri üretmesine yönelik yaptıkları proje başvuruları kapsamında </a:t>
            </a:r>
            <a:r>
              <a:rPr lang="tr-TR" sz="2007" b="1" dirty="0">
                <a:solidFill>
                  <a:srgbClr val="020202"/>
                </a:solidFill>
                <a:latin typeface="Calibri" pitchFamily="34" charset="0"/>
                <a:ea typeface="ヒラギノ角ゴ Pro W3" pitchFamily="1" charset="-128"/>
                <a:cs typeface="Calibri" panose="020F0502020204030204" pitchFamily="34" charset="0"/>
              </a:rPr>
              <a:t>Sanayi ve Teknoloji Bakanlığı tarafından yayınlanan listede yer alan hizmet sağlayıcılarından </a:t>
            </a:r>
            <a:r>
              <a:rPr lang="tr-TR" sz="2007" dirty="0">
                <a:solidFill>
                  <a:srgbClr val="020202"/>
                </a:solidFill>
                <a:latin typeface="Calibri" pitchFamily="34" charset="0"/>
                <a:ea typeface="ヒラギノ角ゴ Pro W3" pitchFamily="1" charset="-128"/>
                <a:cs typeface="Calibri" panose="020F0502020204030204" pitchFamily="34" charset="0"/>
              </a:rPr>
              <a:t>alınacak bağımsız değerlendirme raporu giderlerine destek verilir. </a:t>
            </a:r>
          </a:p>
        </p:txBody>
      </p:sp>
      <p:sp>
        <p:nvSpPr>
          <p:cNvPr id="2" name="Dikdörtgen 1"/>
          <p:cNvSpPr/>
          <p:nvPr/>
        </p:nvSpPr>
        <p:spPr>
          <a:xfrm>
            <a:off x="300973" y="4918937"/>
            <a:ext cx="10989814" cy="556025"/>
          </a:xfrm>
          <a:prstGeom prst="rect">
            <a:avLst/>
          </a:prstGeom>
        </p:spPr>
        <p:txBody>
          <a:bodyPr wrap="square">
            <a:spAutoFit/>
          </a:bodyPr>
          <a:lstStyle/>
          <a:p>
            <a:pPr marL="363289" algn="just" defTabSz="917783" fontAlgn="base">
              <a:lnSpc>
                <a:spcPct val="150000"/>
              </a:lnSpc>
              <a:spcBef>
                <a:spcPct val="0"/>
              </a:spcBef>
              <a:defRPr/>
            </a:pPr>
            <a:r>
              <a:rPr lang="tr-TR" sz="2007" dirty="0">
                <a:solidFill>
                  <a:srgbClr val="020202"/>
                </a:solidFill>
                <a:latin typeface="Calibri" pitchFamily="34" charset="0"/>
                <a:ea typeface="ヒラギノ角ゴ Pro W3" pitchFamily="1" charset="-128"/>
                <a:cs typeface="Calibri" panose="020F0502020204030204" pitchFamily="34" charset="0"/>
              </a:rPr>
              <a:t>Desteğin üst limiti </a:t>
            </a:r>
            <a:r>
              <a:rPr lang="tr-TR" sz="2007" b="1" dirty="0">
                <a:solidFill>
                  <a:srgbClr val="020202"/>
                </a:solidFill>
                <a:latin typeface="Calibri" pitchFamily="34" charset="0"/>
                <a:ea typeface="ヒラギノ角ゴ Pro W3" pitchFamily="1" charset="-128"/>
                <a:cs typeface="Calibri" panose="020F0502020204030204" pitchFamily="34" charset="0"/>
              </a:rPr>
              <a:t>20.000 </a:t>
            </a:r>
            <a:r>
              <a:rPr lang="tr-TR" sz="2007" dirty="0">
                <a:solidFill>
                  <a:srgbClr val="020202"/>
                </a:solidFill>
                <a:latin typeface="Calibri" pitchFamily="34" charset="0"/>
                <a:ea typeface="ヒラギノ角ゴ Pro W3" pitchFamily="1" charset="-128"/>
                <a:cs typeface="Calibri" panose="020F0502020204030204" pitchFamily="34" charset="0"/>
              </a:rPr>
              <a:t> TL olup</a:t>
            </a:r>
            <a:r>
              <a:rPr lang="tr-TR" sz="2007" b="1" dirty="0">
                <a:solidFill>
                  <a:srgbClr val="020202"/>
                </a:solidFill>
                <a:latin typeface="Calibri" pitchFamily="34" charset="0"/>
                <a:ea typeface="ヒラギノ角ゴ Pro W3" pitchFamily="1" charset="-128"/>
                <a:cs typeface="Calibri" panose="020F0502020204030204" pitchFamily="34" charset="0"/>
              </a:rPr>
              <a:t>, </a:t>
            </a:r>
            <a:r>
              <a:rPr lang="tr-TR" sz="2007" dirty="0">
                <a:solidFill>
                  <a:srgbClr val="020202"/>
                </a:solidFill>
                <a:latin typeface="Calibri" pitchFamily="34" charset="0"/>
                <a:ea typeface="ヒラギノ角ゴ Pro W3" pitchFamily="1" charset="-128"/>
                <a:cs typeface="Calibri" panose="020F0502020204030204" pitchFamily="34" charset="0"/>
              </a:rPr>
              <a:t>d</a:t>
            </a:r>
            <a:r>
              <a:rPr lang="tr-TR" sz="2007" dirty="0">
                <a:solidFill>
                  <a:prstClr val="black"/>
                </a:solidFill>
                <a:latin typeface="Calibri" pitchFamily="34" charset="0"/>
                <a:ea typeface="ヒラギノ角ゴ Pro W3" pitchFamily="1" charset="-128"/>
              </a:rPr>
              <a:t>estek oranı </a:t>
            </a:r>
            <a:r>
              <a:rPr lang="tr-TR" sz="2007" b="1" dirty="0">
                <a:solidFill>
                  <a:prstClr val="black"/>
                </a:solidFill>
                <a:latin typeface="Calibri" pitchFamily="34" charset="0"/>
                <a:ea typeface="ヒラギノ角ゴ Pro W3" pitchFamily="1" charset="-128"/>
              </a:rPr>
              <a:t>%60</a:t>
            </a:r>
            <a:r>
              <a:rPr lang="tr-TR" sz="2007" dirty="0">
                <a:solidFill>
                  <a:prstClr val="black"/>
                </a:solidFill>
                <a:latin typeface="Calibri" pitchFamily="34" charset="0"/>
                <a:ea typeface="ヒラギノ角ゴ Pro W3" pitchFamily="1" charset="-128"/>
              </a:rPr>
              <a:t>’dır. </a:t>
            </a:r>
          </a:p>
        </p:txBody>
      </p:sp>
    </p:spTree>
    <p:extLst>
      <p:ext uri="{BB962C8B-B14F-4D97-AF65-F5344CB8AC3E}">
        <p14:creationId xmlns:p14="http://schemas.microsoft.com/office/powerpoint/2010/main" val="3355296183"/>
      </p:ext>
    </p:extLst>
  </p:cSld>
  <p:clrMapOvr>
    <a:masterClrMapping/>
  </p:clrMapOvr>
  <p:transition spd="slow">
    <p:push dir="u"/>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1 Başlık"/>
          <p:cNvSpPr>
            <a:spLocks noGrp="1"/>
          </p:cNvSpPr>
          <p:nvPr>
            <p:ph type="ctrTitle"/>
          </p:nvPr>
        </p:nvSpPr>
        <p:spPr>
          <a:xfrm>
            <a:off x="2195353" y="2130430"/>
            <a:ext cx="7801294" cy="1470025"/>
          </a:xfrm>
        </p:spPr>
        <p:txBody>
          <a:bodyPr/>
          <a:lstStyle/>
          <a:p>
            <a:pPr eaLnBrk="1" hangingPunct="1"/>
            <a:r>
              <a:rPr lang="tr-TR" dirty="0" smtClean="0"/>
              <a:t> </a:t>
            </a:r>
          </a:p>
        </p:txBody>
      </p:sp>
      <p:sp>
        <p:nvSpPr>
          <p:cNvPr id="18436" name="6 Metin kutusu"/>
          <p:cNvSpPr txBox="1">
            <a:spLocks noChangeArrowheads="1"/>
          </p:cNvSpPr>
          <p:nvPr/>
        </p:nvSpPr>
        <p:spPr bwMode="auto">
          <a:xfrm>
            <a:off x="2662830" y="2032506"/>
            <a:ext cx="7866014" cy="5251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810" b="1" i="0" u="none" strike="noStrike" kern="1200" cap="none" spc="0" normalizeH="0" baseline="0" noProof="0" dirty="0">
                <a:ln>
                  <a:noFill/>
                </a:ln>
                <a:solidFill>
                  <a:srgbClr val="FFFFFF"/>
                </a:solidFill>
                <a:effectLst/>
                <a:uLnTx/>
                <a:uFillTx/>
                <a:latin typeface="Roboto Light"/>
                <a:ea typeface="+mn-ea"/>
                <a:cs typeface="+mn-cs"/>
              </a:rPr>
              <a:t>KOSGEB GİRİŞİMCİLİK DESTEKLERİ</a:t>
            </a:r>
          </a:p>
        </p:txBody>
      </p:sp>
      <p:sp>
        <p:nvSpPr>
          <p:cNvPr id="18437" name="7 Metin kutusu"/>
          <p:cNvSpPr txBox="1">
            <a:spLocks noChangeArrowheads="1"/>
          </p:cNvSpPr>
          <p:nvPr/>
        </p:nvSpPr>
        <p:spPr bwMode="auto">
          <a:xfrm>
            <a:off x="3890732" y="3422649"/>
            <a:ext cx="6794264" cy="338554"/>
          </a:xfrm>
          <a:prstGeom prst="rect">
            <a:avLst/>
          </a:prstGeom>
          <a:noFill/>
          <a:ln w="9525">
            <a:noFill/>
            <a:miter lim="800000"/>
            <a:headEnd/>
            <a:tailEnd/>
          </a:ln>
        </p:spPr>
        <p:txBody>
          <a:bodyP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606" b="1" i="0" u="none" strike="noStrike" kern="1200" cap="none" spc="0" normalizeH="0" baseline="0" noProof="0" dirty="0">
                <a:ln>
                  <a:noFill/>
                </a:ln>
                <a:solidFill>
                  <a:srgbClr val="FFFFFF"/>
                </a:solidFill>
                <a:effectLst/>
                <a:uLnTx/>
                <a:uFillTx/>
                <a:latin typeface="Arial" charset="0"/>
                <a:ea typeface="+mn-ea"/>
                <a:cs typeface="Arial" charset="0"/>
              </a:rPr>
              <a:t> Eylül 2020</a:t>
            </a:r>
          </a:p>
        </p:txBody>
      </p:sp>
      <p:pic>
        <p:nvPicPr>
          <p:cNvPr id="8" name="Resim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8717548" cy="4741817"/>
          </a:xfrm>
          <a:prstGeom prst="rect">
            <a:avLst/>
          </a:prstGeom>
        </p:spPr>
      </p:pic>
      <p:sp>
        <p:nvSpPr>
          <p:cNvPr id="6" name="Dikdörtgen 5"/>
          <p:cNvSpPr/>
          <p:nvPr/>
        </p:nvSpPr>
        <p:spPr>
          <a:xfrm>
            <a:off x="3147934" y="3309614"/>
            <a:ext cx="9044066" cy="3650105"/>
          </a:xfrm>
          <a:prstGeom prst="rect">
            <a:avLst/>
          </a:prstGeom>
          <a:solidFill>
            <a:schemeClr val="tx2">
              <a:lumMod val="50000"/>
              <a:alpha val="9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4400" b="0" i="0" u="none" strike="noStrike" kern="1200" cap="none" spc="0" normalizeH="0" baseline="0" noProof="0" dirty="0" smtClean="0">
                <a:ln>
                  <a:noFill/>
                </a:ln>
                <a:solidFill>
                  <a:prstClr val="white"/>
                </a:solidFill>
                <a:effectLst/>
                <a:uLnTx/>
                <a:uFillTx/>
                <a:latin typeface="Roboto Black"/>
                <a:ea typeface="+mn-ea"/>
                <a:cs typeface="+mn-cs"/>
              </a:rPr>
              <a:t>KREDİ FAİZ DESTEĞİ VE KOBİ FİNANSMAN DESTEK PROGRAMI</a:t>
            </a:r>
            <a:endParaRPr kumimoji="0" lang="en-US" sz="4400" b="0" i="0" u="none" strike="noStrike" kern="1200" cap="none" spc="0" normalizeH="0" baseline="0" noProof="0" dirty="0">
              <a:ln>
                <a:noFill/>
              </a:ln>
              <a:solidFill>
                <a:prstClr val="white"/>
              </a:solidFill>
              <a:effectLst/>
              <a:uLnTx/>
              <a:uFillTx/>
              <a:latin typeface="Roboto Black"/>
              <a:ea typeface="+mn-ea"/>
              <a:cs typeface="+mn-cs"/>
            </a:endParaRPr>
          </a:p>
        </p:txBody>
      </p:sp>
    </p:spTree>
    <p:extLst>
      <p:ext uri="{BB962C8B-B14F-4D97-AF65-F5344CB8AC3E}">
        <p14:creationId xmlns:p14="http://schemas.microsoft.com/office/powerpoint/2010/main" val="2801255725"/>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3C7F8354-A1F7-4AE7-90D5-B3C2BAB3B60B}" type="slidenum">
              <a:rPr lang="tr-TR">
                <a:solidFill>
                  <a:prstClr val="black">
                    <a:tint val="75000"/>
                  </a:prstClr>
                </a:solidFill>
                <a:latin typeface="Calibri"/>
              </a:rPr>
              <a:pPr>
                <a:defRPr/>
              </a:pPr>
              <a:t>108</a:t>
            </a:fld>
            <a:endParaRPr lang="tr-TR" dirty="0">
              <a:solidFill>
                <a:prstClr val="black">
                  <a:tint val="75000"/>
                </a:prstClr>
              </a:solidFill>
              <a:latin typeface="Calibri"/>
            </a:endParaRPr>
          </a:p>
        </p:txBody>
      </p:sp>
      <p:sp>
        <p:nvSpPr>
          <p:cNvPr id="10" name="7 Metin kutusu"/>
          <p:cNvSpPr txBox="1"/>
          <p:nvPr/>
        </p:nvSpPr>
        <p:spPr>
          <a:xfrm>
            <a:off x="3215680" y="385524"/>
            <a:ext cx="5832648" cy="523196"/>
          </a:xfrm>
          <a:prstGeom prst="rect">
            <a:avLst/>
          </a:prstGeom>
          <a:noFill/>
        </p:spPr>
        <p:txBody>
          <a:bodyPr wrap="square" lIns="91416" tIns="45708" rIns="91416" bIns="45708" rtlCol="0">
            <a:spAutoFit/>
          </a:bodyPr>
          <a:lstStyle/>
          <a:p>
            <a:pPr algn="ctr"/>
            <a:r>
              <a:rPr lang="tr-TR" sz="2800" b="1" dirty="0">
                <a:solidFill>
                  <a:srgbClr val="005F6E"/>
                </a:solidFill>
                <a:effectLst>
                  <a:outerShdw blurRad="38100" dist="38100" dir="2700000" algn="tl">
                    <a:srgbClr val="000000">
                      <a:alpha val="43137"/>
                    </a:srgbClr>
                  </a:outerShdw>
                </a:effectLst>
                <a:latin typeface="Calibri"/>
              </a:rPr>
              <a:t>Kredi Faiz Desteği</a:t>
            </a:r>
          </a:p>
        </p:txBody>
      </p:sp>
      <p:sp>
        <p:nvSpPr>
          <p:cNvPr id="14" name="Slayt Numarası Yer Tutucusu 3"/>
          <p:cNvSpPr txBox="1">
            <a:spLocks/>
          </p:cNvSpPr>
          <p:nvPr/>
        </p:nvSpPr>
        <p:spPr>
          <a:xfrm>
            <a:off x="8355137" y="6394640"/>
            <a:ext cx="2133600" cy="365125"/>
          </a:xfrm>
          <a:prstGeom prst="rect">
            <a:avLst/>
          </a:prstGeom>
        </p:spPr>
        <p:txBody>
          <a:bodyPr vert="horz" lIns="91440" tIns="45720" rIns="91440" bIns="45720" rtlCol="0" anchor="ctr"/>
          <a:lstStyle>
            <a:defPPr>
              <a:defRPr lang="tr-TR"/>
            </a:defPPr>
            <a:lvl1pPr marL="0" algn="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CA" dirty="0">
              <a:solidFill>
                <a:prstClr val="black">
                  <a:tint val="75000"/>
                </a:prstClr>
              </a:solidFill>
              <a:latin typeface="Calibri"/>
            </a:endParaRPr>
          </a:p>
        </p:txBody>
      </p:sp>
      <p:sp>
        <p:nvSpPr>
          <p:cNvPr id="2" name="Dikdörtgen 1"/>
          <p:cNvSpPr/>
          <p:nvPr/>
        </p:nvSpPr>
        <p:spPr>
          <a:xfrm>
            <a:off x="2387588" y="4437112"/>
            <a:ext cx="7488832" cy="1708160"/>
          </a:xfrm>
          <a:prstGeom prst="rect">
            <a:avLst/>
          </a:prstGeom>
        </p:spPr>
        <p:txBody>
          <a:bodyPr wrap="square">
            <a:spAutoFit/>
          </a:bodyPr>
          <a:lstStyle/>
          <a:p>
            <a:pPr marL="342900" indent="-342900" algn="ctr">
              <a:spcAft>
                <a:spcPts val="600"/>
              </a:spcAft>
              <a:buFont typeface="Wingdings" panose="05000000000000000000" pitchFamily="2" charset="2"/>
              <a:buChar char="ü"/>
            </a:pPr>
            <a:r>
              <a:rPr lang="tr-TR" sz="2000" b="1" dirty="0">
                <a:solidFill>
                  <a:srgbClr val="00B050"/>
                </a:solidFill>
                <a:latin typeface="Calibri"/>
              </a:rPr>
              <a:t>KOBİ Tanımına giren</a:t>
            </a:r>
          </a:p>
          <a:p>
            <a:pPr marL="342900" indent="-342900" algn="ctr">
              <a:spcAft>
                <a:spcPts val="600"/>
              </a:spcAft>
              <a:buFont typeface="Wingdings" panose="05000000000000000000" pitchFamily="2" charset="2"/>
              <a:buChar char="ü"/>
            </a:pPr>
            <a:r>
              <a:rPr lang="tr-TR" sz="2000" b="1" dirty="0">
                <a:solidFill>
                  <a:srgbClr val="00B050"/>
                </a:solidFill>
                <a:latin typeface="Calibri"/>
              </a:rPr>
              <a:t>KOSGEB tarafından desteklenen sektörlerde yer alan</a:t>
            </a:r>
          </a:p>
          <a:p>
            <a:pPr marL="342900" indent="-342900" algn="ctr">
              <a:spcAft>
                <a:spcPts val="600"/>
              </a:spcAft>
              <a:buFont typeface="Wingdings" panose="05000000000000000000" pitchFamily="2" charset="2"/>
              <a:buChar char="ü"/>
            </a:pPr>
            <a:r>
              <a:rPr lang="tr-TR" sz="2000" b="1" dirty="0">
                <a:solidFill>
                  <a:srgbClr val="00B050"/>
                </a:solidFill>
                <a:latin typeface="Calibri"/>
              </a:rPr>
              <a:t>KOSGEB Veri Tabanına kaydı güncel</a:t>
            </a:r>
          </a:p>
          <a:p>
            <a:pPr algn="ctr">
              <a:spcBef>
                <a:spcPts val="1200"/>
              </a:spcBef>
              <a:spcAft>
                <a:spcPts val="600"/>
              </a:spcAft>
            </a:pPr>
            <a:r>
              <a:rPr lang="tr-TR" sz="2000" b="1" dirty="0">
                <a:solidFill>
                  <a:srgbClr val="00B050"/>
                </a:solidFill>
                <a:latin typeface="Calibri"/>
              </a:rPr>
              <a:t>işletmeler yararlanabilir.</a:t>
            </a:r>
          </a:p>
        </p:txBody>
      </p:sp>
      <p:graphicFrame>
        <p:nvGraphicFramePr>
          <p:cNvPr id="5" name="Diyagram 4"/>
          <p:cNvGraphicFramePr/>
          <p:nvPr>
            <p:extLst/>
          </p:nvPr>
        </p:nvGraphicFramePr>
        <p:xfrm>
          <a:off x="3084004" y="1487221"/>
          <a:ext cx="6096000" cy="17281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Aşağı Ok 2"/>
          <p:cNvSpPr/>
          <p:nvPr/>
        </p:nvSpPr>
        <p:spPr>
          <a:xfrm>
            <a:off x="4367808" y="3215414"/>
            <a:ext cx="216024" cy="357603"/>
          </a:xfrm>
          <a:prstGeom prst="down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tr-TR">
              <a:solidFill>
                <a:prstClr val="white"/>
              </a:solidFill>
              <a:latin typeface="Calibri"/>
            </a:endParaRPr>
          </a:p>
        </p:txBody>
      </p:sp>
      <p:sp>
        <p:nvSpPr>
          <p:cNvPr id="8" name="Aşağı Ok 7"/>
          <p:cNvSpPr/>
          <p:nvPr/>
        </p:nvSpPr>
        <p:spPr>
          <a:xfrm>
            <a:off x="7680176" y="3215414"/>
            <a:ext cx="216024" cy="357603"/>
          </a:xfrm>
          <a:prstGeom prst="down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tr-TR">
              <a:solidFill>
                <a:prstClr val="white"/>
              </a:solidFill>
              <a:latin typeface="Calibri"/>
            </a:endParaRPr>
          </a:p>
        </p:txBody>
      </p:sp>
      <p:sp>
        <p:nvSpPr>
          <p:cNvPr id="6" name="Yuvarlatılmış Dikdörtgen 5"/>
          <p:cNvSpPr/>
          <p:nvPr/>
        </p:nvSpPr>
        <p:spPr>
          <a:xfrm>
            <a:off x="3395700" y="3592824"/>
            <a:ext cx="2160240" cy="441152"/>
          </a:xfrm>
          <a:prstGeom prst="roundRect">
            <a:avLst/>
          </a:prstGeom>
          <a:solidFill>
            <a:schemeClr val="accent2">
              <a:lumMod val="60000"/>
              <a:lumOff val="4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tr-TR" dirty="0">
                <a:solidFill>
                  <a:prstClr val="white"/>
                </a:solidFill>
                <a:latin typeface="Calibri"/>
              </a:rPr>
              <a:t>Diğer tüm destekler</a:t>
            </a:r>
          </a:p>
        </p:txBody>
      </p:sp>
      <p:sp>
        <p:nvSpPr>
          <p:cNvPr id="11" name="Yuvarlatılmış Dikdörtgen 10"/>
          <p:cNvSpPr/>
          <p:nvPr/>
        </p:nvSpPr>
        <p:spPr>
          <a:xfrm>
            <a:off x="6708068" y="3573816"/>
            <a:ext cx="2160240" cy="441152"/>
          </a:xfrm>
          <a:prstGeom prst="roundRect">
            <a:avLst/>
          </a:prstGeom>
          <a:solidFill>
            <a:schemeClr val="tx2">
              <a:lumMod val="60000"/>
              <a:lumOff val="40000"/>
            </a:schemeClr>
          </a:solidFill>
          <a:ln>
            <a:solidFill>
              <a:schemeClr val="accent1">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tr-TR" dirty="0">
                <a:solidFill>
                  <a:prstClr val="white"/>
                </a:solidFill>
                <a:latin typeface="Calibri"/>
              </a:rPr>
              <a:t>Kredi faiz destekleri</a:t>
            </a:r>
          </a:p>
        </p:txBody>
      </p:sp>
    </p:spTree>
    <p:extLst>
      <p:ext uri="{BB962C8B-B14F-4D97-AF65-F5344CB8AC3E}">
        <p14:creationId xmlns:p14="http://schemas.microsoft.com/office/powerpoint/2010/main" val="1195457328"/>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3C7F8354-A1F7-4AE7-90D5-B3C2BAB3B60B}" type="slidenum">
              <a:rPr lang="tr-TR">
                <a:solidFill>
                  <a:prstClr val="black">
                    <a:tint val="75000"/>
                  </a:prstClr>
                </a:solidFill>
                <a:latin typeface="Calibri"/>
              </a:rPr>
              <a:pPr>
                <a:defRPr/>
              </a:pPr>
              <a:t>109</a:t>
            </a:fld>
            <a:endParaRPr lang="tr-TR" dirty="0">
              <a:solidFill>
                <a:prstClr val="black">
                  <a:tint val="75000"/>
                </a:prstClr>
              </a:solidFill>
              <a:latin typeface="Calibri"/>
            </a:endParaRPr>
          </a:p>
        </p:txBody>
      </p:sp>
      <p:sp>
        <p:nvSpPr>
          <p:cNvPr id="10" name="7 Metin kutusu"/>
          <p:cNvSpPr txBox="1"/>
          <p:nvPr/>
        </p:nvSpPr>
        <p:spPr>
          <a:xfrm>
            <a:off x="3215680" y="385524"/>
            <a:ext cx="5832648" cy="523196"/>
          </a:xfrm>
          <a:prstGeom prst="rect">
            <a:avLst/>
          </a:prstGeom>
          <a:noFill/>
        </p:spPr>
        <p:txBody>
          <a:bodyPr wrap="square" lIns="91416" tIns="45708" rIns="91416" bIns="45708" rtlCol="0">
            <a:spAutoFit/>
          </a:bodyPr>
          <a:lstStyle/>
          <a:p>
            <a:pPr algn="ctr"/>
            <a:r>
              <a:rPr lang="tr-TR" sz="2800" b="1" dirty="0">
                <a:solidFill>
                  <a:srgbClr val="005F6E"/>
                </a:solidFill>
                <a:effectLst>
                  <a:outerShdw blurRad="38100" dist="38100" dir="2700000" algn="tl">
                    <a:srgbClr val="000000">
                      <a:alpha val="43137"/>
                    </a:srgbClr>
                  </a:outerShdw>
                </a:effectLst>
                <a:latin typeface="Calibri"/>
              </a:rPr>
              <a:t>Destek Süreci</a:t>
            </a:r>
          </a:p>
        </p:txBody>
      </p:sp>
      <p:sp>
        <p:nvSpPr>
          <p:cNvPr id="14" name="Slayt Numarası Yer Tutucusu 3"/>
          <p:cNvSpPr txBox="1">
            <a:spLocks/>
          </p:cNvSpPr>
          <p:nvPr/>
        </p:nvSpPr>
        <p:spPr>
          <a:xfrm>
            <a:off x="8355137" y="6394640"/>
            <a:ext cx="2133600" cy="365125"/>
          </a:xfrm>
          <a:prstGeom prst="rect">
            <a:avLst/>
          </a:prstGeom>
        </p:spPr>
        <p:txBody>
          <a:bodyPr vert="horz" lIns="91440" tIns="45720" rIns="91440" bIns="45720" rtlCol="0" anchor="ctr"/>
          <a:lstStyle>
            <a:defPPr>
              <a:defRPr lang="tr-TR"/>
            </a:defPPr>
            <a:lvl1pPr marL="0" algn="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CA" dirty="0">
              <a:solidFill>
                <a:prstClr val="black">
                  <a:tint val="75000"/>
                </a:prstClr>
              </a:solidFill>
              <a:latin typeface="Calibri"/>
            </a:endParaRPr>
          </a:p>
        </p:txBody>
      </p:sp>
      <p:pic>
        <p:nvPicPr>
          <p:cNvPr id="26" name="Picture 10" descr="j0233018"/>
          <p:cNvPicPr>
            <a:picLocks/>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56607" y="1681467"/>
            <a:ext cx="1366837"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Resim 26" descr="C:\Users\abdullah.karaosmanog\Desktop\Finansman sunum resimleri\money-transfer_son (1).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16499" y="1675321"/>
            <a:ext cx="1296144" cy="1216601"/>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28" name="Picture 14" descr="Açıklama: BD18216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96807" y="1724329"/>
            <a:ext cx="1584325"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Resim 28" descr="C:\Users\abdullah.karaosmanog\Desktop\Finansman sunum resimleri\Banka onayları.png"/>
          <p:cNvPicPr/>
          <p:nvPr/>
        </p:nvPicPr>
        <p:blipFill>
          <a:blip r:embed="rId5"/>
          <a:srcRect/>
          <a:stretch>
            <a:fillRect/>
          </a:stretch>
        </p:blipFill>
        <p:spPr bwMode="auto">
          <a:xfrm>
            <a:off x="6214268" y="4024617"/>
            <a:ext cx="1873250" cy="1215056"/>
          </a:xfrm>
          <a:prstGeom prst="rect">
            <a:avLst/>
          </a:prstGeom>
          <a:ln>
            <a:noFill/>
          </a:ln>
          <a:effectLst>
            <a:outerShdw blurRad="190500" algn="tl" rotWithShape="0">
              <a:srgbClr val="000000">
                <a:alpha val="70000"/>
              </a:srgbClr>
            </a:outerShdw>
          </a:effectLst>
        </p:spPr>
      </p:pic>
      <p:pic>
        <p:nvPicPr>
          <p:cNvPr id="30" name="Resim 29" descr="C:\Users\abdullah.karaosmanog\Desktop\Finansman sunum resimleri\onay_son (1).jpg"/>
          <p:cNvPicPr/>
          <p:nvPr/>
        </p:nvPicPr>
        <p:blipFill>
          <a:blip r:embed="rId6"/>
          <a:srcRect/>
          <a:stretch>
            <a:fillRect/>
          </a:stretch>
        </p:blipFill>
        <p:spPr bwMode="auto">
          <a:xfrm>
            <a:off x="8505030" y="4053444"/>
            <a:ext cx="1836739" cy="1167861"/>
          </a:xfrm>
          <a:prstGeom prst="rect">
            <a:avLst/>
          </a:prstGeom>
          <a:ln>
            <a:noFill/>
          </a:ln>
          <a:effectLst>
            <a:outerShdw blurRad="190500" algn="tl" rotWithShape="0">
              <a:srgbClr val="000000">
                <a:alpha val="70000"/>
              </a:srgbClr>
            </a:outerShdw>
          </a:effectLst>
        </p:spPr>
      </p:pic>
      <p:pic>
        <p:nvPicPr>
          <p:cNvPr id="52" name="Resim 16" descr="C:\Users\abdullah.karaosmanog\Desktop\Finansman sunum resimleri\9_13_53_35.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88343" y="4024616"/>
            <a:ext cx="1512888"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Sağ Ok 52"/>
          <p:cNvSpPr/>
          <p:nvPr/>
        </p:nvSpPr>
        <p:spPr>
          <a:xfrm>
            <a:off x="3496469" y="2040241"/>
            <a:ext cx="576263" cy="2428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a:solidFill>
                <a:prstClr val="white"/>
              </a:solidFill>
              <a:latin typeface="Calibri"/>
            </a:endParaRPr>
          </a:p>
        </p:txBody>
      </p:sp>
      <p:sp>
        <p:nvSpPr>
          <p:cNvPr id="54" name="Sağ Ok 53"/>
          <p:cNvSpPr/>
          <p:nvPr/>
        </p:nvSpPr>
        <p:spPr>
          <a:xfrm>
            <a:off x="5671344" y="2103741"/>
            <a:ext cx="441325" cy="2603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a:solidFill>
                <a:prstClr val="white"/>
              </a:solidFill>
              <a:latin typeface="Calibri"/>
            </a:endParaRPr>
          </a:p>
        </p:txBody>
      </p:sp>
      <p:sp>
        <p:nvSpPr>
          <p:cNvPr id="55" name="Sağ Ok 54"/>
          <p:cNvSpPr/>
          <p:nvPr/>
        </p:nvSpPr>
        <p:spPr>
          <a:xfrm>
            <a:off x="7816056" y="2064054"/>
            <a:ext cx="576262" cy="24606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a:solidFill>
                <a:prstClr val="white"/>
              </a:solidFill>
              <a:latin typeface="Calibri"/>
            </a:endParaRPr>
          </a:p>
        </p:txBody>
      </p:sp>
      <p:sp>
        <p:nvSpPr>
          <p:cNvPr id="56" name="Sağ Ok 55"/>
          <p:cNvSpPr/>
          <p:nvPr/>
        </p:nvSpPr>
        <p:spPr>
          <a:xfrm rot="5400000">
            <a:off x="9229667" y="3568284"/>
            <a:ext cx="384540" cy="2180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a:solidFill>
                <a:prstClr val="white"/>
              </a:solidFill>
              <a:latin typeface="Calibri"/>
            </a:endParaRPr>
          </a:p>
        </p:txBody>
      </p:sp>
      <p:sp>
        <p:nvSpPr>
          <p:cNvPr id="57" name="Sağ Ok 56"/>
          <p:cNvSpPr/>
          <p:nvPr/>
        </p:nvSpPr>
        <p:spPr>
          <a:xfrm rot="10800000">
            <a:off x="8130382" y="4400855"/>
            <a:ext cx="287337" cy="2190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a:solidFill>
                <a:prstClr val="white"/>
              </a:solidFill>
              <a:latin typeface="Calibri"/>
            </a:endParaRPr>
          </a:p>
        </p:txBody>
      </p:sp>
      <p:sp>
        <p:nvSpPr>
          <p:cNvPr id="58" name="Sağ Ok 57"/>
          <p:cNvSpPr/>
          <p:nvPr/>
        </p:nvSpPr>
        <p:spPr>
          <a:xfrm rot="10800000">
            <a:off x="5826919" y="4453242"/>
            <a:ext cx="288925" cy="2190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a:solidFill>
                <a:prstClr val="white"/>
              </a:solidFill>
              <a:latin typeface="Calibri"/>
            </a:endParaRPr>
          </a:p>
        </p:txBody>
      </p:sp>
      <p:sp>
        <p:nvSpPr>
          <p:cNvPr id="59" name="Sağ Ok 58"/>
          <p:cNvSpPr/>
          <p:nvPr/>
        </p:nvSpPr>
        <p:spPr>
          <a:xfrm rot="10800000">
            <a:off x="3644107" y="4453242"/>
            <a:ext cx="288925" cy="2190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a:solidFill>
                <a:prstClr val="white"/>
              </a:solidFill>
              <a:latin typeface="Calibri"/>
            </a:endParaRPr>
          </a:p>
        </p:txBody>
      </p:sp>
      <p:pic>
        <p:nvPicPr>
          <p:cNvPr id="60" name="Picture 16" descr="kosgeb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10523" y="4053524"/>
            <a:ext cx="460597" cy="240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Metin kutusu 15"/>
          <p:cNvSpPr txBox="1">
            <a:spLocks noChangeArrowheads="1"/>
          </p:cNvSpPr>
          <p:nvPr/>
        </p:nvSpPr>
        <p:spPr bwMode="auto">
          <a:xfrm>
            <a:off x="1812132" y="1363966"/>
            <a:ext cx="312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tr-TR" altLang="tr-TR" sz="1800">
                <a:solidFill>
                  <a:srgbClr val="FF0000"/>
                </a:solidFill>
                <a:latin typeface="Arial" pitchFamily="34" charset="0"/>
              </a:rPr>
              <a:t>1</a:t>
            </a:r>
            <a:endParaRPr lang="en-GB" altLang="tr-TR" sz="1800">
              <a:solidFill>
                <a:srgbClr val="FF0000"/>
              </a:solidFill>
              <a:latin typeface="Arial" pitchFamily="34" charset="0"/>
            </a:endParaRPr>
          </a:p>
        </p:txBody>
      </p:sp>
      <p:sp>
        <p:nvSpPr>
          <p:cNvPr id="62" name="Metin kutusu 15"/>
          <p:cNvSpPr txBox="1">
            <a:spLocks noChangeArrowheads="1"/>
          </p:cNvSpPr>
          <p:nvPr/>
        </p:nvSpPr>
        <p:spPr bwMode="auto">
          <a:xfrm>
            <a:off x="3871118" y="1363966"/>
            <a:ext cx="3127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tr-TR" altLang="tr-TR" sz="1800">
                <a:solidFill>
                  <a:srgbClr val="FF0000"/>
                </a:solidFill>
                <a:latin typeface="Arial" pitchFamily="34" charset="0"/>
              </a:rPr>
              <a:t>2</a:t>
            </a:r>
            <a:endParaRPr lang="en-GB" altLang="tr-TR" sz="1800">
              <a:solidFill>
                <a:srgbClr val="FF0000"/>
              </a:solidFill>
              <a:latin typeface="Arial" pitchFamily="34" charset="0"/>
            </a:endParaRPr>
          </a:p>
        </p:txBody>
      </p:sp>
      <p:sp>
        <p:nvSpPr>
          <p:cNvPr id="63" name="Metin kutusu 15"/>
          <p:cNvSpPr txBox="1">
            <a:spLocks noChangeArrowheads="1"/>
          </p:cNvSpPr>
          <p:nvPr/>
        </p:nvSpPr>
        <p:spPr bwMode="auto">
          <a:xfrm>
            <a:off x="1699418" y="3775380"/>
            <a:ext cx="3127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tr-TR" altLang="tr-TR" sz="1800">
                <a:solidFill>
                  <a:srgbClr val="FF0000"/>
                </a:solidFill>
                <a:latin typeface="Arial" pitchFamily="34" charset="0"/>
              </a:rPr>
              <a:t>8</a:t>
            </a:r>
            <a:endParaRPr lang="en-GB" altLang="tr-TR" sz="1800">
              <a:solidFill>
                <a:srgbClr val="FF0000"/>
              </a:solidFill>
              <a:latin typeface="Arial" pitchFamily="34" charset="0"/>
            </a:endParaRPr>
          </a:p>
        </p:txBody>
      </p:sp>
      <p:sp>
        <p:nvSpPr>
          <p:cNvPr id="64" name="Metin kutusu 15"/>
          <p:cNvSpPr txBox="1">
            <a:spLocks noChangeArrowheads="1"/>
          </p:cNvSpPr>
          <p:nvPr/>
        </p:nvSpPr>
        <p:spPr bwMode="auto">
          <a:xfrm>
            <a:off x="8312149" y="1441755"/>
            <a:ext cx="3127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tr-TR" altLang="tr-TR" sz="1800" dirty="0">
                <a:solidFill>
                  <a:srgbClr val="FF0000"/>
                </a:solidFill>
                <a:latin typeface="Arial" pitchFamily="34" charset="0"/>
              </a:rPr>
              <a:t>4</a:t>
            </a:r>
            <a:endParaRPr lang="en-GB" altLang="tr-TR" sz="1800" dirty="0">
              <a:solidFill>
                <a:srgbClr val="FF0000"/>
              </a:solidFill>
              <a:latin typeface="Arial" pitchFamily="34" charset="0"/>
            </a:endParaRPr>
          </a:p>
        </p:txBody>
      </p:sp>
      <p:sp>
        <p:nvSpPr>
          <p:cNvPr id="65" name="Metin kutusu 15"/>
          <p:cNvSpPr txBox="1">
            <a:spLocks noChangeArrowheads="1"/>
          </p:cNvSpPr>
          <p:nvPr/>
        </p:nvSpPr>
        <p:spPr bwMode="auto">
          <a:xfrm>
            <a:off x="5949157" y="1387779"/>
            <a:ext cx="312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tr-TR" altLang="tr-TR" sz="1800">
                <a:solidFill>
                  <a:srgbClr val="FF0000"/>
                </a:solidFill>
                <a:latin typeface="Arial" pitchFamily="34" charset="0"/>
              </a:rPr>
              <a:t>3</a:t>
            </a:r>
            <a:endParaRPr lang="en-GB" altLang="tr-TR" sz="1800">
              <a:solidFill>
                <a:srgbClr val="FF0000"/>
              </a:solidFill>
              <a:latin typeface="Arial" pitchFamily="34" charset="0"/>
            </a:endParaRPr>
          </a:p>
        </p:txBody>
      </p:sp>
      <p:sp>
        <p:nvSpPr>
          <p:cNvPr id="66" name="Metin kutusu 15"/>
          <p:cNvSpPr txBox="1">
            <a:spLocks noChangeArrowheads="1"/>
          </p:cNvSpPr>
          <p:nvPr/>
        </p:nvSpPr>
        <p:spPr bwMode="auto">
          <a:xfrm>
            <a:off x="8274843" y="3735691"/>
            <a:ext cx="3127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tr-TR" altLang="tr-TR" sz="1800">
                <a:solidFill>
                  <a:srgbClr val="FF0000"/>
                </a:solidFill>
                <a:latin typeface="Arial" pitchFamily="34" charset="0"/>
              </a:rPr>
              <a:t>5</a:t>
            </a:r>
            <a:endParaRPr lang="en-GB" altLang="tr-TR" sz="1800">
              <a:solidFill>
                <a:srgbClr val="FF0000"/>
              </a:solidFill>
              <a:latin typeface="Arial" pitchFamily="34" charset="0"/>
            </a:endParaRPr>
          </a:p>
        </p:txBody>
      </p:sp>
      <p:sp>
        <p:nvSpPr>
          <p:cNvPr id="67" name="Metin kutusu 15"/>
          <p:cNvSpPr txBox="1">
            <a:spLocks noChangeArrowheads="1"/>
          </p:cNvSpPr>
          <p:nvPr/>
        </p:nvSpPr>
        <p:spPr bwMode="auto">
          <a:xfrm>
            <a:off x="5925343" y="3735691"/>
            <a:ext cx="3127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tr-TR" altLang="tr-TR" sz="1800">
                <a:solidFill>
                  <a:srgbClr val="FF0000"/>
                </a:solidFill>
                <a:latin typeface="Arial" pitchFamily="34" charset="0"/>
              </a:rPr>
              <a:t>6</a:t>
            </a:r>
            <a:endParaRPr lang="en-GB" altLang="tr-TR" sz="1800">
              <a:solidFill>
                <a:srgbClr val="FF0000"/>
              </a:solidFill>
              <a:latin typeface="Arial" pitchFamily="34" charset="0"/>
            </a:endParaRPr>
          </a:p>
        </p:txBody>
      </p:sp>
      <p:sp>
        <p:nvSpPr>
          <p:cNvPr id="68" name="Metin kutusu 15"/>
          <p:cNvSpPr txBox="1">
            <a:spLocks noChangeArrowheads="1"/>
          </p:cNvSpPr>
          <p:nvPr/>
        </p:nvSpPr>
        <p:spPr bwMode="auto">
          <a:xfrm>
            <a:off x="3718718" y="3803955"/>
            <a:ext cx="3127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tr-TR" altLang="tr-TR" sz="1800">
                <a:solidFill>
                  <a:srgbClr val="FF0000"/>
                </a:solidFill>
                <a:latin typeface="Arial" pitchFamily="34" charset="0"/>
              </a:rPr>
              <a:t>7</a:t>
            </a:r>
            <a:endParaRPr lang="en-GB" altLang="tr-TR" sz="1800">
              <a:solidFill>
                <a:srgbClr val="FF0000"/>
              </a:solidFill>
              <a:latin typeface="Arial" pitchFamily="34" charset="0"/>
            </a:endParaRPr>
          </a:p>
        </p:txBody>
      </p:sp>
      <p:sp>
        <p:nvSpPr>
          <p:cNvPr id="69" name="Metin kutusu 15"/>
          <p:cNvSpPr txBox="1">
            <a:spLocks noChangeArrowheads="1"/>
          </p:cNvSpPr>
          <p:nvPr/>
        </p:nvSpPr>
        <p:spPr bwMode="auto">
          <a:xfrm>
            <a:off x="1781968" y="2961851"/>
            <a:ext cx="1916112"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tr-TR" altLang="tr-TR" sz="1400" dirty="0">
                <a:solidFill>
                  <a:srgbClr val="FF0000"/>
                </a:solidFill>
                <a:latin typeface="Arial" pitchFamily="34" charset="0"/>
              </a:rPr>
              <a:t>Protokol hazırlanması</a:t>
            </a:r>
            <a:endParaRPr lang="en-GB" altLang="tr-TR" sz="1400" dirty="0">
              <a:solidFill>
                <a:srgbClr val="FF0000"/>
              </a:solidFill>
              <a:latin typeface="Arial" pitchFamily="34" charset="0"/>
            </a:endParaRPr>
          </a:p>
        </p:txBody>
      </p:sp>
      <p:pic>
        <p:nvPicPr>
          <p:cNvPr id="70" name="Picture 2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47894" y="1590269"/>
            <a:ext cx="1508547" cy="122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Metin kutusu 15"/>
          <p:cNvSpPr txBox="1">
            <a:spLocks noChangeArrowheads="1"/>
          </p:cNvSpPr>
          <p:nvPr/>
        </p:nvSpPr>
        <p:spPr bwMode="auto">
          <a:xfrm>
            <a:off x="4009232" y="2962580"/>
            <a:ext cx="18430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tr-TR" altLang="tr-TR" sz="1400">
                <a:solidFill>
                  <a:srgbClr val="FF0000"/>
                </a:solidFill>
                <a:latin typeface="Arial" pitchFamily="34" charset="0"/>
              </a:rPr>
              <a:t>Yazılım hazırlanması</a:t>
            </a:r>
            <a:endParaRPr lang="en-GB" altLang="tr-TR" sz="1400">
              <a:solidFill>
                <a:srgbClr val="FF0000"/>
              </a:solidFill>
              <a:latin typeface="Arial" pitchFamily="34" charset="0"/>
            </a:endParaRPr>
          </a:p>
        </p:txBody>
      </p:sp>
      <p:sp>
        <p:nvSpPr>
          <p:cNvPr id="72" name="Metin kutusu 15"/>
          <p:cNvSpPr txBox="1">
            <a:spLocks noChangeArrowheads="1"/>
          </p:cNvSpPr>
          <p:nvPr/>
        </p:nvSpPr>
        <p:spPr bwMode="auto">
          <a:xfrm>
            <a:off x="6399212" y="2962579"/>
            <a:ext cx="11795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tr-TR" altLang="tr-TR" sz="1400">
                <a:solidFill>
                  <a:srgbClr val="FF0000"/>
                </a:solidFill>
                <a:latin typeface="Arial" pitchFamily="34" charset="0"/>
              </a:rPr>
              <a:t>Faiz teklifleri</a:t>
            </a:r>
            <a:endParaRPr lang="en-GB" altLang="tr-TR" sz="1400" dirty="0">
              <a:solidFill>
                <a:srgbClr val="FF0000"/>
              </a:solidFill>
              <a:latin typeface="Arial" pitchFamily="34" charset="0"/>
            </a:endParaRPr>
          </a:p>
        </p:txBody>
      </p:sp>
      <p:sp>
        <p:nvSpPr>
          <p:cNvPr id="73" name="Metin kutusu 15"/>
          <p:cNvSpPr txBox="1">
            <a:spLocks noChangeArrowheads="1"/>
          </p:cNvSpPr>
          <p:nvPr/>
        </p:nvSpPr>
        <p:spPr bwMode="auto">
          <a:xfrm>
            <a:off x="6739732" y="2213280"/>
            <a:ext cx="8223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tr-TR" altLang="tr-TR" sz="1400">
                <a:solidFill>
                  <a:srgbClr val="0070C0"/>
                </a:solidFill>
                <a:latin typeface="Arial" pitchFamily="34" charset="0"/>
              </a:rPr>
              <a:t>… Bank</a:t>
            </a:r>
            <a:endParaRPr lang="en-GB" altLang="tr-TR" sz="1400">
              <a:solidFill>
                <a:srgbClr val="0070C0"/>
              </a:solidFill>
              <a:latin typeface="Arial" pitchFamily="34" charset="0"/>
            </a:endParaRPr>
          </a:p>
        </p:txBody>
      </p:sp>
      <p:sp>
        <p:nvSpPr>
          <p:cNvPr id="74" name="Metin kutusu 15"/>
          <p:cNvSpPr txBox="1">
            <a:spLocks noChangeArrowheads="1"/>
          </p:cNvSpPr>
          <p:nvPr/>
        </p:nvSpPr>
        <p:spPr bwMode="auto">
          <a:xfrm>
            <a:off x="8227994" y="2853435"/>
            <a:ext cx="214834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None/>
            </a:pPr>
            <a:r>
              <a:rPr lang="tr-TR" altLang="tr-TR" sz="1400" dirty="0">
                <a:solidFill>
                  <a:srgbClr val="FF0000"/>
                </a:solidFill>
                <a:latin typeface="Arial" pitchFamily="34" charset="0"/>
              </a:rPr>
              <a:t>Protokol imzalanması</a:t>
            </a:r>
          </a:p>
          <a:p>
            <a:pPr algn="ctr" eaLnBrk="1" hangingPunct="1">
              <a:spcBef>
                <a:spcPct val="0"/>
              </a:spcBef>
              <a:buNone/>
            </a:pPr>
            <a:r>
              <a:rPr lang="tr-TR" altLang="tr-TR" sz="1400" dirty="0">
                <a:solidFill>
                  <a:srgbClr val="FF0000"/>
                </a:solidFill>
                <a:latin typeface="Arial" pitchFamily="34" charset="0"/>
              </a:rPr>
              <a:t>(KOSGEB+Banka+</a:t>
            </a:r>
            <a:r>
              <a:rPr lang="tr-TR" altLang="tr-TR" sz="1400" i="1" dirty="0">
                <a:solidFill>
                  <a:srgbClr val="FF0000"/>
                </a:solidFill>
                <a:latin typeface="Arial" pitchFamily="34" charset="0"/>
              </a:rPr>
              <a:t>KGF</a:t>
            </a:r>
            <a:r>
              <a:rPr lang="tr-TR" altLang="tr-TR" sz="1400" dirty="0">
                <a:solidFill>
                  <a:srgbClr val="FF0000"/>
                </a:solidFill>
                <a:latin typeface="Arial" pitchFamily="34" charset="0"/>
              </a:rPr>
              <a:t>)</a:t>
            </a:r>
            <a:endParaRPr lang="en-GB" altLang="tr-TR" sz="1400" dirty="0">
              <a:solidFill>
                <a:srgbClr val="FF0000"/>
              </a:solidFill>
              <a:latin typeface="Arial" pitchFamily="34" charset="0"/>
            </a:endParaRPr>
          </a:p>
        </p:txBody>
      </p:sp>
      <p:sp>
        <p:nvSpPr>
          <p:cNvPr id="75" name="Metin kutusu 15"/>
          <p:cNvSpPr txBox="1">
            <a:spLocks noChangeArrowheads="1"/>
          </p:cNvSpPr>
          <p:nvPr/>
        </p:nvSpPr>
        <p:spPr bwMode="auto">
          <a:xfrm>
            <a:off x="8984195" y="5354941"/>
            <a:ext cx="88036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None/>
            </a:pPr>
            <a:r>
              <a:rPr lang="tr-TR" altLang="tr-TR" sz="1400" dirty="0">
                <a:solidFill>
                  <a:srgbClr val="FF0000"/>
                </a:solidFill>
                <a:latin typeface="Arial" pitchFamily="34" charset="0"/>
              </a:rPr>
              <a:t>Başvuru</a:t>
            </a:r>
          </a:p>
          <a:p>
            <a:pPr algn="ctr" eaLnBrk="1" hangingPunct="1">
              <a:spcBef>
                <a:spcPct val="0"/>
              </a:spcBef>
              <a:buNone/>
            </a:pPr>
            <a:r>
              <a:rPr lang="tr-TR" altLang="tr-TR" sz="1400" dirty="0">
                <a:solidFill>
                  <a:srgbClr val="FF0000"/>
                </a:solidFill>
                <a:latin typeface="Arial" pitchFamily="34" charset="0"/>
              </a:rPr>
              <a:t>(İşletme)</a:t>
            </a:r>
            <a:endParaRPr lang="en-GB" altLang="tr-TR" sz="1400" dirty="0">
              <a:solidFill>
                <a:srgbClr val="FF0000"/>
              </a:solidFill>
              <a:latin typeface="Arial" pitchFamily="34" charset="0"/>
            </a:endParaRPr>
          </a:p>
        </p:txBody>
      </p:sp>
      <p:sp>
        <p:nvSpPr>
          <p:cNvPr id="76" name="Metin kutusu 15"/>
          <p:cNvSpPr txBox="1">
            <a:spLocks noChangeArrowheads="1"/>
          </p:cNvSpPr>
          <p:nvPr/>
        </p:nvSpPr>
        <p:spPr bwMode="auto">
          <a:xfrm>
            <a:off x="6288317" y="5354941"/>
            <a:ext cx="172515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None/>
            </a:pPr>
            <a:r>
              <a:rPr lang="tr-TR" altLang="tr-TR" sz="1400" dirty="0">
                <a:solidFill>
                  <a:srgbClr val="FF0000"/>
                </a:solidFill>
                <a:latin typeface="Arial" pitchFamily="34" charset="0"/>
              </a:rPr>
              <a:t>Onaylar</a:t>
            </a:r>
          </a:p>
          <a:p>
            <a:pPr algn="ctr" eaLnBrk="1" hangingPunct="1">
              <a:spcBef>
                <a:spcPct val="0"/>
              </a:spcBef>
              <a:buNone/>
            </a:pPr>
            <a:r>
              <a:rPr lang="tr-TR" altLang="tr-TR" sz="1400" dirty="0">
                <a:solidFill>
                  <a:srgbClr val="FF0000"/>
                </a:solidFill>
                <a:latin typeface="Arial" pitchFamily="34" charset="0"/>
              </a:rPr>
              <a:t>(</a:t>
            </a:r>
            <a:r>
              <a:rPr lang="tr-TR" altLang="tr-TR" sz="1400" dirty="0" err="1">
                <a:solidFill>
                  <a:srgbClr val="FF0000"/>
                </a:solidFill>
                <a:latin typeface="Arial" pitchFamily="34" charset="0"/>
              </a:rPr>
              <a:t>KOSGEB+Banka</a:t>
            </a:r>
            <a:r>
              <a:rPr lang="tr-TR" altLang="tr-TR" sz="1400" dirty="0">
                <a:solidFill>
                  <a:srgbClr val="FF0000"/>
                </a:solidFill>
                <a:latin typeface="Arial" pitchFamily="34" charset="0"/>
              </a:rPr>
              <a:t>)</a:t>
            </a:r>
            <a:endParaRPr lang="en-GB" altLang="tr-TR" sz="1400" dirty="0">
              <a:solidFill>
                <a:srgbClr val="FF0000"/>
              </a:solidFill>
              <a:latin typeface="Arial" pitchFamily="34" charset="0"/>
            </a:endParaRPr>
          </a:p>
        </p:txBody>
      </p:sp>
      <p:sp>
        <p:nvSpPr>
          <p:cNvPr id="77" name="Metin kutusu 15"/>
          <p:cNvSpPr txBox="1">
            <a:spLocks noChangeArrowheads="1"/>
          </p:cNvSpPr>
          <p:nvPr/>
        </p:nvSpPr>
        <p:spPr bwMode="auto">
          <a:xfrm>
            <a:off x="4160192" y="5354941"/>
            <a:ext cx="1577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None/>
            </a:pPr>
            <a:r>
              <a:rPr lang="tr-TR" altLang="tr-TR" sz="1400" dirty="0">
                <a:solidFill>
                  <a:srgbClr val="FF0000"/>
                </a:solidFill>
                <a:latin typeface="Arial" pitchFamily="34" charset="0"/>
              </a:rPr>
              <a:t>Kredi kullandırımı</a:t>
            </a:r>
          </a:p>
          <a:p>
            <a:pPr algn="ctr" eaLnBrk="1" hangingPunct="1">
              <a:spcBef>
                <a:spcPct val="0"/>
              </a:spcBef>
              <a:buNone/>
            </a:pPr>
            <a:r>
              <a:rPr lang="tr-TR" altLang="tr-TR" sz="1400" dirty="0">
                <a:solidFill>
                  <a:srgbClr val="FF0000"/>
                </a:solidFill>
                <a:latin typeface="Arial" pitchFamily="34" charset="0"/>
              </a:rPr>
              <a:t>(Banka)</a:t>
            </a:r>
            <a:endParaRPr lang="en-GB" altLang="tr-TR" sz="1400" dirty="0">
              <a:solidFill>
                <a:srgbClr val="FF0000"/>
              </a:solidFill>
              <a:latin typeface="Arial" pitchFamily="34" charset="0"/>
            </a:endParaRPr>
          </a:p>
        </p:txBody>
      </p:sp>
      <p:sp>
        <p:nvSpPr>
          <p:cNvPr id="78" name="Metin kutusu 15"/>
          <p:cNvSpPr txBox="1">
            <a:spLocks noChangeArrowheads="1"/>
          </p:cNvSpPr>
          <p:nvPr/>
        </p:nvSpPr>
        <p:spPr bwMode="auto">
          <a:xfrm>
            <a:off x="2129631" y="5358116"/>
            <a:ext cx="143821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None/>
            </a:pPr>
            <a:r>
              <a:rPr lang="tr-TR" altLang="tr-TR" sz="1400" dirty="0">
                <a:solidFill>
                  <a:srgbClr val="FF0000"/>
                </a:solidFill>
                <a:latin typeface="Arial" pitchFamily="34" charset="0"/>
              </a:rPr>
              <a:t>Destek aktarımı</a:t>
            </a:r>
          </a:p>
          <a:p>
            <a:pPr algn="ctr" eaLnBrk="1" hangingPunct="1">
              <a:spcBef>
                <a:spcPct val="0"/>
              </a:spcBef>
              <a:buNone/>
            </a:pPr>
            <a:r>
              <a:rPr lang="tr-TR" altLang="tr-TR" sz="1400" dirty="0">
                <a:solidFill>
                  <a:srgbClr val="FF0000"/>
                </a:solidFill>
                <a:latin typeface="Arial" pitchFamily="34" charset="0"/>
              </a:rPr>
              <a:t>(KOSGEB)</a:t>
            </a:r>
            <a:endParaRPr lang="en-GB" altLang="tr-TR" sz="1400" dirty="0">
              <a:solidFill>
                <a:srgbClr val="FF0000"/>
              </a:solidFill>
              <a:latin typeface="Arial" pitchFamily="34" charset="0"/>
            </a:endParaRPr>
          </a:p>
        </p:txBody>
      </p:sp>
      <p:pic>
        <p:nvPicPr>
          <p:cNvPr id="79" name="Picture 39" descr="C:\Users\abdullah.karaosmanog\Desktop\para1.jpg"/>
          <p:cNvPicPr>
            <a:picLocks noChangeAspect="1" noChangeArrowheads="1"/>
          </p:cNvPicPr>
          <p:nvPr/>
        </p:nvPicPr>
        <p:blipFill>
          <a:blip r:embed="rId10"/>
          <a:srcRect/>
          <a:stretch>
            <a:fillRect/>
          </a:stretch>
        </p:blipFill>
        <p:spPr bwMode="auto">
          <a:xfrm>
            <a:off x="3972232" y="4040492"/>
            <a:ext cx="1832461" cy="117316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6275667"/>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heel(1)">
                                      <p:cBhvr>
                                        <p:cTn id="7" dur="2000"/>
                                        <p:tgtEl>
                                          <p:spTgt spid="26"/>
                                        </p:tgtEl>
                                      </p:cBhvr>
                                    </p:animEffect>
                                  </p:childTnLst>
                                </p:cTn>
                              </p:par>
                              <p:par>
                                <p:cTn id="8" presetID="21" presetClass="entr" presetSubtype="1"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heel(1)">
                                      <p:cBhvr>
                                        <p:cTn id="10" dur="2000"/>
                                        <p:tgtEl>
                                          <p:spTgt spid="27"/>
                                        </p:tgtEl>
                                      </p:cBhvr>
                                    </p:animEffect>
                                  </p:childTnLst>
                                </p:cTn>
                              </p:par>
                              <p:par>
                                <p:cTn id="11" presetID="21" presetClass="entr" presetSubtype="1"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wheel(1)">
                                      <p:cBhvr>
                                        <p:cTn id="13" dur="2000"/>
                                        <p:tgtEl>
                                          <p:spTgt spid="28"/>
                                        </p:tgtEl>
                                      </p:cBhvr>
                                    </p:animEffect>
                                  </p:childTnLst>
                                </p:cTn>
                              </p:par>
                              <p:par>
                                <p:cTn id="14" presetID="21" presetClass="entr" presetSubtype="1"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wheel(1)">
                                      <p:cBhvr>
                                        <p:cTn id="16" dur="2000"/>
                                        <p:tgtEl>
                                          <p:spTgt spid="29"/>
                                        </p:tgtEl>
                                      </p:cBhvr>
                                    </p:animEffect>
                                  </p:childTnLst>
                                </p:cTn>
                              </p:par>
                              <p:par>
                                <p:cTn id="17" presetID="21" presetClass="entr" presetSubtype="1"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wheel(1)">
                                      <p:cBhvr>
                                        <p:cTn id="19" dur="2000"/>
                                        <p:tgtEl>
                                          <p:spTgt spid="30"/>
                                        </p:tgtEl>
                                      </p:cBhvr>
                                    </p:animEffect>
                                  </p:childTnLst>
                                </p:cTn>
                              </p:par>
                              <p:par>
                                <p:cTn id="20" presetID="21" presetClass="entr" presetSubtype="1" fill="hold"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wheel(1)">
                                      <p:cBhvr>
                                        <p:cTn id="22" dur="2000"/>
                                        <p:tgtEl>
                                          <p:spTgt spid="52"/>
                                        </p:tgtEl>
                                      </p:cBhvr>
                                    </p:animEffect>
                                  </p:childTnLst>
                                </p:cTn>
                              </p:par>
                              <p:par>
                                <p:cTn id="23" presetID="21" presetClass="entr" presetSubtype="1" fill="hold" grpId="0" nodeType="withEffect">
                                  <p:stCondLst>
                                    <p:cond delay="0"/>
                                  </p:stCondLst>
                                  <p:childTnLst>
                                    <p:set>
                                      <p:cBhvr>
                                        <p:cTn id="24" dur="1" fill="hold">
                                          <p:stCondLst>
                                            <p:cond delay="0"/>
                                          </p:stCondLst>
                                        </p:cTn>
                                        <p:tgtEl>
                                          <p:spTgt spid="53"/>
                                        </p:tgtEl>
                                        <p:attrNameLst>
                                          <p:attrName>style.visibility</p:attrName>
                                        </p:attrNameLst>
                                      </p:cBhvr>
                                      <p:to>
                                        <p:strVal val="visible"/>
                                      </p:to>
                                    </p:set>
                                    <p:animEffect transition="in" filter="wheel(1)">
                                      <p:cBhvr>
                                        <p:cTn id="25" dur="2000"/>
                                        <p:tgtEl>
                                          <p:spTgt spid="53"/>
                                        </p:tgtEl>
                                      </p:cBhvr>
                                    </p:animEffect>
                                  </p:childTnLst>
                                </p:cTn>
                              </p:par>
                              <p:par>
                                <p:cTn id="26" presetID="21" presetClass="entr" presetSubtype="1" fill="hold" grpId="0" nodeType="with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wheel(1)">
                                      <p:cBhvr>
                                        <p:cTn id="28" dur="2000"/>
                                        <p:tgtEl>
                                          <p:spTgt spid="54"/>
                                        </p:tgtEl>
                                      </p:cBhvr>
                                    </p:animEffect>
                                  </p:childTnLst>
                                </p:cTn>
                              </p:par>
                              <p:par>
                                <p:cTn id="29" presetID="21" presetClass="entr" presetSubtype="1" fill="hold" grpId="0" nodeType="with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wheel(1)">
                                      <p:cBhvr>
                                        <p:cTn id="31" dur="2000"/>
                                        <p:tgtEl>
                                          <p:spTgt spid="55"/>
                                        </p:tgtEl>
                                      </p:cBhvr>
                                    </p:animEffect>
                                  </p:childTnLst>
                                </p:cTn>
                              </p:par>
                              <p:par>
                                <p:cTn id="32" presetID="21" presetClass="entr" presetSubtype="1" fill="hold" grpId="0" nodeType="withEffect">
                                  <p:stCondLst>
                                    <p:cond delay="0"/>
                                  </p:stCondLst>
                                  <p:childTnLst>
                                    <p:set>
                                      <p:cBhvr>
                                        <p:cTn id="33" dur="1" fill="hold">
                                          <p:stCondLst>
                                            <p:cond delay="0"/>
                                          </p:stCondLst>
                                        </p:cTn>
                                        <p:tgtEl>
                                          <p:spTgt spid="56"/>
                                        </p:tgtEl>
                                        <p:attrNameLst>
                                          <p:attrName>style.visibility</p:attrName>
                                        </p:attrNameLst>
                                      </p:cBhvr>
                                      <p:to>
                                        <p:strVal val="visible"/>
                                      </p:to>
                                    </p:set>
                                    <p:animEffect transition="in" filter="wheel(1)">
                                      <p:cBhvr>
                                        <p:cTn id="34" dur="2000"/>
                                        <p:tgtEl>
                                          <p:spTgt spid="56"/>
                                        </p:tgtEl>
                                      </p:cBhvr>
                                    </p:animEffect>
                                  </p:childTnLst>
                                </p:cTn>
                              </p:par>
                              <p:par>
                                <p:cTn id="35" presetID="21" presetClass="entr" presetSubtype="1" fill="hold" grpId="0" nodeType="withEffect">
                                  <p:stCondLst>
                                    <p:cond delay="0"/>
                                  </p:stCondLst>
                                  <p:childTnLst>
                                    <p:set>
                                      <p:cBhvr>
                                        <p:cTn id="36" dur="1" fill="hold">
                                          <p:stCondLst>
                                            <p:cond delay="0"/>
                                          </p:stCondLst>
                                        </p:cTn>
                                        <p:tgtEl>
                                          <p:spTgt spid="57"/>
                                        </p:tgtEl>
                                        <p:attrNameLst>
                                          <p:attrName>style.visibility</p:attrName>
                                        </p:attrNameLst>
                                      </p:cBhvr>
                                      <p:to>
                                        <p:strVal val="visible"/>
                                      </p:to>
                                    </p:set>
                                    <p:animEffect transition="in" filter="wheel(1)">
                                      <p:cBhvr>
                                        <p:cTn id="37" dur="2000"/>
                                        <p:tgtEl>
                                          <p:spTgt spid="57"/>
                                        </p:tgtEl>
                                      </p:cBhvr>
                                    </p:animEffect>
                                  </p:childTnLst>
                                </p:cTn>
                              </p:par>
                              <p:par>
                                <p:cTn id="38" presetID="21" presetClass="entr" presetSubtype="1" fill="hold" grpId="0" nodeType="withEffect">
                                  <p:stCondLst>
                                    <p:cond delay="0"/>
                                  </p:stCondLst>
                                  <p:childTnLst>
                                    <p:set>
                                      <p:cBhvr>
                                        <p:cTn id="39" dur="1" fill="hold">
                                          <p:stCondLst>
                                            <p:cond delay="0"/>
                                          </p:stCondLst>
                                        </p:cTn>
                                        <p:tgtEl>
                                          <p:spTgt spid="58"/>
                                        </p:tgtEl>
                                        <p:attrNameLst>
                                          <p:attrName>style.visibility</p:attrName>
                                        </p:attrNameLst>
                                      </p:cBhvr>
                                      <p:to>
                                        <p:strVal val="visible"/>
                                      </p:to>
                                    </p:set>
                                    <p:animEffect transition="in" filter="wheel(1)">
                                      <p:cBhvr>
                                        <p:cTn id="40" dur="2000"/>
                                        <p:tgtEl>
                                          <p:spTgt spid="58"/>
                                        </p:tgtEl>
                                      </p:cBhvr>
                                    </p:animEffect>
                                  </p:childTnLst>
                                </p:cTn>
                              </p:par>
                              <p:par>
                                <p:cTn id="41" presetID="21" presetClass="entr" presetSubtype="1" fill="hold" grpId="0" nodeType="withEffect">
                                  <p:stCondLst>
                                    <p:cond delay="0"/>
                                  </p:stCondLst>
                                  <p:childTnLst>
                                    <p:set>
                                      <p:cBhvr>
                                        <p:cTn id="42" dur="1" fill="hold">
                                          <p:stCondLst>
                                            <p:cond delay="0"/>
                                          </p:stCondLst>
                                        </p:cTn>
                                        <p:tgtEl>
                                          <p:spTgt spid="59"/>
                                        </p:tgtEl>
                                        <p:attrNameLst>
                                          <p:attrName>style.visibility</p:attrName>
                                        </p:attrNameLst>
                                      </p:cBhvr>
                                      <p:to>
                                        <p:strVal val="visible"/>
                                      </p:to>
                                    </p:set>
                                    <p:animEffect transition="in" filter="wheel(1)">
                                      <p:cBhvr>
                                        <p:cTn id="43" dur="2000"/>
                                        <p:tgtEl>
                                          <p:spTgt spid="59"/>
                                        </p:tgtEl>
                                      </p:cBhvr>
                                    </p:animEffect>
                                  </p:childTnLst>
                                </p:cTn>
                              </p:par>
                              <p:par>
                                <p:cTn id="44" presetID="21" presetClass="entr" presetSubtype="1" fill="hold" nodeType="withEffect">
                                  <p:stCondLst>
                                    <p:cond delay="0"/>
                                  </p:stCondLst>
                                  <p:childTnLst>
                                    <p:set>
                                      <p:cBhvr>
                                        <p:cTn id="45" dur="1" fill="hold">
                                          <p:stCondLst>
                                            <p:cond delay="0"/>
                                          </p:stCondLst>
                                        </p:cTn>
                                        <p:tgtEl>
                                          <p:spTgt spid="60"/>
                                        </p:tgtEl>
                                        <p:attrNameLst>
                                          <p:attrName>style.visibility</p:attrName>
                                        </p:attrNameLst>
                                      </p:cBhvr>
                                      <p:to>
                                        <p:strVal val="visible"/>
                                      </p:to>
                                    </p:set>
                                    <p:animEffect transition="in" filter="wheel(1)">
                                      <p:cBhvr>
                                        <p:cTn id="46" dur="2000"/>
                                        <p:tgtEl>
                                          <p:spTgt spid="60"/>
                                        </p:tgtEl>
                                      </p:cBhvr>
                                    </p:animEffect>
                                  </p:childTnLst>
                                </p:cTn>
                              </p:par>
                              <p:par>
                                <p:cTn id="47" presetID="21" presetClass="entr" presetSubtype="1" fill="hold" grpId="0" nodeType="withEffect">
                                  <p:stCondLst>
                                    <p:cond delay="0"/>
                                  </p:stCondLst>
                                  <p:childTnLst>
                                    <p:set>
                                      <p:cBhvr>
                                        <p:cTn id="48" dur="1" fill="hold">
                                          <p:stCondLst>
                                            <p:cond delay="0"/>
                                          </p:stCondLst>
                                        </p:cTn>
                                        <p:tgtEl>
                                          <p:spTgt spid="61"/>
                                        </p:tgtEl>
                                        <p:attrNameLst>
                                          <p:attrName>style.visibility</p:attrName>
                                        </p:attrNameLst>
                                      </p:cBhvr>
                                      <p:to>
                                        <p:strVal val="visible"/>
                                      </p:to>
                                    </p:set>
                                    <p:animEffect transition="in" filter="wheel(1)">
                                      <p:cBhvr>
                                        <p:cTn id="49" dur="2000"/>
                                        <p:tgtEl>
                                          <p:spTgt spid="61"/>
                                        </p:tgtEl>
                                      </p:cBhvr>
                                    </p:animEffect>
                                  </p:childTnLst>
                                </p:cTn>
                              </p:par>
                              <p:par>
                                <p:cTn id="50" presetID="21" presetClass="entr" presetSubtype="1" fill="hold" grpId="0" nodeType="withEffect">
                                  <p:stCondLst>
                                    <p:cond delay="0"/>
                                  </p:stCondLst>
                                  <p:childTnLst>
                                    <p:set>
                                      <p:cBhvr>
                                        <p:cTn id="51" dur="1" fill="hold">
                                          <p:stCondLst>
                                            <p:cond delay="0"/>
                                          </p:stCondLst>
                                        </p:cTn>
                                        <p:tgtEl>
                                          <p:spTgt spid="62"/>
                                        </p:tgtEl>
                                        <p:attrNameLst>
                                          <p:attrName>style.visibility</p:attrName>
                                        </p:attrNameLst>
                                      </p:cBhvr>
                                      <p:to>
                                        <p:strVal val="visible"/>
                                      </p:to>
                                    </p:set>
                                    <p:animEffect transition="in" filter="wheel(1)">
                                      <p:cBhvr>
                                        <p:cTn id="52" dur="2000"/>
                                        <p:tgtEl>
                                          <p:spTgt spid="62"/>
                                        </p:tgtEl>
                                      </p:cBhvr>
                                    </p:animEffect>
                                  </p:childTnLst>
                                </p:cTn>
                              </p:par>
                              <p:par>
                                <p:cTn id="53" presetID="21" presetClass="entr" presetSubtype="1" fill="hold" grpId="0" nodeType="withEffect">
                                  <p:stCondLst>
                                    <p:cond delay="0"/>
                                  </p:stCondLst>
                                  <p:childTnLst>
                                    <p:set>
                                      <p:cBhvr>
                                        <p:cTn id="54" dur="1" fill="hold">
                                          <p:stCondLst>
                                            <p:cond delay="0"/>
                                          </p:stCondLst>
                                        </p:cTn>
                                        <p:tgtEl>
                                          <p:spTgt spid="63"/>
                                        </p:tgtEl>
                                        <p:attrNameLst>
                                          <p:attrName>style.visibility</p:attrName>
                                        </p:attrNameLst>
                                      </p:cBhvr>
                                      <p:to>
                                        <p:strVal val="visible"/>
                                      </p:to>
                                    </p:set>
                                    <p:animEffect transition="in" filter="wheel(1)">
                                      <p:cBhvr>
                                        <p:cTn id="55" dur="2000"/>
                                        <p:tgtEl>
                                          <p:spTgt spid="63"/>
                                        </p:tgtEl>
                                      </p:cBhvr>
                                    </p:animEffect>
                                  </p:childTnLst>
                                </p:cTn>
                              </p:par>
                              <p:par>
                                <p:cTn id="56" presetID="21" presetClass="entr" presetSubtype="1" fill="hold" grpId="0" nodeType="withEffect">
                                  <p:stCondLst>
                                    <p:cond delay="0"/>
                                  </p:stCondLst>
                                  <p:childTnLst>
                                    <p:set>
                                      <p:cBhvr>
                                        <p:cTn id="57" dur="1" fill="hold">
                                          <p:stCondLst>
                                            <p:cond delay="0"/>
                                          </p:stCondLst>
                                        </p:cTn>
                                        <p:tgtEl>
                                          <p:spTgt spid="64"/>
                                        </p:tgtEl>
                                        <p:attrNameLst>
                                          <p:attrName>style.visibility</p:attrName>
                                        </p:attrNameLst>
                                      </p:cBhvr>
                                      <p:to>
                                        <p:strVal val="visible"/>
                                      </p:to>
                                    </p:set>
                                    <p:animEffect transition="in" filter="wheel(1)">
                                      <p:cBhvr>
                                        <p:cTn id="58" dur="2000"/>
                                        <p:tgtEl>
                                          <p:spTgt spid="64"/>
                                        </p:tgtEl>
                                      </p:cBhvr>
                                    </p:animEffect>
                                  </p:childTnLst>
                                </p:cTn>
                              </p:par>
                              <p:par>
                                <p:cTn id="59" presetID="21" presetClass="entr" presetSubtype="1" fill="hold" grpId="0" nodeType="withEffect">
                                  <p:stCondLst>
                                    <p:cond delay="0"/>
                                  </p:stCondLst>
                                  <p:childTnLst>
                                    <p:set>
                                      <p:cBhvr>
                                        <p:cTn id="60" dur="1" fill="hold">
                                          <p:stCondLst>
                                            <p:cond delay="0"/>
                                          </p:stCondLst>
                                        </p:cTn>
                                        <p:tgtEl>
                                          <p:spTgt spid="65"/>
                                        </p:tgtEl>
                                        <p:attrNameLst>
                                          <p:attrName>style.visibility</p:attrName>
                                        </p:attrNameLst>
                                      </p:cBhvr>
                                      <p:to>
                                        <p:strVal val="visible"/>
                                      </p:to>
                                    </p:set>
                                    <p:animEffect transition="in" filter="wheel(1)">
                                      <p:cBhvr>
                                        <p:cTn id="61" dur="2000"/>
                                        <p:tgtEl>
                                          <p:spTgt spid="65"/>
                                        </p:tgtEl>
                                      </p:cBhvr>
                                    </p:animEffect>
                                  </p:childTnLst>
                                </p:cTn>
                              </p:par>
                              <p:par>
                                <p:cTn id="62" presetID="21" presetClass="entr" presetSubtype="1" fill="hold" grpId="0" nodeType="withEffect">
                                  <p:stCondLst>
                                    <p:cond delay="0"/>
                                  </p:stCondLst>
                                  <p:childTnLst>
                                    <p:set>
                                      <p:cBhvr>
                                        <p:cTn id="63" dur="1" fill="hold">
                                          <p:stCondLst>
                                            <p:cond delay="0"/>
                                          </p:stCondLst>
                                        </p:cTn>
                                        <p:tgtEl>
                                          <p:spTgt spid="66"/>
                                        </p:tgtEl>
                                        <p:attrNameLst>
                                          <p:attrName>style.visibility</p:attrName>
                                        </p:attrNameLst>
                                      </p:cBhvr>
                                      <p:to>
                                        <p:strVal val="visible"/>
                                      </p:to>
                                    </p:set>
                                    <p:animEffect transition="in" filter="wheel(1)">
                                      <p:cBhvr>
                                        <p:cTn id="64" dur="2000"/>
                                        <p:tgtEl>
                                          <p:spTgt spid="66"/>
                                        </p:tgtEl>
                                      </p:cBhvr>
                                    </p:animEffect>
                                  </p:childTnLst>
                                </p:cTn>
                              </p:par>
                              <p:par>
                                <p:cTn id="65" presetID="21" presetClass="entr" presetSubtype="1" fill="hold" grpId="0" nodeType="withEffect">
                                  <p:stCondLst>
                                    <p:cond delay="0"/>
                                  </p:stCondLst>
                                  <p:childTnLst>
                                    <p:set>
                                      <p:cBhvr>
                                        <p:cTn id="66" dur="1" fill="hold">
                                          <p:stCondLst>
                                            <p:cond delay="0"/>
                                          </p:stCondLst>
                                        </p:cTn>
                                        <p:tgtEl>
                                          <p:spTgt spid="67"/>
                                        </p:tgtEl>
                                        <p:attrNameLst>
                                          <p:attrName>style.visibility</p:attrName>
                                        </p:attrNameLst>
                                      </p:cBhvr>
                                      <p:to>
                                        <p:strVal val="visible"/>
                                      </p:to>
                                    </p:set>
                                    <p:animEffect transition="in" filter="wheel(1)">
                                      <p:cBhvr>
                                        <p:cTn id="67" dur="2000"/>
                                        <p:tgtEl>
                                          <p:spTgt spid="67"/>
                                        </p:tgtEl>
                                      </p:cBhvr>
                                    </p:animEffect>
                                  </p:childTnLst>
                                </p:cTn>
                              </p:par>
                              <p:par>
                                <p:cTn id="68" presetID="21" presetClass="entr" presetSubtype="1" fill="hold" grpId="0" nodeType="withEffect">
                                  <p:stCondLst>
                                    <p:cond delay="0"/>
                                  </p:stCondLst>
                                  <p:childTnLst>
                                    <p:set>
                                      <p:cBhvr>
                                        <p:cTn id="69" dur="1" fill="hold">
                                          <p:stCondLst>
                                            <p:cond delay="0"/>
                                          </p:stCondLst>
                                        </p:cTn>
                                        <p:tgtEl>
                                          <p:spTgt spid="68"/>
                                        </p:tgtEl>
                                        <p:attrNameLst>
                                          <p:attrName>style.visibility</p:attrName>
                                        </p:attrNameLst>
                                      </p:cBhvr>
                                      <p:to>
                                        <p:strVal val="visible"/>
                                      </p:to>
                                    </p:set>
                                    <p:animEffect transition="in" filter="wheel(1)">
                                      <p:cBhvr>
                                        <p:cTn id="70" dur="2000"/>
                                        <p:tgtEl>
                                          <p:spTgt spid="68"/>
                                        </p:tgtEl>
                                      </p:cBhvr>
                                    </p:animEffect>
                                  </p:childTnLst>
                                </p:cTn>
                              </p:par>
                              <p:par>
                                <p:cTn id="71" presetID="21" presetClass="entr" presetSubtype="1" fill="hold" grpId="0" nodeType="withEffect">
                                  <p:stCondLst>
                                    <p:cond delay="0"/>
                                  </p:stCondLst>
                                  <p:childTnLst>
                                    <p:set>
                                      <p:cBhvr>
                                        <p:cTn id="72" dur="1" fill="hold">
                                          <p:stCondLst>
                                            <p:cond delay="0"/>
                                          </p:stCondLst>
                                        </p:cTn>
                                        <p:tgtEl>
                                          <p:spTgt spid="69"/>
                                        </p:tgtEl>
                                        <p:attrNameLst>
                                          <p:attrName>style.visibility</p:attrName>
                                        </p:attrNameLst>
                                      </p:cBhvr>
                                      <p:to>
                                        <p:strVal val="visible"/>
                                      </p:to>
                                    </p:set>
                                    <p:animEffect transition="in" filter="wheel(1)">
                                      <p:cBhvr>
                                        <p:cTn id="73" dur="2000"/>
                                        <p:tgtEl>
                                          <p:spTgt spid="69"/>
                                        </p:tgtEl>
                                      </p:cBhvr>
                                    </p:animEffect>
                                  </p:childTnLst>
                                </p:cTn>
                              </p:par>
                              <p:par>
                                <p:cTn id="74" presetID="21" presetClass="entr" presetSubtype="1" fill="hold" nodeType="withEffect">
                                  <p:stCondLst>
                                    <p:cond delay="0"/>
                                  </p:stCondLst>
                                  <p:childTnLst>
                                    <p:set>
                                      <p:cBhvr>
                                        <p:cTn id="75" dur="1" fill="hold">
                                          <p:stCondLst>
                                            <p:cond delay="0"/>
                                          </p:stCondLst>
                                        </p:cTn>
                                        <p:tgtEl>
                                          <p:spTgt spid="70"/>
                                        </p:tgtEl>
                                        <p:attrNameLst>
                                          <p:attrName>style.visibility</p:attrName>
                                        </p:attrNameLst>
                                      </p:cBhvr>
                                      <p:to>
                                        <p:strVal val="visible"/>
                                      </p:to>
                                    </p:set>
                                    <p:animEffect transition="in" filter="wheel(1)">
                                      <p:cBhvr>
                                        <p:cTn id="76" dur="2000"/>
                                        <p:tgtEl>
                                          <p:spTgt spid="70"/>
                                        </p:tgtEl>
                                      </p:cBhvr>
                                    </p:animEffect>
                                  </p:childTnLst>
                                </p:cTn>
                              </p:par>
                              <p:par>
                                <p:cTn id="77" presetID="21" presetClass="entr" presetSubtype="1" fill="hold" grpId="0" nodeType="withEffect">
                                  <p:stCondLst>
                                    <p:cond delay="0"/>
                                  </p:stCondLst>
                                  <p:childTnLst>
                                    <p:set>
                                      <p:cBhvr>
                                        <p:cTn id="78" dur="1" fill="hold">
                                          <p:stCondLst>
                                            <p:cond delay="0"/>
                                          </p:stCondLst>
                                        </p:cTn>
                                        <p:tgtEl>
                                          <p:spTgt spid="71"/>
                                        </p:tgtEl>
                                        <p:attrNameLst>
                                          <p:attrName>style.visibility</p:attrName>
                                        </p:attrNameLst>
                                      </p:cBhvr>
                                      <p:to>
                                        <p:strVal val="visible"/>
                                      </p:to>
                                    </p:set>
                                    <p:animEffect transition="in" filter="wheel(1)">
                                      <p:cBhvr>
                                        <p:cTn id="79" dur="2000"/>
                                        <p:tgtEl>
                                          <p:spTgt spid="71"/>
                                        </p:tgtEl>
                                      </p:cBhvr>
                                    </p:animEffect>
                                  </p:childTnLst>
                                </p:cTn>
                              </p:par>
                              <p:par>
                                <p:cTn id="80" presetID="21" presetClass="entr" presetSubtype="1" fill="hold" grpId="0" nodeType="withEffect">
                                  <p:stCondLst>
                                    <p:cond delay="0"/>
                                  </p:stCondLst>
                                  <p:childTnLst>
                                    <p:set>
                                      <p:cBhvr>
                                        <p:cTn id="81" dur="1" fill="hold">
                                          <p:stCondLst>
                                            <p:cond delay="0"/>
                                          </p:stCondLst>
                                        </p:cTn>
                                        <p:tgtEl>
                                          <p:spTgt spid="72"/>
                                        </p:tgtEl>
                                        <p:attrNameLst>
                                          <p:attrName>style.visibility</p:attrName>
                                        </p:attrNameLst>
                                      </p:cBhvr>
                                      <p:to>
                                        <p:strVal val="visible"/>
                                      </p:to>
                                    </p:set>
                                    <p:animEffect transition="in" filter="wheel(1)">
                                      <p:cBhvr>
                                        <p:cTn id="82" dur="2000"/>
                                        <p:tgtEl>
                                          <p:spTgt spid="72"/>
                                        </p:tgtEl>
                                      </p:cBhvr>
                                    </p:animEffect>
                                  </p:childTnLst>
                                </p:cTn>
                              </p:par>
                              <p:par>
                                <p:cTn id="83" presetID="21" presetClass="entr" presetSubtype="1" fill="hold" grpId="0" nodeType="withEffect">
                                  <p:stCondLst>
                                    <p:cond delay="0"/>
                                  </p:stCondLst>
                                  <p:childTnLst>
                                    <p:set>
                                      <p:cBhvr>
                                        <p:cTn id="84" dur="1" fill="hold">
                                          <p:stCondLst>
                                            <p:cond delay="0"/>
                                          </p:stCondLst>
                                        </p:cTn>
                                        <p:tgtEl>
                                          <p:spTgt spid="73"/>
                                        </p:tgtEl>
                                        <p:attrNameLst>
                                          <p:attrName>style.visibility</p:attrName>
                                        </p:attrNameLst>
                                      </p:cBhvr>
                                      <p:to>
                                        <p:strVal val="visible"/>
                                      </p:to>
                                    </p:set>
                                    <p:animEffect transition="in" filter="wheel(1)">
                                      <p:cBhvr>
                                        <p:cTn id="85" dur="2000"/>
                                        <p:tgtEl>
                                          <p:spTgt spid="73"/>
                                        </p:tgtEl>
                                      </p:cBhvr>
                                    </p:animEffect>
                                  </p:childTnLst>
                                </p:cTn>
                              </p:par>
                              <p:par>
                                <p:cTn id="86" presetID="21" presetClass="entr" presetSubtype="1" fill="hold" grpId="0" nodeType="withEffect">
                                  <p:stCondLst>
                                    <p:cond delay="0"/>
                                  </p:stCondLst>
                                  <p:childTnLst>
                                    <p:set>
                                      <p:cBhvr>
                                        <p:cTn id="87" dur="1" fill="hold">
                                          <p:stCondLst>
                                            <p:cond delay="0"/>
                                          </p:stCondLst>
                                        </p:cTn>
                                        <p:tgtEl>
                                          <p:spTgt spid="74"/>
                                        </p:tgtEl>
                                        <p:attrNameLst>
                                          <p:attrName>style.visibility</p:attrName>
                                        </p:attrNameLst>
                                      </p:cBhvr>
                                      <p:to>
                                        <p:strVal val="visible"/>
                                      </p:to>
                                    </p:set>
                                    <p:animEffect transition="in" filter="wheel(1)">
                                      <p:cBhvr>
                                        <p:cTn id="88" dur="2000"/>
                                        <p:tgtEl>
                                          <p:spTgt spid="74"/>
                                        </p:tgtEl>
                                      </p:cBhvr>
                                    </p:animEffect>
                                  </p:childTnLst>
                                </p:cTn>
                              </p:par>
                              <p:par>
                                <p:cTn id="89" presetID="21" presetClass="entr" presetSubtype="1" fill="hold" grpId="0" nodeType="withEffect">
                                  <p:stCondLst>
                                    <p:cond delay="0"/>
                                  </p:stCondLst>
                                  <p:childTnLst>
                                    <p:set>
                                      <p:cBhvr>
                                        <p:cTn id="90" dur="1" fill="hold">
                                          <p:stCondLst>
                                            <p:cond delay="0"/>
                                          </p:stCondLst>
                                        </p:cTn>
                                        <p:tgtEl>
                                          <p:spTgt spid="75"/>
                                        </p:tgtEl>
                                        <p:attrNameLst>
                                          <p:attrName>style.visibility</p:attrName>
                                        </p:attrNameLst>
                                      </p:cBhvr>
                                      <p:to>
                                        <p:strVal val="visible"/>
                                      </p:to>
                                    </p:set>
                                    <p:animEffect transition="in" filter="wheel(1)">
                                      <p:cBhvr>
                                        <p:cTn id="91" dur="2000"/>
                                        <p:tgtEl>
                                          <p:spTgt spid="75"/>
                                        </p:tgtEl>
                                      </p:cBhvr>
                                    </p:animEffect>
                                  </p:childTnLst>
                                </p:cTn>
                              </p:par>
                              <p:par>
                                <p:cTn id="92" presetID="21" presetClass="entr" presetSubtype="1" fill="hold" grpId="0" nodeType="withEffect">
                                  <p:stCondLst>
                                    <p:cond delay="0"/>
                                  </p:stCondLst>
                                  <p:childTnLst>
                                    <p:set>
                                      <p:cBhvr>
                                        <p:cTn id="93" dur="1" fill="hold">
                                          <p:stCondLst>
                                            <p:cond delay="0"/>
                                          </p:stCondLst>
                                        </p:cTn>
                                        <p:tgtEl>
                                          <p:spTgt spid="76"/>
                                        </p:tgtEl>
                                        <p:attrNameLst>
                                          <p:attrName>style.visibility</p:attrName>
                                        </p:attrNameLst>
                                      </p:cBhvr>
                                      <p:to>
                                        <p:strVal val="visible"/>
                                      </p:to>
                                    </p:set>
                                    <p:animEffect transition="in" filter="wheel(1)">
                                      <p:cBhvr>
                                        <p:cTn id="94" dur="2000"/>
                                        <p:tgtEl>
                                          <p:spTgt spid="76"/>
                                        </p:tgtEl>
                                      </p:cBhvr>
                                    </p:animEffect>
                                  </p:childTnLst>
                                </p:cTn>
                              </p:par>
                              <p:par>
                                <p:cTn id="95" presetID="21" presetClass="entr" presetSubtype="1" fill="hold" grpId="0" nodeType="withEffect">
                                  <p:stCondLst>
                                    <p:cond delay="0"/>
                                  </p:stCondLst>
                                  <p:childTnLst>
                                    <p:set>
                                      <p:cBhvr>
                                        <p:cTn id="96" dur="1" fill="hold">
                                          <p:stCondLst>
                                            <p:cond delay="0"/>
                                          </p:stCondLst>
                                        </p:cTn>
                                        <p:tgtEl>
                                          <p:spTgt spid="77"/>
                                        </p:tgtEl>
                                        <p:attrNameLst>
                                          <p:attrName>style.visibility</p:attrName>
                                        </p:attrNameLst>
                                      </p:cBhvr>
                                      <p:to>
                                        <p:strVal val="visible"/>
                                      </p:to>
                                    </p:set>
                                    <p:animEffect transition="in" filter="wheel(1)">
                                      <p:cBhvr>
                                        <p:cTn id="97" dur="2000"/>
                                        <p:tgtEl>
                                          <p:spTgt spid="77"/>
                                        </p:tgtEl>
                                      </p:cBhvr>
                                    </p:animEffect>
                                  </p:childTnLst>
                                </p:cTn>
                              </p:par>
                              <p:par>
                                <p:cTn id="98" presetID="21" presetClass="entr" presetSubtype="1" fill="hold" grpId="0" nodeType="withEffect">
                                  <p:stCondLst>
                                    <p:cond delay="0"/>
                                  </p:stCondLst>
                                  <p:childTnLst>
                                    <p:set>
                                      <p:cBhvr>
                                        <p:cTn id="99" dur="1" fill="hold">
                                          <p:stCondLst>
                                            <p:cond delay="0"/>
                                          </p:stCondLst>
                                        </p:cTn>
                                        <p:tgtEl>
                                          <p:spTgt spid="78"/>
                                        </p:tgtEl>
                                        <p:attrNameLst>
                                          <p:attrName>style.visibility</p:attrName>
                                        </p:attrNameLst>
                                      </p:cBhvr>
                                      <p:to>
                                        <p:strVal val="visible"/>
                                      </p:to>
                                    </p:set>
                                    <p:animEffect transition="in" filter="wheel(1)">
                                      <p:cBhvr>
                                        <p:cTn id="100" dur="2000"/>
                                        <p:tgtEl>
                                          <p:spTgt spid="78"/>
                                        </p:tgtEl>
                                      </p:cBhvr>
                                    </p:animEffect>
                                  </p:childTnLst>
                                </p:cTn>
                              </p:par>
                              <p:par>
                                <p:cTn id="101" presetID="21" presetClass="entr" presetSubtype="1" fill="hold" nodeType="withEffect">
                                  <p:stCondLst>
                                    <p:cond delay="0"/>
                                  </p:stCondLst>
                                  <p:childTnLst>
                                    <p:set>
                                      <p:cBhvr>
                                        <p:cTn id="102" dur="1" fill="hold">
                                          <p:stCondLst>
                                            <p:cond delay="0"/>
                                          </p:stCondLst>
                                        </p:cTn>
                                        <p:tgtEl>
                                          <p:spTgt spid="79"/>
                                        </p:tgtEl>
                                        <p:attrNameLst>
                                          <p:attrName>style.visibility</p:attrName>
                                        </p:attrNameLst>
                                      </p:cBhvr>
                                      <p:to>
                                        <p:strVal val="visible"/>
                                      </p:to>
                                    </p:set>
                                    <p:animEffect transition="in" filter="wheel(1)">
                                      <p:cBhvr>
                                        <p:cTn id="103" dur="20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57" grpId="0" animBg="1"/>
      <p:bldP spid="58" grpId="0" animBg="1"/>
      <p:bldP spid="59" grpId="0" animBg="1"/>
      <p:bldP spid="61" grpId="0"/>
      <p:bldP spid="62" grpId="0"/>
      <p:bldP spid="63" grpId="0"/>
      <p:bldP spid="64" grpId="0"/>
      <p:bldP spid="65" grpId="0"/>
      <p:bldP spid="66" grpId="0"/>
      <p:bldP spid="67" grpId="0"/>
      <p:bldP spid="68" grpId="0"/>
      <p:bldP spid="69" grpId="0"/>
      <p:bldP spid="71" grpId="0"/>
      <p:bldP spid="72" grpId="0"/>
      <p:bldP spid="73" grpId="0"/>
      <p:bldP spid="74" grpId="0"/>
      <p:bldP spid="75" grpId="0"/>
      <p:bldP spid="76" grpId="0"/>
      <p:bldP spid="77" grpId="0"/>
      <p:bldP spid="7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iagonal Stripe 3"/>
          <p:cNvSpPr/>
          <p:nvPr/>
        </p:nvSpPr>
        <p:spPr>
          <a:xfrm rot="16200000">
            <a:off x="3107574" y="2796647"/>
            <a:ext cx="1482436" cy="1898072"/>
          </a:xfrm>
          <a:prstGeom prst="diagStripe">
            <a:avLst>
              <a:gd name="adj" fmla="val 70438"/>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5" name="Diagonal Stripe 4"/>
          <p:cNvSpPr/>
          <p:nvPr/>
        </p:nvSpPr>
        <p:spPr>
          <a:xfrm rot="5400000" flipH="1">
            <a:off x="1209502" y="2796647"/>
            <a:ext cx="1482436" cy="1898072"/>
          </a:xfrm>
          <a:prstGeom prst="diagStripe">
            <a:avLst>
              <a:gd name="adj" fmla="val 70438"/>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6" name="Diagonal Stripe 5"/>
          <p:cNvSpPr/>
          <p:nvPr/>
        </p:nvSpPr>
        <p:spPr>
          <a:xfrm rot="16200000">
            <a:off x="6335683" y="2796648"/>
            <a:ext cx="1482436" cy="1898072"/>
          </a:xfrm>
          <a:prstGeom prst="diagStripe">
            <a:avLst>
              <a:gd name="adj" fmla="val 70438"/>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7" name="Diagonal Stripe 6"/>
          <p:cNvSpPr/>
          <p:nvPr/>
        </p:nvSpPr>
        <p:spPr>
          <a:xfrm rot="5400000" flipH="1">
            <a:off x="4437611" y="2796647"/>
            <a:ext cx="1482436" cy="1898072"/>
          </a:xfrm>
          <a:prstGeom prst="diagStripe">
            <a:avLst>
              <a:gd name="adj" fmla="val 70438"/>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8" name="Diagonal Stripe 7"/>
          <p:cNvSpPr/>
          <p:nvPr/>
        </p:nvSpPr>
        <p:spPr>
          <a:xfrm rot="16200000">
            <a:off x="9563792" y="2796648"/>
            <a:ext cx="1482436" cy="1898072"/>
          </a:xfrm>
          <a:prstGeom prst="diagStripe">
            <a:avLst>
              <a:gd name="adj" fmla="val 70438"/>
            </a:avLst>
          </a:prstGeom>
          <a:solidFill>
            <a:srgbClr val="DF28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9" name="Diagonal Stripe 8"/>
          <p:cNvSpPr/>
          <p:nvPr/>
        </p:nvSpPr>
        <p:spPr>
          <a:xfrm rot="5400000" flipH="1">
            <a:off x="7665720" y="2796647"/>
            <a:ext cx="1482436" cy="1898072"/>
          </a:xfrm>
          <a:prstGeom prst="diagStripe">
            <a:avLst>
              <a:gd name="adj" fmla="val 70438"/>
            </a:avLst>
          </a:prstGeom>
          <a:solidFill>
            <a:srgbClr val="DF28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5" name="Rectangle 34"/>
          <p:cNvSpPr/>
          <p:nvPr/>
        </p:nvSpPr>
        <p:spPr bwMode="auto">
          <a:xfrm>
            <a:off x="1333184" y="5006318"/>
            <a:ext cx="2896609" cy="746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r-TR" sz="2007" b="0" i="0" u="none" strike="noStrike" kern="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KOSGEB KOBİ ve Girişimcilik Ödülleri kapsamında kategori birincisine %10,</a:t>
            </a:r>
          </a:p>
        </p:txBody>
      </p:sp>
      <p:sp>
        <p:nvSpPr>
          <p:cNvPr id="36" name="Rectangle 35"/>
          <p:cNvSpPr/>
          <p:nvPr/>
        </p:nvSpPr>
        <p:spPr bwMode="auto">
          <a:xfrm>
            <a:off x="4575147" y="5006318"/>
            <a:ext cx="3133145" cy="746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r-TR" sz="2007" b="0" i="0" u="none" strike="noStrike" kern="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çık Kaynak Kodlu Yazılım kullanımının uygun bulunması durumunda %15, </a:t>
            </a:r>
          </a:p>
        </p:txBody>
      </p:sp>
      <p:sp>
        <p:nvSpPr>
          <p:cNvPr id="37" name="Rectangle 36"/>
          <p:cNvSpPr/>
          <p:nvPr/>
        </p:nvSpPr>
        <p:spPr bwMode="auto">
          <a:xfrm>
            <a:off x="7817110" y="5006318"/>
            <a:ext cx="3133145" cy="746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r-TR" sz="2007" b="0" i="0" u="none" strike="noStrike" kern="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rojeye konu satın alınacak makine- teçhizat ve yazılımın yerli malı olması durumunda </a:t>
            </a:r>
            <a:r>
              <a:rPr kumimoji="0" lang="it-IT" sz="2007" b="0" i="0" u="none" strike="noStrike" kern="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15</a:t>
            </a:r>
            <a:endParaRPr kumimoji="0" lang="tr-TR" sz="2007" b="0" i="0" u="none" strike="noStrike" kern="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8" name="Rectangle 37"/>
          <p:cNvSpPr/>
          <p:nvPr/>
        </p:nvSpPr>
        <p:spPr bwMode="auto">
          <a:xfrm>
            <a:off x="1001684" y="4104084"/>
            <a:ext cx="3796144" cy="3828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tr-TR" sz="2400" b="1" i="0" u="none" strike="noStrike" kern="0" cap="none" spc="0" normalizeH="0" baseline="0" noProof="0" dirty="0">
                <a:ln>
                  <a:noFill/>
                </a:ln>
                <a:solidFill>
                  <a:srgbClr val="4C6D97"/>
                </a:solidFill>
                <a:effectLst/>
                <a:uLnTx/>
                <a:uFillTx/>
                <a:latin typeface="Times New Roman" panose="02020603050405020304" pitchFamily="18" charset="0"/>
                <a:ea typeface="+mn-ea"/>
                <a:cs typeface="Times New Roman" panose="02020603050405020304" pitchFamily="18" charset="0"/>
              </a:rPr>
              <a:t>1</a:t>
            </a:r>
            <a:endParaRPr kumimoji="0" lang="en-US" sz="2400" b="1" i="0" u="none" strike="noStrike" kern="0" cap="none" spc="0" normalizeH="0" baseline="0" noProof="0" dirty="0">
              <a:ln>
                <a:noFill/>
              </a:ln>
              <a:solidFill>
                <a:srgbClr val="4C6D97"/>
              </a:solidFill>
              <a:effectLst/>
              <a:uLnTx/>
              <a:uFillTx/>
              <a:latin typeface="Times New Roman" panose="02020603050405020304" pitchFamily="18" charset="0"/>
              <a:ea typeface="+mn-ea"/>
              <a:cs typeface="Times New Roman" panose="02020603050405020304" pitchFamily="18" charset="0"/>
            </a:endParaRPr>
          </a:p>
        </p:txBody>
      </p:sp>
      <p:sp>
        <p:nvSpPr>
          <p:cNvPr id="39" name="Rectangle 38"/>
          <p:cNvSpPr/>
          <p:nvPr/>
        </p:nvSpPr>
        <p:spPr bwMode="auto">
          <a:xfrm>
            <a:off x="4243647" y="4104084"/>
            <a:ext cx="3796144" cy="3828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tr-TR" sz="2400" b="1" i="0" u="none" strike="noStrike" kern="0" cap="none" spc="0" normalizeH="0" baseline="0" noProof="0" dirty="0">
                <a:ln>
                  <a:noFill/>
                </a:ln>
                <a:solidFill>
                  <a:srgbClr val="729ACA"/>
                </a:solidFill>
                <a:effectLst/>
                <a:uLnTx/>
                <a:uFillTx/>
                <a:latin typeface="Times New Roman" panose="02020603050405020304" pitchFamily="18" charset="0"/>
                <a:ea typeface="+mn-ea"/>
                <a:cs typeface="Times New Roman" panose="02020603050405020304" pitchFamily="18" charset="0"/>
              </a:rPr>
              <a:t>2</a:t>
            </a:r>
            <a:endParaRPr kumimoji="0" lang="en-US" sz="2400" b="1" i="0" u="none" strike="noStrike" kern="0" cap="none" spc="0" normalizeH="0" baseline="0" noProof="0" dirty="0">
              <a:ln>
                <a:noFill/>
              </a:ln>
              <a:solidFill>
                <a:srgbClr val="729ACA"/>
              </a:solidFill>
              <a:effectLst/>
              <a:uLnTx/>
              <a:uFillTx/>
              <a:latin typeface="Times New Roman" panose="02020603050405020304" pitchFamily="18" charset="0"/>
              <a:ea typeface="+mn-ea"/>
              <a:cs typeface="Times New Roman" panose="02020603050405020304" pitchFamily="18" charset="0"/>
            </a:endParaRPr>
          </a:p>
        </p:txBody>
      </p:sp>
      <p:sp>
        <p:nvSpPr>
          <p:cNvPr id="40" name="Rectangle 39"/>
          <p:cNvSpPr/>
          <p:nvPr/>
        </p:nvSpPr>
        <p:spPr bwMode="auto">
          <a:xfrm>
            <a:off x="7485610" y="4104084"/>
            <a:ext cx="3796144" cy="3828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tr-TR" sz="2400" b="1" i="0" u="none" strike="noStrike" kern="0" cap="none" spc="0" normalizeH="0" baseline="0" noProof="0" dirty="0">
                <a:ln>
                  <a:noFill/>
                </a:ln>
                <a:solidFill>
                  <a:srgbClr val="DF2824"/>
                </a:solidFill>
                <a:effectLst/>
                <a:uLnTx/>
                <a:uFillTx/>
                <a:latin typeface="Times New Roman" panose="02020603050405020304" pitchFamily="18" charset="0"/>
                <a:ea typeface="+mn-ea"/>
                <a:cs typeface="Times New Roman" panose="02020603050405020304" pitchFamily="18" charset="0"/>
              </a:rPr>
              <a:t>3</a:t>
            </a:r>
            <a:endParaRPr kumimoji="0" lang="en-US" sz="2400" b="1" i="0" u="none" strike="noStrike" kern="0" cap="none" spc="0" normalizeH="0" baseline="0" noProof="0" dirty="0">
              <a:ln>
                <a:noFill/>
              </a:ln>
              <a:solidFill>
                <a:srgbClr val="DF2824"/>
              </a:solidFill>
              <a:effectLst/>
              <a:uLnTx/>
              <a:uFillTx/>
              <a:latin typeface="Times New Roman" panose="02020603050405020304" pitchFamily="18" charset="0"/>
              <a:ea typeface="+mn-ea"/>
              <a:cs typeface="Times New Roman" panose="02020603050405020304" pitchFamily="18" charset="0"/>
            </a:endParaRPr>
          </a:p>
        </p:txBody>
      </p:sp>
      <p:grpSp>
        <p:nvGrpSpPr>
          <p:cNvPr id="41" name="Group 48">
            <a:extLst>
              <a:ext uri="{FF2B5EF4-FFF2-40B4-BE49-F238E27FC236}">
                <a16:creationId xmlns:a16="http://schemas.microsoft.com/office/drawing/2014/main" id="{F896EB57-4D55-4EA5-B299-3B8D03247DB3}"/>
              </a:ext>
            </a:extLst>
          </p:cNvPr>
          <p:cNvGrpSpPr>
            <a:grpSpLocks noChangeAspect="1"/>
          </p:cNvGrpSpPr>
          <p:nvPr/>
        </p:nvGrpSpPr>
        <p:grpSpPr>
          <a:xfrm>
            <a:off x="2580854" y="1436859"/>
            <a:ext cx="637804" cy="1353279"/>
            <a:chOff x="2381727" y="1757421"/>
            <a:chExt cx="1021445" cy="2167280"/>
          </a:xfrm>
        </p:grpSpPr>
        <p:sp>
          <p:nvSpPr>
            <p:cNvPr id="42" name="12-Point Star 2">
              <a:extLst>
                <a:ext uri="{FF2B5EF4-FFF2-40B4-BE49-F238E27FC236}">
                  <a16:creationId xmlns:a16="http://schemas.microsoft.com/office/drawing/2014/main" id="{4F15AEDC-1460-4434-81FC-516B3CB96DA3}"/>
                </a:ext>
              </a:extLst>
            </p:cNvPr>
            <p:cNvSpPr>
              <a:spLocks noChangeAspect="1"/>
            </p:cNvSpPr>
            <p:nvPr/>
          </p:nvSpPr>
          <p:spPr>
            <a:xfrm>
              <a:off x="2389472" y="2918861"/>
              <a:ext cx="1005840" cy="1005840"/>
            </a:xfrm>
            <a:prstGeom prst="star12">
              <a:avLst>
                <a:gd name="adj" fmla="val 39605"/>
              </a:avLst>
            </a:prstGeom>
            <a:solidFill>
              <a:schemeClr val="tx2"/>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43" name="Donut 3">
              <a:extLst>
                <a:ext uri="{FF2B5EF4-FFF2-40B4-BE49-F238E27FC236}">
                  <a16:creationId xmlns:a16="http://schemas.microsoft.com/office/drawing/2014/main" id="{B7AB66A8-A17E-4334-90FC-57CDCECEBBE1}"/>
                </a:ext>
              </a:extLst>
            </p:cNvPr>
            <p:cNvSpPr>
              <a:spLocks noChangeAspect="1"/>
            </p:cNvSpPr>
            <p:nvPr/>
          </p:nvSpPr>
          <p:spPr>
            <a:xfrm>
              <a:off x="2801938" y="2781844"/>
              <a:ext cx="180909" cy="180909"/>
            </a:xfrm>
            <a:prstGeom prst="don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44" name="Rectangle 5">
              <a:extLst>
                <a:ext uri="{FF2B5EF4-FFF2-40B4-BE49-F238E27FC236}">
                  <a16:creationId xmlns:a16="http://schemas.microsoft.com/office/drawing/2014/main" id="{59B63F1A-11A1-47A6-935F-53E0D79EF5DE}"/>
                </a:ext>
              </a:extLst>
            </p:cNvPr>
            <p:cNvSpPr/>
            <p:nvPr/>
          </p:nvSpPr>
          <p:spPr>
            <a:xfrm>
              <a:off x="2562751" y="2703855"/>
              <a:ext cx="659307" cy="49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nvGrpSpPr>
            <p:cNvPr id="45" name="Group 6">
              <a:extLst>
                <a:ext uri="{FF2B5EF4-FFF2-40B4-BE49-F238E27FC236}">
                  <a16:creationId xmlns:a16="http://schemas.microsoft.com/office/drawing/2014/main" id="{27D93A4F-2CA7-4493-8C66-531832E052A2}"/>
                </a:ext>
              </a:extLst>
            </p:cNvPr>
            <p:cNvGrpSpPr/>
            <p:nvPr/>
          </p:nvGrpSpPr>
          <p:grpSpPr>
            <a:xfrm flipV="1">
              <a:off x="2748292" y="1757421"/>
              <a:ext cx="654880" cy="946434"/>
              <a:chOff x="810857" y="4037588"/>
              <a:chExt cx="1054691" cy="946434"/>
            </a:xfrm>
          </p:grpSpPr>
          <p:sp>
            <p:nvSpPr>
              <p:cNvPr id="51" name="Freeform: Shape 7">
                <a:extLst>
                  <a:ext uri="{FF2B5EF4-FFF2-40B4-BE49-F238E27FC236}">
                    <a16:creationId xmlns:a16="http://schemas.microsoft.com/office/drawing/2014/main" id="{43CBC2CE-E91E-453D-98A4-2F7C06146765}"/>
                  </a:ext>
                </a:extLst>
              </p:cNvPr>
              <p:cNvSpPr/>
              <p:nvPr/>
            </p:nvSpPr>
            <p:spPr>
              <a:xfrm flipH="1">
                <a:off x="1277965" y="4037588"/>
                <a:ext cx="587583" cy="946434"/>
              </a:xfrm>
              <a:custGeom>
                <a:avLst/>
                <a:gdLst>
                  <a:gd name="connsiteX0" fmla="*/ 587583 w 587583"/>
                  <a:gd name="connsiteY0" fmla="*/ 0 h 946434"/>
                  <a:gd name="connsiteX1" fmla="*/ 354753 w 587583"/>
                  <a:gd name="connsiteY1" fmla="*/ 0 h 946434"/>
                  <a:gd name="connsiteX2" fmla="*/ 0 w 587583"/>
                  <a:gd name="connsiteY2" fmla="*/ 946434 h 946434"/>
                  <a:gd name="connsiteX3" fmla="*/ 232830 w 587583"/>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3" h="946434">
                    <a:moveTo>
                      <a:pt x="587583" y="0"/>
                    </a:moveTo>
                    <a:lnTo>
                      <a:pt x="354753" y="0"/>
                    </a:lnTo>
                    <a:lnTo>
                      <a:pt x="0" y="946434"/>
                    </a:lnTo>
                    <a:lnTo>
                      <a:pt x="232830" y="946434"/>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2" name="Freeform: Shape 8">
                <a:extLst>
                  <a:ext uri="{FF2B5EF4-FFF2-40B4-BE49-F238E27FC236}">
                    <a16:creationId xmlns:a16="http://schemas.microsoft.com/office/drawing/2014/main" id="{AEF135B0-45E9-44C6-A14C-5DCD1531F6D5}"/>
                  </a:ext>
                </a:extLst>
              </p:cNvPr>
              <p:cNvSpPr/>
              <p:nvPr/>
            </p:nvSpPr>
            <p:spPr>
              <a:xfrm flipH="1">
                <a:off x="1045136" y="4037588"/>
                <a:ext cx="587582" cy="946434"/>
              </a:xfrm>
              <a:custGeom>
                <a:avLst/>
                <a:gdLst>
                  <a:gd name="connsiteX0" fmla="*/ 587582 w 587582"/>
                  <a:gd name="connsiteY0" fmla="*/ 0 h 946434"/>
                  <a:gd name="connsiteX1" fmla="*/ 354753 w 587582"/>
                  <a:gd name="connsiteY1" fmla="*/ 0 h 946434"/>
                  <a:gd name="connsiteX2" fmla="*/ 0 w 587582"/>
                  <a:gd name="connsiteY2" fmla="*/ 946434 h 946434"/>
                  <a:gd name="connsiteX3" fmla="*/ 232829 w 58758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2" h="946434">
                    <a:moveTo>
                      <a:pt x="587582" y="0"/>
                    </a:moveTo>
                    <a:lnTo>
                      <a:pt x="354753" y="0"/>
                    </a:lnTo>
                    <a:lnTo>
                      <a:pt x="0" y="946434"/>
                    </a:lnTo>
                    <a:lnTo>
                      <a:pt x="232829" y="9464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3" name="Freeform: Shape 9">
                <a:extLst>
                  <a:ext uri="{FF2B5EF4-FFF2-40B4-BE49-F238E27FC236}">
                    <a16:creationId xmlns:a16="http://schemas.microsoft.com/office/drawing/2014/main" id="{0F613CD5-66AE-4E85-9CAB-5C6CD5C6A3CB}"/>
                  </a:ext>
                </a:extLst>
              </p:cNvPr>
              <p:cNvSpPr/>
              <p:nvPr/>
            </p:nvSpPr>
            <p:spPr>
              <a:xfrm flipH="1">
                <a:off x="810857" y="4037588"/>
                <a:ext cx="589031" cy="946434"/>
              </a:xfrm>
              <a:custGeom>
                <a:avLst/>
                <a:gdLst>
                  <a:gd name="connsiteX0" fmla="*/ 589032 w 589032"/>
                  <a:gd name="connsiteY0" fmla="*/ 0 h 946434"/>
                  <a:gd name="connsiteX1" fmla="*/ 354753 w 589032"/>
                  <a:gd name="connsiteY1" fmla="*/ 0 h 946434"/>
                  <a:gd name="connsiteX2" fmla="*/ 0 w 589032"/>
                  <a:gd name="connsiteY2" fmla="*/ 946434 h 946434"/>
                  <a:gd name="connsiteX3" fmla="*/ 234279 w 58903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9032" h="946434">
                    <a:moveTo>
                      <a:pt x="589032" y="0"/>
                    </a:moveTo>
                    <a:lnTo>
                      <a:pt x="354753" y="0"/>
                    </a:lnTo>
                    <a:lnTo>
                      <a:pt x="0" y="946434"/>
                    </a:lnTo>
                    <a:lnTo>
                      <a:pt x="234279" y="946434"/>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grpSp>
          <p:nvGrpSpPr>
            <p:cNvPr id="46" name="Group 10">
              <a:extLst>
                <a:ext uri="{FF2B5EF4-FFF2-40B4-BE49-F238E27FC236}">
                  <a16:creationId xmlns:a16="http://schemas.microsoft.com/office/drawing/2014/main" id="{82688D06-B9DA-4A4B-BE28-FF14F56D26AB}"/>
                </a:ext>
              </a:extLst>
            </p:cNvPr>
            <p:cNvGrpSpPr/>
            <p:nvPr/>
          </p:nvGrpSpPr>
          <p:grpSpPr>
            <a:xfrm>
              <a:off x="2381727" y="1757421"/>
              <a:ext cx="654880" cy="946434"/>
              <a:chOff x="810857" y="4037588"/>
              <a:chExt cx="1054691" cy="946434"/>
            </a:xfrm>
            <a:effectLst>
              <a:outerShdw blurRad="50800" dist="38100" algn="l" rotWithShape="0">
                <a:prstClr val="black">
                  <a:alpha val="40000"/>
                </a:prstClr>
              </a:outerShdw>
            </a:effectLst>
          </p:grpSpPr>
          <p:sp>
            <p:nvSpPr>
              <p:cNvPr id="48" name="Freeform: Shape 11">
                <a:extLst>
                  <a:ext uri="{FF2B5EF4-FFF2-40B4-BE49-F238E27FC236}">
                    <a16:creationId xmlns:a16="http://schemas.microsoft.com/office/drawing/2014/main" id="{19416CAC-679F-40EC-9062-0823A6CE0BAC}"/>
                  </a:ext>
                </a:extLst>
              </p:cNvPr>
              <p:cNvSpPr/>
              <p:nvPr/>
            </p:nvSpPr>
            <p:spPr>
              <a:xfrm flipH="1">
                <a:off x="1277965" y="4037588"/>
                <a:ext cx="587583" cy="946434"/>
              </a:xfrm>
              <a:custGeom>
                <a:avLst/>
                <a:gdLst>
                  <a:gd name="connsiteX0" fmla="*/ 587583 w 587583"/>
                  <a:gd name="connsiteY0" fmla="*/ 0 h 946434"/>
                  <a:gd name="connsiteX1" fmla="*/ 354753 w 587583"/>
                  <a:gd name="connsiteY1" fmla="*/ 0 h 946434"/>
                  <a:gd name="connsiteX2" fmla="*/ 0 w 587583"/>
                  <a:gd name="connsiteY2" fmla="*/ 946434 h 946434"/>
                  <a:gd name="connsiteX3" fmla="*/ 232830 w 587583"/>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3" h="946434">
                    <a:moveTo>
                      <a:pt x="587583" y="0"/>
                    </a:moveTo>
                    <a:lnTo>
                      <a:pt x="354753" y="0"/>
                    </a:lnTo>
                    <a:lnTo>
                      <a:pt x="0" y="946434"/>
                    </a:lnTo>
                    <a:lnTo>
                      <a:pt x="232830" y="946434"/>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49" name="Freeform: Shape 12">
                <a:extLst>
                  <a:ext uri="{FF2B5EF4-FFF2-40B4-BE49-F238E27FC236}">
                    <a16:creationId xmlns:a16="http://schemas.microsoft.com/office/drawing/2014/main" id="{80EC898F-D1D5-46A7-BD25-874CE76CA710}"/>
                  </a:ext>
                </a:extLst>
              </p:cNvPr>
              <p:cNvSpPr/>
              <p:nvPr/>
            </p:nvSpPr>
            <p:spPr>
              <a:xfrm flipH="1">
                <a:off x="1045136" y="4037588"/>
                <a:ext cx="587582" cy="946434"/>
              </a:xfrm>
              <a:custGeom>
                <a:avLst/>
                <a:gdLst>
                  <a:gd name="connsiteX0" fmla="*/ 587582 w 587582"/>
                  <a:gd name="connsiteY0" fmla="*/ 0 h 946434"/>
                  <a:gd name="connsiteX1" fmla="*/ 354753 w 587582"/>
                  <a:gd name="connsiteY1" fmla="*/ 0 h 946434"/>
                  <a:gd name="connsiteX2" fmla="*/ 0 w 587582"/>
                  <a:gd name="connsiteY2" fmla="*/ 946434 h 946434"/>
                  <a:gd name="connsiteX3" fmla="*/ 232829 w 58758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2" h="946434">
                    <a:moveTo>
                      <a:pt x="587582" y="0"/>
                    </a:moveTo>
                    <a:lnTo>
                      <a:pt x="354753" y="0"/>
                    </a:lnTo>
                    <a:lnTo>
                      <a:pt x="0" y="946434"/>
                    </a:lnTo>
                    <a:lnTo>
                      <a:pt x="232829" y="9464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0" name="Freeform: Shape 13">
                <a:extLst>
                  <a:ext uri="{FF2B5EF4-FFF2-40B4-BE49-F238E27FC236}">
                    <a16:creationId xmlns:a16="http://schemas.microsoft.com/office/drawing/2014/main" id="{983E9A08-8EE6-4CD9-AD97-0A1EC97A0E75}"/>
                  </a:ext>
                </a:extLst>
              </p:cNvPr>
              <p:cNvSpPr/>
              <p:nvPr/>
            </p:nvSpPr>
            <p:spPr>
              <a:xfrm flipH="1">
                <a:off x="810857" y="4037588"/>
                <a:ext cx="589031" cy="946434"/>
              </a:xfrm>
              <a:custGeom>
                <a:avLst/>
                <a:gdLst>
                  <a:gd name="connsiteX0" fmla="*/ 589032 w 589032"/>
                  <a:gd name="connsiteY0" fmla="*/ 0 h 946434"/>
                  <a:gd name="connsiteX1" fmla="*/ 354753 w 589032"/>
                  <a:gd name="connsiteY1" fmla="*/ 0 h 946434"/>
                  <a:gd name="connsiteX2" fmla="*/ 0 w 589032"/>
                  <a:gd name="connsiteY2" fmla="*/ 946434 h 946434"/>
                  <a:gd name="connsiteX3" fmla="*/ 234279 w 58903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9032" h="946434">
                    <a:moveTo>
                      <a:pt x="589032" y="0"/>
                    </a:moveTo>
                    <a:lnTo>
                      <a:pt x="354753" y="0"/>
                    </a:lnTo>
                    <a:lnTo>
                      <a:pt x="0" y="946434"/>
                    </a:lnTo>
                    <a:lnTo>
                      <a:pt x="234279" y="946434"/>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sp>
          <p:nvSpPr>
            <p:cNvPr id="47" name="Rectangle 47">
              <a:extLst>
                <a:ext uri="{FF2B5EF4-FFF2-40B4-BE49-F238E27FC236}">
                  <a16:creationId xmlns:a16="http://schemas.microsoft.com/office/drawing/2014/main" id="{1DBB6345-DC59-4848-9783-A97EE196E0E8}"/>
                </a:ext>
              </a:extLst>
            </p:cNvPr>
            <p:cNvSpPr/>
            <p:nvPr/>
          </p:nvSpPr>
          <p:spPr>
            <a:xfrm>
              <a:off x="2869533" y="2736440"/>
              <a:ext cx="45719" cy="660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grpSp>
        <p:nvGrpSpPr>
          <p:cNvPr id="58" name="Download"/>
          <p:cNvGrpSpPr>
            <a:grpSpLocks noChangeAspect="1"/>
          </p:cNvGrpSpPr>
          <p:nvPr>
            <p:custDataLst>
              <p:tags r:id="rId2"/>
            </p:custDataLst>
          </p:nvPr>
        </p:nvGrpSpPr>
        <p:grpSpPr bwMode="auto">
          <a:xfrm>
            <a:off x="5828216" y="1953103"/>
            <a:ext cx="633544" cy="516793"/>
            <a:chOff x="59" y="93"/>
            <a:chExt cx="369" cy="301"/>
          </a:xfrm>
          <a:solidFill>
            <a:srgbClr val="729ACA"/>
          </a:solidFill>
        </p:grpSpPr>
        <p:sp>
          <p:nvSpPr>
            <p:cNvPr id="59" name="Download"/>
            <p:cNvSpPr>
              <a:spLocks/>
            </p:cNvSpPr>
            <p:nvPr>
              <p:custDataLst>
                <p:tags r:id="rId4"/>
              </p:custDataLst>
            </p:nvPr>
          </p:nvSpPr>
          <p:spPr bwMode="auto">
            <a:xfrm>
              <a:off x="59" y="142"/>
              <a:ext cx="369" cy="252"/>
            </a:xfrm>
            <a:custGeom>
              <a:avLst/>
              <a:gdLst>
                <a:gd name="T0" fmla="*/ 771 w 981"/>
                <a:gd name="T1" fmla="*/ 181 h 669"/>
                <a:gd name="T2" fmla="*/ 614 w 981"/>
                <a:gd name="T3" fmla="*/ 13 h 669"/>
                <a:gd name="T4" fmla="*/ 614 w 981"/>
                <a:gd name="T5" fmla="*/ 101 h 669"/>
                <a:gd name="T6" fmla="*/ 699 w 981"/>
                <a:gd name="T7" fmla="*/ 223 h 669"/>
                <a:gd name="T8" fmla="*/ 703 w 981"/>
                <a:gd name="T9" fmla="*/ 251 h 669"/>
                <a:gd name="T10" fmla="*/ 730 w 981"/>
                <a:gd name="T11" fmla="*/ 255 h 669"/>
                <a:gd name="T12" fmla="*/ 899 w 981"/>
                <a:gd name="T13" fmla="*/ 414 h 669"/>
                <a:gd name="T14" fmla="*/ 791 w 981"/>
                <a:gd name="T15" fmla="*/ 594 h 669"/>
                <a:gd name="T16" fmla="*/ 182 w 981"/>
                <a:gd name="T17" fmla="*/ 594 h 669"/>
                <a:gd name="T18" fmla="*/ 79 w 981"/>
                <a:gd name="T19" fmla="*/ 465 h 669"/>
                <a:gd name="T20" fmla="*/ 210 w 981"/>
                <a:gd name="T21" fmla="*/ 331 h 669"/>
                <a:gd name="T22" fmla="*/ 252 w 981"/>
                <a:gd name="T23" fmla="*/ 326 h 669"/>
                <a:gd name="T24" fmla="*/ 252 w 981"/>
                <a:gd name="T25" fmla="*/ 290 h 669"/>
                <a:gd name="T26" fmla="*/ 414 w 981"/>
                <a:gd name="T27" fmla="*/ 84 h 669"/>
                <a:gd name="T28" fmla="*/ 414 w 981"/>
                <a:gd name="T29" fmla="*/ 0 h 669"/>
                <a:gd name="T30" fmla="*/ 169 w 981"/>
                <a:gd name="T31" fmla="*/ 256 h 669"/>
                <a:gd name="T32" fmla="*/ 0 w 981"/>
                <a:gd name="T33" fmla="*/ 463 h 669"/>
                <a:gd name="T34" fmla="*/ 171 w 981"/>
                <a:gd name="T35" fmla="*/ 668 h 669"/>
                <a:gd name="T36" fmla="*/ 802 w 981"/>
                <a:gd name="T37" fmla="*/ 669 h 669"/>
                <a:gd name="T38" fmla="*/ 806 w 981"/>
                <a:gd name="T39" fmla="*/ 668 h 669"/>
                <a:gd name="T40" fmla="*/ 981 w 981"/>
                <a:gd name="T41" fmla="*/ 411 h 669"/>
                <a:gd name="T42" fmla="*/ 771 w 981"/>
                <a:gd name="T43" fmla="*/ 181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81" h="669">
                  <a:moveTo>
                    <a:pt x="771" y="181"/>
                  </a:moveTo>
                  <a:cubicBezTo>
                    <a:pt x="752" y="124"/>
                    <a:pt x="689" y="50"/>
                    <a:pt x="614" y="13"/>
                  </a:cubicBezTo>
                  <a:lnTo>
                    <a:pt x="614" y="101"/>
                  </a:lnTo>
                  <a:cubicBezTo>
                    <a:pt x="689" y="144"/>
                    <a:pt x="699" y="219"/>
                    <a:pt x="699" y="223"/>
                  </a:cubicBezTo>
                  <a:lnTo>
                    <a:pt x="703" y="251"/>
                  </a:lnTo>
                  <a:lnTo>
                    <a:pt x="730" y="255"/>
                  </a:lnTo>
                  <a:cubicBezTo>
                    <a:pt x="737" y="256"/>
                    <a:pt x="899" y="283"/>
                    <a:pt x="899" y="414"/>
                  </a:cubicBezTo>
                  <a:cubicBezTo>
                    <a:pt x="899" y="549"/>
                    <a:pt x="811" y="582"/>
                    <a:pt x="791" y="594"/>
                  </a:cubicBezTo>
                  <a:lnTo>
                    <a:pt x="182" y="594"/>
                  </a:lnTo>
                  <a:cubicBezTo>
                    <a:pt x="162" y="582"/>
                    <a:pt x="79" y="561"/>
                    <a:pt x="79" y="465"/>
                  </a:cubicBezTo>
                  <a:cubicBezTo>
                    <a:pt x="79" y="349"/>
                    <a:pt x="197" y="332"/>
                    <a:pt x="210" y="331"/>
                  </a:cubicBezTo>
                  <a:lnTo>
                    <a:pt x="252" y="326"/>
                  </a:lnTo>
                  <a:lnTo>
                    <a:pt x="252" y="290"/>
                  </a:lnTo>
                  <a:cubicBezTo>
                    <a:pt x="252" y="266"/>
                    <a:pt x="289" y="126"/>
                    <a:pt x="414" y="84"/>
                  </a:cubicBezTo>
                  <a:lnTo>
                    <a:pt x="414" y="0"/>
                  </a:lnTo>
                  <a:cubicBezTo>
                    <a:pt x="252" y="35"/>
                    <a:pt x="185" y="175"/>
                    <a:pt x="169" y="256"/>
                  </a:cubicBezTo>
                  <a:cubicBezTo>
                    <a:pt x="98" y="274"/>
                    <a:pt x="0" y="331"/>
                    <a:pt x="0" y="463"/>
                  </a:cubicBezTo>
                  <a:cubicBezTo>
                    <a:pt x="0" y="599"/>
                    <a:pt x="112" y="657"/>
                    <a:pt x="171" y="668"/>
                  </a:cubicBezTo>
                  <a:lnTo>
                    <a:pt x="802" y="669"/>
                  </a:lnTo>
                  <a:lnTo>
                    <a:pt x="806" y="668"/>
                  </a:lnTo>
                  <a:cubicBezTo>
                    <a:pt x="866" y="654"/>
                    <a:pt x="981" y="583"/>
                    <a:pt x="981" y="411"/>
                  </a:cubicBezTo>
                  <a:cubicBezTo>
                    <a:pt x="981" y="266"/>
                    <a:pt x="856" y="200"/>
                    <a:pt x="771" y="1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60" name="Download"/>
            <p:cNvSpPr>
              <a:spLocks/>
            </p:cNvSpPr>
            <p:nvPr>
              <p:custDataLst>
                <p:tags r:id="rId5"/>
              </p:custDataLst>
            </p:nvPr>
          </p:nvSpPr>
          <p:spPr bwMode="auto">
            <a:xfrm>
              <a:off x="203" y="93"/>
              <a:ext cx="93" cy="201"/>
            </a:xfrm>
            <a:custGeom>
              <a:avLst/>
              <a:gdLst>
                <a:gd name="T0" fmla="*/ 209 w 248"/>
                <a:gd name="T1" fmla="*/ 325 h 535"/>
                <a:gd name="T2" fmla="*/ 182 w 248"/>
                <a:gd name="T3" fmla="*/ 294 h 535"/>
                <a:gd name="T4" fmla="*/ 182 w 248"/>
                <a:gd name="T5" fmla="*/ 33 h 535"/>
                <a:gd name="T6" fmla="*/ 160 w 248"/>
                <a:gd name="T7" fmla="*/ 0 h 535"/>
                <a:gd name="T8" fmla="*/ 87 w 248"/>
                <a:gd name="T9" fmla="*/ 0 h 535"/>
                <a:gd name="T10" fmla="*/ 70 w 248"/>
                <a:gd name="T11" fmla="*/ 33 h 535"/>
                <a:gd name="T12" fmla="*/ 70 w 248"/>
                <a:gd name="T13" fmla="*/ 293 h 535"/>
                <a:gd name="T14" fmla="*/ 43 w 248"/>
                <a:gd name="T15" fmla="*/ 325 h 535"/>
                <a:gd name="T16" fmla="*/ 20 w 248"/>
                <a:gd name="T17" fmla="*/ 325 h 535"/>
                <a:gd name="T18" fmla="*/ 7 w 248"/>
                <a:gd name="T19" fmla="*/ 342 h 535"/>
                <a:gd name="T20" fmla="*/ 110 w 248"/>
                <a:gd name="T21" fmla="*/ 523 h 535"/>
                <a:gd name="T22" fmla="*/ 134 w 248"/>
                <a:gd name="T23" fmla="*/ 522 h 535"/>
                <a:gd name="T24" fmla="*/ 241 w 248"/>
                <a:gd name="T25" fmla="*/ 343 h 535"/>
                <a:gd name="T26" fmla="*/ 229 w 248"/>
                <a:gd name="T27" fmla="*/ 325 h 535"/>
                <a:gd name="T28" fmla="*/ 209 w 248"/>
                <a:gd name="T29" fmla="*/ 32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535">
                  <a:moveTo>
                    <a:pt x="209" y="325"/>
                  </a:moveTo>
                  <a:cubicBezTo>
                    <a:pt x="195" y="325"/>
                    <a:pt x="182" y="307"/>
                    <a:pt x="182" y="294"/>
                  </a:cubicBezTo>
                  <a:lnTo>
                    <a:pt x="182" y="33"/>
                  </a:lnTo>
                  <a:cubicBezTo>
                    <a:pt x="182" y="19"/>
                    <a:pt x="173" y="0"/>
                    <a:pt x="160" y="0"/>
                  </a:cubicBezTo>
                  <a:lnTo>
                    <a:pt x="87" y="0"/>
                  </a:lnTo>
                  <a:cubicBezTo>
                    <a:pt x="74" y="0"/>
                    <a:pt x="70" y="19"/>
                    <a:pt x="70" y="33"/>
                  </a:cubicBezTo>
                  <a:lnTo>
                    <a:pt x="70" y="293"/>
                  </a:lnTo>
                  <a:cubicBezTo>
                    <a:pt x="70" y="307"/>
                    <a:pt x="56" y="325"/>
                    <a:pt x="43" y="325"/>
                  </a:cubicBezTo>
                  <a:lnTo>
                    <a:pt x="20" y="325"/>
                  </a:lnTo>
                  <a:cubicBezTo>
                    <a:pt x="7" y="325"/>
                    <a:pt x="0" y="331"/>
                    <a:pt x="7" y="342"/>
                  </a:cubicBezTo>
                  <a:lnTo>
                    <a:pt x="110" y="523"/>
                  </a:lnTo>
                  <a:cubicBezTo>
                    <a:pt x="117" y="535"/>
                    <a:pt x="128" y="534"/>
                    <a:pt x="134" y="522"/>
                  </a:cubicBezTo>
                  <a:lnTo>
                    <a:pt x="241" y="343"/>
                  </a:lnTo>
                  <a:cubicBezTo>
                    <a:pt x="248" y="331"/>
                    <a:pt x="243" y="325"/>
                    <a:pt x="229" y="325"/>
                  </a:cubicBezTo>
                  <a:lnTo>
                    <a:pt x="209" y="3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grpSp>
      <p:sp>
        <p:nvSpPr>
          <p:cNvPr id="76" name="Computer3"/>
          <p:cNvSpPr>
            <a:spLocks noChangeAspect="1" noChangeArrowheads="1"/>
          </p:cNvSpPr>
          <p:nvPr>
            <p:custDataLst>
              <p:tags r:id="rId3"/>
            </p:custDataLst>
          </p:nvPr>
        </p:nvSpPr>
        <p:spPr bwMode="auto">
          <a:xfrm>
            <a:off x="5403426" y="1801121"/>
            <a:ext cx="1483524" cy="989018"/>
          </a:xfrm>
          <a:custGeom>
            <a:avLst/>
            <a:gdLst>
              <a:gd name="T0" fmla="*/ 528 w 636"/>
              <a:gd name="T1" fmla="*/ 371 h 423"/>
              <a:gd name="T2" fmla="*/ 584 w 636"/>
              <a:gd name="T3" fmla="*/ 315 h 423"/>
              <a:gd name="T4" fmla="*/ 584 w 636"/>
              <a:gd name="T5" fmla="*/ 51 h 423"/>
              <a:gd name="T6" fmla="*/ 528 w 636"/>
              <a:gd name="T7" fmla="*/ 0 h 423"/>
              <a:gd name="T8" fmla="*/ 107 w 636"/>
              <a:gd name="T9" fmla="*/ 0 h 423"/>
              <a:gd name="T10" fmla="*/ 51 w 636"/>
              <a:gd name="T11" fmla="*/ 51 h 423"/>
              <a:gd name="T12" fmla="*/ 51 w 636"/>
              <a:gd name="T13" fmla="*/ 315 h 423"/>
              <a:gd name="T14" fmla="*/ 107 w 636"/>
              <a:gd name="T15" fmla="*/ 371 h 423"/>
              <a:gd name="T16" fmla="*/ 0 w 636"/>
              <a:gd name="T17" fmla="*/ 371 h 423"/>
              <a:gd name="T18" fmla="*/ 0 w 636"/>
              <a:gd name="T19" fmla="*/ 422 h 423"/>
              <a:gd name="T20" fmla="*/ 635 w 636"/>
              <a:gd name="T21" fmla="*/ 422 h 423"/>
              <a:gd name="T22" fmla="*/ 635 w 636"/>
              <a:gd name="T23" fmla="*/ 371 h 423"/>
              <a:gd name="T24" fmla="*/ 528 w 636"/>
              <a:gd name="T25" fmla="*/ 371 h 423"/>
              <a:gd name="T26" fmla="*/ 107 w 636"/>
              <a:gd name="T27" fmla="*/ 51 h 423"/>
              <a:gd name="T28" fmla="*/ 528 w 636"/>
              <a:gd name="T29" fmla="*/ 51 h 423"/>
              <a:gd name="T30" fmla="*/ 528 w 636"/>
              <a:gd name="T31" fmla="*/ 315 h 423"/>
              <a:gd name="T32" fmla="*/ 107 w 636"/>
              <a:gd name="T33" fmla="*/ 315 h 423"/>
              <a:gd name="T34" fmla="*/ 107 w 636"/>
              <a:gd name="T35" fmla="*/ 51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6" h="423">
                <a:moveTo>
                  <a:pt x="528" y="371"/>
                </a:moveTo>
                <a:cubicBezTo>
                  <a:pt x="559" y="371"/>
                  <a:pt x="584" y="346"/>
                  <a:pt x="584" y="315"/>
                </a:cubicBezTo>
                <a:lnTo>
                  <a:pt x="584" y="51"/>
                </a:lnTo>
                <a:cubicBezTo>
                  <a:pt x="584" y="21"/>
                  <a:pt x="559" y="0"/>
                  <a:pt x="528" y="0"/>
                </a:cubicBezTo>
                <a:lnTo>
                  <a:pt x="107" y="0"/>
                </a:lnTo>
                <a:cubicBezTo>
                  <a:pt x="76" y="0"/>
                  <a:pt x="51" y="21"/>
                  <a:pt x="51" y="51"/>
                </a:cubicBezTo>
                <a:lnTo>
                  <a:pt x="51" y="315"/>
                </a:lnTo>
                <a:cubicBezTo>
                  <a:pt x="51" y="346"/>
                  <a:pt x="76" y="371"/>
                  <a:pt x="107" y="371"/>
                </a:cubicBezTo>
                <a:lnTo>
                  <a:pt x="0" y="371"/>
                </a:lnTo>
                <a:lnTo>
                  <a:pt x="0" y="422"/>
                </a:lnTo>
                <a:lnTo>
                  <a:pt x="635" y="422"/>
                </a:lnTo>
                <a:lnTo>
                  <a:pt x="635" y="371"/>
                </a:lnTo>
                <a:lnTo>
                  <a:pt x="528" y="371"/>
                </a:lnTo>
                <a:close/>
                <a:moveTo>
                  <a:pt x="107" y="51"/>
                </a:moveTo>
                <a:lnTo>
                  <a:pt x="528" y="51"/>
                </a:lnTo>
                <a:lnTo>
                  <a:pt x="528" y="315"/>
                </a:lnTo>
                <a:lnTo>
                  <a:pt x="107" y="315"/>
                </a:lnTo>
                <a:lnTo>
                  <a:pt x="107" y="51"/>
                </a:lnTo>
                <a:close/>
              </a:path>
            </a:pathLst>
          </a:custGeom>
          <a:solidFill>
            <a:srgbClr val="729AC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pic>
        <p:nvPicPr>
          <p:cNvPr id="10" name="Resim 9"/>
          <p:cNvPicPr>
            <a:picLocks noChangeAspect="1"/>
          </p:cNvPicPr>
          <p:nvPr/>
        </p:nvPicPr>
        <p:blipFill rotWithShape="1">
          <a:blip r:embed="rId7" cstate="print">
            <a:extLst>
              <a:ext uri="{28A0092B-C50C-407E-A947-70E740481C1C}">
                <a14:useLocalDpi xmlns:a14="http://schemas.microsoft.com/office/drawing/2010/main" val="0"/>
              </a:ext>
            </a:extLst>
          </a:blip>
          <a:srcRect t="24005"/>
          <a:stretch/>
        </p:blipFill>
        <p:spPr>
          <a:xfrm>
            <a:off x="8205018" y="1801121"/>
            <a:ext cx="2258313" cy="928471"/>
          </a:xfrm>
          <a:prstGeom prst="rect">
            <a:avLst/>
          </a:prstGeom>
        </p:spPr>
      </p:pic>
      <p:sp>
        <p:nvSpPr>
          <p:cNvPr id="79" name="TextBox 41"/>
          <p:cNvSpPr txBox="1"/>
          <p:nvPr/>
        </p:nvSpPr>
        <p:spPr>
          <a:xfrm>
            <a:off x="1455400" y="6271736"/>
            <a:ext cx="960914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estek oranlarına ilave edilir ancak her halükarda toplamda ilave edilecek oran %15’i geçemez</a:t>
            </a:r>
            <a:endParaRPr kumimoji="0" lang="en-US" sz="1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81" name="Dikdörtgen 80"/>
          <p:cNvSpPr/>
          <p:nvPr/>
        </p:nvSpPr>
        <p:spPr>
          <a:xfrm>
            <a:off x="3848792" y="944434"/>
            <a:ext cx="6081421"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800" b="1" i="0" u="none" strike="noStrike" kern="1200" cap="none" spc="0" normalizeH="0" baseline="0" noProof="0" dirty="0">
                <a:ln>
                  <a:noFill/>
                </a:ln>
                <a:solidFill>
                  <a:srgbClr val="FFC000"/>
                </a:solidFill>
                <a:effectLst/>
                <a:uLnTx/>
                <a:uFillTx/>
                <a:latin typeface="Times New Roman" panose="02020603050405020304" pitchFamily="18" charset="0"/>
                <a:ea typeface="ヒラギノ角ゴ Pro W3" pitchFamily="1" charset="-128"/>
                <a:cs typeface="Times New Roman" panose="02020603050405020304" pitchFamily="18" charset="0"/>
              </a:rPr>
              <a:t>İLAVE DESTEK ORANLARI</a:t>
            </a:r>
          </a:p>
        </p:txBody>
      </p:sp>
      <p:pic>
        <p:nvPicPr>
          <p:cNvPr id="55" name="Picture 3"/>
          <p:cNvPicPr>
            <a:picLocks noChangeAspect="1" noChangeArrowheads="1"/>
          </p:cNvPicPr>
          <p:nvPr/>
        </p:nvPicPr>
        <p:blipFill>
          <a:blip r:embed="rId8" cstate="print"/>
          <a:srcRect/>
          <a:stretch>
            <a:fillRect/>
          </a:stretch>
        </p:blipFill>
        <p:spPr bwMode="auto">
          <a:xfrm>
            <a:off x="567338" y="347192"/>
            <a:ext cx="960106" cy="677217"/>
          </a:xfrm>
          <a:prstGeom prst="rect">
            <a:avLst/>
          </a:prstGeom>
          <a:noFill/>
          <a:ln w="9525">
            <a:noFill/>
            <a:miter lim="800000"/>
            <a:headEnd/>
            <a:tailEnd/>
          </a:ln>
        </p:spPr>
      </p:pic>
      <p:sp>
        <p:nvSpPr>
          <p:cNvPr id="54" name="4 Metin kutusu">
            <a:extLst>
              <a:ext uri="{FF2B5EF4-FFF2-40B4-BE49-F238E27FC236}">
                <a16:creationId xmlns:a16="http://schemas.microsoft.com/office/drawing/2014/main" id="{0F5DDB26-F8EF-4635-9715-6609DA33135B}"/>
              </a:ext>
            </a:extLst>
          </p:cNvPr>
          <p:cNvSpPr txBox="1"/>
          <p:nvPr/>
        </p:nvSpPr>
        <p:spPr>
          <a:xfrm>
            <a:off x="2463000" y="297880"/>
            <a:ext cx="8601544"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Ar-G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Ür</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Ge v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İnovasyon</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 Destek Programı</a:t>
            </a:r>
          </a:p>
        </p:txBody>
      </p:sp>
      <p:sp>
        <p:nvSpPr>
          <p:cNvPr id="2" name="Slayt Numarası Yer Tutucusu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2630431422"/>
      </p:ext>
    </p:extLst>
  </p:cSld>
  <p:clrMapOvr>
    <a:masterClrMapping/>
  </p:clrMapOvr>
  <mc:AlternateContent xmlns:mc="http://schemas.openxmlformats.org/markup-compatibility/2006" xmlns:p14="http://schemas.microsoft.com/office/powerpoint/2010/main">
    <mc:Choice Requires="p14">
      <p:transition p14:dur="0" advTm="81040"/>
    </mc:Choice>
    <mc:Fallback xmlns="">
      <p:transition advTm="81040"/>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3C7F8354-A1F7-4AE7-90D5-B3C2BAB3B60B}" type="slidenum">
              <a:rPr lang="tr-TR">
                <a:solidFill>
                  <a:prstClr val="black">
                    <a:tint val="75000"/>
                  </a:prstClr>
                </a:solidFill>
                <a:latin typeface="Calibri"/>
              </a:rPr>
              <a:pPr>
                <a:defRPr/>
              </a:pPr>
              <a:t>110</a:t>
            </a:fld>
            <a:endParaRPr lang="tr-TR" dirty="0">
              <a:solidFill>
                <a:prstClr val="black">
                  <a:tint val="75000"/>
                </a:prstClr>
              </a:solidFill>
              <a:latin typeface="Calibri"/>
            </a:endParaRPr>
          </a:p>
        </p:txBody>
      </p:sp>
      <p:sp>
        <p:nvSpPr>
          <p:cNvPr id="7" name="7 Metin kutusu"/>
          <p:cNvSpPr txBox="1"/>
          <p:nvPr/>
        </p:nvSpPr>
        <p:spPr>
          <a:xfrm>
            <a:off x="4644780" y="287082"/>
            <a:ext cx="3744416" cy="523196"/>
          </a:xfrm>
          <a:prstGeom prst="rect">
            <a:avLst/>
          </a:prstGeom>
          <a:noFill/>
        </p:spPr>
        <p:txBody>
          <a:bodyPr wrap="square" lIns="91416" tIns="45708" rIns="91416" bIns="45708" rtlCol="0">
            <a:spAutoFit/>
          </a:bodyPr>
          <a:lstStyle/>
          <a:p>
            <a:r>
              <a:rPr lang="tr-TR" sz="2800" b="1" dirty="0">
                <a:solidFill>
                  <a:srgbClr val="005F6E"/>
                </a:solidFill>
                <a:effectLst>
                  <a:outerShdw blurRad="38100" dist="38100" dir="2700000" algn="tl">
                    <a:srgbClr val="000000">
                      <a:alpha val="43137"/>
                    </a:srgbClr>
                  </a:outerShdw>
                </a:effectLst>
                <a:latin typeface="Calibri"/>
              </a:rPr>
              <a:t>Kredi Türleri</a:t>
            </a:r>
          </a:p>
        </p:txBody>
      </p:sp>
      <p:graphicFrame>
        <p:nvGraphicFramePr>
          <p:cNvPr id="6" name="Diyagram 5"/>
          <p:cNvGraphicFramePr/>
          <p:nvPr>
            <p:extLst/>
          </p:nvPr>
        </p:nvGraphicFramePr>
        <p:xfrm>
          <a:off x="1775520" y="1562439"/>
          <a:ext cx="8628736" cy="41919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Dikdörtgen 8"/>
          <p:cNvSpPr/>
          <p:nvPr/>
        </p:nvSpPr>
        <p:spPr>
          <a:xfrm>
            <a:off x="2383686" y="3284985"/>
            <a:ext cx="508424" cy="769417"/>
          </a:xfrm>
          <a:prstGeom prst="rect">
            <a:avLst/>
          </a:prstGeom>
          <a:noFill/>
        </p:spPr>
        <p:txBody>
          <a:bodyPr wrap="none" lIns="91416" tIns="45708" rIns="91416" bIns="45708">
            <a:spAutoFit/>
          </a:bodyPr>
          <a:lstStyle/>
          <a:p>
            <a:pPr algn="ctr"/>
            <a:r>
              <a:rPr lang="tr-TR" sz="4400" b="1" spc="300" dirty="0">
                <a:ln w="11430" cmpd="sng">
                  <a:solidFill>
                    <a:srgbClr val="4F81BD">
                      <a:tint val="10000"/>
                    </a:srgbClr>
                  </a:solidFill>
                  <a:prstDash val="solid"/>
                  <a:miter lim="800000"/>
                </a:ln>
                <a:solidFill>
                  <a:srgbClr val="C00000"/>
                </a:solidFill>
                <a:effectLst>
                  <a:glow rad="45500">
                    <a:srgbClr val="4F81BD">
                      <a:satMod val="220000"/>
                      <a:alpha val="35000"/>
                    </a:srgbClr>
                  </a:glow>
                </a:effectLst>
                <a:latin typeface="Calibri"/>
              </a:rPr>
              <a:t>2</a:t>
            </a:r>
          </a:p>
        </p:txBody>
      </p:sp>
      <p:sp>
        <p:nvSpPr>
          <p:cNvPr id="10" name="Dikdörtgen 9"/>
          <p:cNvSpPr/>
          <p:nvPr/>
        </p:nvSpPr>
        <p:spPr>
          <a:xfrm>
            <a:off x="2129474" y="4509121"/>
            <a:ext cx="508424" cy="769417"/>
          </a:xfrm>
          <a:prstGeom prst="rect">
            <a:avLst/>
          </a:prstGeom>
          <a:noFill/>
        </p:spPr>
        <p:txBody>
          <a:bodyPr wrap="none" lIns="91416" tIns="45708" rIns="91416" bIns="45708">
            <a:spAutoFit/>
          </a:bodyPr>
          <a:lstStyle/>
          <a:p>
            <a:pPr algn="ctr"/>
            <a:r>
              <a:rPr lang="tr-TR" sz="4400" b="1" spc="300" dirty="0">
                <a:ln w="11430" cmpd="sng">
                  <a:solidFill>
                    <a:srgbClr val="4F81BD">
                      <a:tint val="10000"/>
                    </a:srgbClr>
                  </a:solidFill>
                  <a:prstDash val="solid"/>
                  <a:miter lim="800000"/>
                </a:ln>
                <a:solidFill>
                  <a:srgbClr val="C00000"/>
                </a:solidFill>
                <a:effectLst>
                  <a:glow rad="45500">
                    <a:srgbClr val="4F81BD">
                      <a:satMod val="220000"/>
                      <a:alpha val="35000"/>
                    </a:srgbClr>
                  </a:glow>
                </a:effectLst>
                <a:latin typeface="Calibri"/>
              </a:rPr>
              <a:t>3</a:t>
            </a:r>
          </a:p>
        </p:txBody>
      </p:sp>
      <p:sp>
        <p:nvSpPr>
          <p:cNvPr id="11" name="Dikdörtgen 10"/>
          <p:cNvSpPr/>
          <p:nvPr/>
        </p:nvSpPr>
        <p:spPr>
          <a:xfrm>
            <a:off x="2048501" y="1988841"/>
            <a:ext cx="508424" cy="769417"/>
          </a:xfrm>
          <a:prstGeom prst="rect">
            <a:avLst/>
          </a:prstGeom>
          <a:noFill/>
        </p:spPr>
        <p:txBody>
          <a:bodyPr wrap="none" lIns="91416" tIns="45708" rIns="91416" bIns="45708">
            <a:spAutoFit/>
          </a:bodyPr>
          <a:lstStyle/>
          <a:p>
            <a:pPr algn="ctr"/>
            <a:r>
              <a:rPr lang="tr-TR" sz="4400" b="1" spc="300" dirty="0">
                <a:ln w="11430" cmpd="sng">
                  <a:solidFill>
                    <a:srgbClr val="4F81BD">
                      <a:tint val="10000"/>
                    </a:srgbClr>
                  </a:solidFill>
                  <a:prstDash val="solid"/>
                  <a:miter lim="800000"/>
                </a:ln>
                <a:solidFill>
                  <a:srgbClr val="C00000"/>
                </a:solidFill>
                <a:effectLst>
                  <a:glow rad="45500">
                    <a:srgbClr val="4F81BD">
                      <a:satMod val="220000"/>
                      <a:alpha val="35000"/>
                    </a:srgbClr>
                  </a:glow>
                </a:effectLst>
                <a:latin typeface="Calibri"/>
              </a:rPr>
              <a:t>1</a:t>
            </a:r>
          </a:p>
        </p:txBody>
      </p:sp>
    </p:spTree>
    <p:extLst>
      <p:ext uri="{BB962C8B-B14F-4D97-AF65-F5344CB8AC3E}">
        <p14:creationId xmlns:p14="http://schemas.microsoft.com/office/powerpoint/2010/main" val="2149683673"/>
      </p:ext>
    </p:extLst>
  </p:cSld>
  <p:clrMapOvr>
    <a:masterClrMapping/>
  </p:clrMapOvr>
  <p:transition spd="slow">
    <p:cover/>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3C7F8354-A1F7-4AE7-90D5-B3C2BAB3B60B}" type="slidenum">
              <a:rPr lang="tr-TR">
                <a:solidFill>
                  <a:prstClr val="black">
                    <a:tint val="75000"/>
                  </a:prstClr>
                </a:solidFill>
                <a:latin typeface="Calibri"/>
              </a:rPr>
              <a:pPr>
                <a:defRPr/>
              </a:pPr>
              <a:t>111</a:t>
            </a:fld>
            <a:endParaRPr lang="tr-TR" dirty="0">
              <a:solidFill>
                <a:prstClr val="black">
                  <a:tint val="75000"/>
                </a:prstClr>
              </a:solidFill>
              <a:latin typeface="Calibri"/>
            </a:endParaRPr>
          </a:p>
        </p:txBody>
      </p:sp>
      <p:graphicFrame>
        <p:nvGraphicFramePr>
          <p:cNvPr id="5" name="Diyagram 4"/>
          <p:cNvGraphicFramePr/>
          <p:nvPr>
            <p:extLst/>
          </p:nvPr>
        </p:nvGraphicFramePr>
        <p:xfrm>
          <a:off x="1775520" y="1124744"/>
          <a:ext cx="8628736" cy="4968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Dikdörtgen 7"/>
          <p:cNvSpPr/>
          <p:nvPr/>
        </p:nvSpPr>
        <p:spPr>
          <a:xfrm>
            <a:off x="2388000" y="4085029"/>
            <a:ext cx="612620" cy="1015638"/>
          </a:xfrm>
          <a:prstGeom prst="rect">
            <a:avLst/>
          </a:prstGeom>
          <a:noFill/>
        </p:spPr>
        <p:txBody>
          <a:bodyPr wrap="none" lIns="91416" tIns="45708" rIns="91416" bIns="45708">
            <a:spAutoFit/>
          </a:bodyPr>
          <a:lstStyle/>
          <a:p>
            <a:pPr algn="ctr"/>
            <a:r>
              <a:rPr lang="tr-TR" sz="6000" b="1" spc="300" dirty="0">
                <a:ln w="11430" cmpd="sng">
                  <a:solidFill>
                    <a:srgbClr val="4F81BD">
                      <a:tint val="10000"/>
                    </a:srgbClr>
                  </a:solidFill>
                  <a:prstDash val="solid"/>
                  <a:miter lim="800000"/>
                </a:ln>
                <a:gradFill>
                  <a:gsLst>
                    <a:gs pos="10000">
                      <a:srgbClr val="4F81BD">
                        <a:tint val="83000"/>
                        <a:shade val="100000"/>
                        <a:satMod val="200000"/>
                      </a:srgbClr>
                    </a:gs>
                    <a:gs pos="75000">
                      <a:srgbClr val="4F81BD">
                        <a:tint val="100000"/>
                        <a:shade val="50000"/>
                        <a:satMod val="150000"/>
                      </a:srgbClr>
                    </a:gs>
                  </a:gsLst>
                  <a:lin ang="5400000"/>
                </a:gradFill>
                <a:effectLst>
                  <a:glow rad="45500">
                    <a:srgbClr val="4F81BD">
                      <a:satMod val="220000"/>
                      <a:alpha val="35000"/>
                    </a:srgbClr>
                  </a:glow>
                </a:effectLst>
                <a:latin typeface="Calibri"/>
              </a:rPr>
              <a:t>2</a:t>
            </a:r>
          </a:p>
        </p:txBody>
      </p:sp>
      <p:sp>
        <p:nvSpPr>
          <p:cNvPr id="10" name="Dikdörtgen 9"/>
          <p:cNvSpPr/>
          <p:nvPr/>
        </p:nvSpPr>
        <p:spPr>
          <a:xfrm>
            <a:off x="2388000" y="1916832"/>
            <a:ext cx="612620" cy="1015638"/>
          </a:xfrm>
          <a:prstGeom prst="rect">
            <a:avLst/>
          </a:prstGeom>
          <a:noFill/>
        </p:spPr>
        <p:txBody>
          <a:bodyPr wrap="none" lIns="91416" tIns="45708" rIns="91416" bIns="45708">
            <a:spAutoFit/>
          </a:bodyPr>
          <a:lstStyle/>
          <a:p>
            <a:pPr algn="ctr"/>
            <a:r>
              <a:rPr lang="tr-TR" sz="6000" b="1" spc="300" dirty="0">
                <a:ln w="11430" cmpd="sng">
                  <a:solidFill>
                    <a:srgbClr val="4F81BD">
                      <a:tint val="10000"/>
                    </a:srgbClr>
                  </a:solidFill>
                  <a:prstDash val="solid"/>
                  <a:miter lim="800000"/>
                </a:ln>
                <a:gradFill>
                  <a:gsLst>
                    <a:gs pos="10000">
                      <a:srgbClr val="4F81BD">
                        <a:tint val="83000"/>
                        <a:shade val="100000"/>
                        <a:satMod val="200000"/>
                      </a:srgbClr>
                    </a:gs>
                    <a:gs pos="75000">
                      <a:srgbClr val="4F81BD">
                        <a:tint val="100000"/>
                        <a:shade val="50000"/>
                        <a:satMod val="150000"/>
                      </a:srgbClr>
                    </a:gs>
                  </a:gsLst>
                  <a:lin ang="5400000"/>
                </a:gradFill>
                <a:effectLst>
                  <a:glow rad="45500">
                    <a:srgbClr val="4F81BD">
                      <a:satMod val="220000"/>
                      <a:alpha val="35000"/>
                    </a:srgbClr>
                  </a:glow>
                </a:effectLst>
                <a:latin typeface="Calibri"/>
              </a:rPr>
              <a:t>1</a:t>
            </a:r>
          </a:p>
        </p:txBody>
      </p:sp>
      <p:sp>
        <p:nvSpPr>
          <p:cNvPr id="11" name="7 Metin kutusu"/>
          <p:cNvSpPr txBox="1"/>
          <p:nvPr/>
        </p:nvSpPr>
        <p:spPr>
          <a:xfrm>
            <a:off x="4644780" y="287082"/>
            <a:ext cx="3744416" cy="523196"/>
          </a:xfrm>
          <a:prstGeom prst="rect">
            <a:avLst/>
          </a:prstGeom>
          <a:noFill/>
        </p:spPr>
        <p:txBody>
          <a:bodyPr wrap="square" lIns="91416" tIns="45708" rIns="91416" bIns="45708" rtlCol="0">
            <a:spAutoFit/>
          </a:bodyPr>
          <a:lstStyle/>
          <a:p>
            <a:r>
              <a:rPr lang="tr-TR" sz="2800" b="1" dirty="0">
                <a:solidFill>
                  <a:srgbClr val="005F6E"/>
                </a:solidFill>
                <a:effectLst>
                  <a:outerShdw blurRad="38100" dist="38100" dir="2700000" algn="tl">
                    <a:srgbClr val="000000">
                      <a:alpha val="43137"/>
                    </a:srgbClr>
                  </a:outerShdw>
                </a:effectLst>
                <a:latin typeface="Calibri"/>
              </a:rPr>
              <a:t>İşletme Türleri</a:t>
            </a:r>
          </a:p>
        </p:txBody>
      </p:sp>
      <p:sp>
        <p:nvSpPr>
          <p:cNvPr id="2" name="Dikdörtgen 1"/>
          <p:cNvSpPr/>
          <p:nvPr/>
        </p:nvSpPr>
        <p:spPr>
          <a:xfrm>
            <a:off x="4367808" y="2852936"/>
            <a:ext cx="5976664" cy="923330"/>
          </a:xfrm>
          <a:prstGeom prst="rect">
            <a:avLst/>
          </a:prstGeom>
        </p:spPr>
        <p:txBody>
          <a:bodyPr wrap="square">
            <a:spAutoFit/>
          </a:bodyPr>
          <a:lstStyle/>
          <a:p>
            <a:pPr>
              <a:spcBef>
                <a:spcPts val="600"/>
              </a:spcBef>
              <a:spcAft>
                <a:spcPts val="1200"/>
              </a:spcAft>
            </a:pPr>
            <a:r>
              <a:rPr lang="tr-TR" dirty="0">
                <a:solidFill>
                  <a:srgbClr val="CC0000"/>
                </a:solidFill>
                <a:latin typeface="Calibri"/>
              </a:rPr>
              <a:t>Sanayi ve Teknoloji Bakanlığı tarafından uygulanan Teknoloji Odaklı Sanayi Hamlesi Programından yararlanan işletmeler ve bu işletmelerin ürünlerini alan işletmeler.</a:t>
            </a:r>
          </a:p>
        </p:txBody>
      </p:sp>
      <p:sp>
        <p:nvSpPr>
          <p:cNvPr id="3" name="Dikdörtgen 2"/>
          <p:cNvSpPr/>
          <p:nvPr/>
        </p:nvSpPr>
        <p:spPr>
          <a:xfrm>
            <a:off x="4367808" y="5061662"/>
            <a:ext cx="5976664" cy="369332"/>
          </a:xfrm>
          <a:prstGeom prst="rect">
            <a:avLst/>
          </a:prstGeom>
        </p:spPr>
        <p:txBody>
          <a:bodyPr wrap="square">
            <a:spAutoFit/>
          </a:bodyPr>
          <a:lstStyle/>
          <a:p>
            <a:pPr>
              <a:spcBef>
                <a:spcPts val="600"/>
              </a:spcBef>
              <a:spcAft>
                <a:spcPts val="1200"/>
              </a:spcAft>
            </a:pPr>
            <a:r>
              <a:rPr lang="tr-TR" dirty="0">
                <a:solidFill>
                  <a:srgbClr val="CC0000"/>
                </a:solidFill>
                <a:latin typeface="Calibri"/>
              </a:rPr>
              <a:t>KOSGEB desteği ile işini kurmuş faal işletmeler.</a:t>
            </a:r>
          </a:p>
        </p:txBody>
      </p:sp>
    </p:spTree>
    <p:extLst>
      <p:ext uri="{BB962C8B-B14F-4D97-AF65-F5344CB8AC3E}">
        <p14:creationId xmlns:p14="http://schemas.microsoft.com/office/powerpoint/2010/main" val="3305758456"/>
      </p:ext>
    </p:extLst>
  </p:cSld>
  <p:clrMapOvr>
    <a:masterClrMapping/>
  </p:clrMapOvr>
  <p:transition spd="slow">
    <p:cover/>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3C7F8354-A1F7-4AE7-90D5-B3C2BAB3B60B}" type="slidenum">
              <a:rPr lang="tr-TR">
                <a:solidFill>
                  <a:prstClr val="black">
                    <a:tint val="75000"/>
                  </a:prstClr>
                </a:solidFill>
                <a:latin typeface="Calibri"/>
              </a:rPr>
              <a:pPr>
                <a:defRPr/>
              </a:pPr>
              <a:t>112</a:t>
            </a:fld>
            <a:endParaRPr lang="tr-TR" dirty="0">
              <a:solidFill>
                <a:prstClr val="black">
                  <a:tint val="75000"/>
                </a:prstClr>
              </a:solidFill>
              <a:latin typeface="Calibri"/>
            </a:endParaRPr>
          </a:p>
        </p:txBody>
      </p:sp>
      <p:sp>
        <p:nvSpPr>
          <p:cNvPr id="6" name="Başlık 1"/>
          <p:cNvSpPr>
            <a:spLocks noGrp="1"/>
          </p:cNvSpPr>
          <p:nvPr>
            <p:ph type="title"/>
          </p:nvPr>
        </p:nvSpPr>
        <p:spPr>
          <a:xfrm>
            <a:off x="1524000" y="274258"/>
            <a:ext cx="9144000" cy="720079"/>
          </a:xfrm>
        </p:spPr>
        <p:txBody>
          <a:bodyPr/>
          <a:lstStyle/>
          <a:p>
            <a:pPr algn="ctr"/>
            <a:r>
              <a:rPr lang="tr-TR" sz="2800" b="1" dirty="0">
                <a:solidFill>
                  <a:srgbClr val="005F6E"/>
                </a:solidFill>
                <a:effectLst>
                  <a:outerShdw blurRad="38100" dist="38100" dir="2700000" algn="tl">
                    <a:srgbClr val="000000">
                      <a:alpha val="43137"/>
                    </a:srgbClr>
                  </a:outerShdw>
                </a:effectLst>
                <a:latin typeface="+mn-lt"/>
                <a:ea typeface="+mn-ea"/>
                <a:cs typeface="+mn-cs"/>
              </a:rPr>
              <a:t>Destek</a:t>
            </a:r>
            <a:r>
              <a:rPr lang="tr-TR" sz="3600" b="1" dirty="0">
                <a:solidFill>
                  <a:srgbClr val="FF0000"/>
                </a:solidFill>
                <a:latin typeface="+mn-lt"/>
              </a:rPr>
              <a:t> </a:t>
            </a:r>
            <a:r>
              <a:rPr lang="tr-TR" sz="2800" b="1" dirty="0">
                <a:solidFill>
                  <a:srgbClr val="005F6E"/>
                </a:solidFill>
                <a:effectLst>
                  <a:outerShdw blurRad="38100" dist="38100" dir="2700000" algn="tl">
                    <a:srgbClr val="000000">
                      <a:alpha val="43137"/>
                    </a:srgbClr>
                  </a:outerShdw>
                </a:effectLst>
                <a:latin typeface="+mn-lt"/>
                <a:ea typeface="+mn-ea"/>
                <a:cs typeface="+mn-cs"/>
              </a:rPr>
              <a:t>Tablosu</a:t>
            </a:r>
          </a:p>
        </p:txBody>
      </p:sp>
      <p:sp>
        <p:nvSpPr>
          <p:cNvPr id="3" name="Rectangle 1"/>
          <p:cNvSpPr>
            <a:spLocks noChangeArrowheads="1"/>
          </p:cNvSpPr>
          <p:nvPr/>
        </p:nvSpPr>
        <p:spPr bwMode="auto">
          <a:xfrm>
            <a:off x="2125690" y="4542657"/>
            <a:ext cx="7848872" cy="1538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fontAlgn="base">
              <a:spcBef>
                <a:spcPct val="0"/>
              </a:spcBef>
              <a:spcAft>
                <a:spcPct val="0"/>
              </a:spcAft>
              <a:tabLst>
                <a:tab pos="450850" algn="l"/>
                <a:tab pos="630238" algn="l"/>
              </a:tabLst>
              <a:defRPr>
                <a:solidFill>
                  <a:schemeClr val="tx1"/>
                </a:solidFill>
                <a:latin typeface="Arial" pitchFamily="34" charset="0"/>
                <a:cs typeface="Arial" pitchFamily="34" charset="0"/>
              </a:defRPr>
            </a:lvl1pPr>
            <a:lvl2pPr fontAlgn="base">
              <a:spcBef>
                <a:spcPct val="0"/>
              </a:spcBef>
              <a:spcAft>
                <a:spcPct val="0"/>
              </a:spcAft>
              <a:tabLst>
                <a:tab pos="450850" algn="l"/>
                <a:tab pos="630238" algn="l"/>
              </a:tabLst>
              <a:defRPr>
                <a:solidFill>
                  <a:schemeClr val="tx1"/>
                </a:solidFill>
                <a:latin typeface="Arial" pitchFamily="34" charset="0"/>
                <a:cs typeface="Arial" pitchFamily="34" charset="0"/>
              </a:defRPr>
            </a:lvl2pPr>
            <a:lvl3pPr fontAlgn="base">
              <a:spcBef>
                <a:spcPct val="0"/>
              </a:spcBef>
              <a:spcAft>
                <a:spcPct val="0"/>
              </a:spcAft>
              <a:tabLst>
                <a:tab pos="450850" algn="l"/>
                <a:tab pos="630238" algn="l"/>
              </a:tabLst>
              <a:defRPr>
                <a:solidFill>
                  <a:schemeClr val="tx1"/>
                </a:solidFill>
                <a:latin typeface="Arial" pitchFamily="34" charset="0"/>
                <a:cs typeface="Arial" pitchFamily="34" charset="0"/>
              </a:defRPr>
            </a:lvl3pPr>
            <a:lvl4pPr fontAlgn="base">
              <a:spcBef>
                <a:spcPct val="0"/>
              </a:spcBef>
              <a:spcAft>
                <a:spcPct val="0"/>
              </a:spcAft>
              <a:tabLst>
                <a:tab pos="450850" algn="l"/>
                <a:tab pos="630238" algn="l"/>
              </a:tabLst>
              <a:defRPr>
                <a:solidFill>
                  <a:schemeClr val="tx1"/>
                </a:solidFill>
                <a:latin typeface="Arial" pitchFamily="34" charset="0"/>
                <a:cs typeface="Arial" pitchFamily="34" charset="0"/>
              </a:defRPr>
            </a:lvl4pPr>
            <a:lvl5pPr fontAlgn="base">
              <a:spcBef>
                <a:spcPct val="0"/>
              </a:spcBef>
              <a:spcAft>
                <a:spcPct val="0"/>
              </a:spcAft>
              <a:tabLst>
                <a:tab pos="450850" algn="l"/>
                <a:tab pos="630238" algn="l"/>
              </a:tabLst>
              <a:defRPr>
                <a:solidFill>
                  <a:schemeClr val="tx1"/>
                </a:solidFill>
                <a:latin typeface="Arial" pitchFamily="34" charset="0"/>
                <a:cs typeface="Arial" pitchFamily="34" charset="0"/>
              </a:defRPr>
            </a:lvl5pPr>
            <a:lvl6pPr fontAlgn="base">
              <a:spcBef>
                <a:spcPct val="0"/>
              </a:spcBef>
              <a:spcAft>
                <a:spcPct val="0"/>
              </a:spcAft>
              <a:tabLst>
                <a:tab pos="450850" algn="l"/>
                <a:tab pos="630238" algn="l"/>
              </a:tabLst>
              <a:defRPr>
                <a:solidFill>
                  <a:schemeClr val="tx1"/>
                </a:solidFill>
                <a:latin typeface="Arial" pitchFamily="34" charset="0"/>
                <a:cs typeface="Arial" pitchFamily="34" charset="0"/>
              </a:defRPr>
            </a:lvl6pPr>
            <a:lvl7pPr fontAlgn="base">
              <a:spcBef>
                <a:spcPct val="0"/>
              </a:spcBef>
              <a:spcAft>
                <a:spcPct val="0"/>
              </a:spcAft>
              <a:tabLst>
                <a:tab pos="450850" algn="l"/>
                <a:tab pos="630238" algn="l"/>
              </a:tabLst>
              <a:defRPr>
                <a:solidFill>
                  <a:schemeClr val="tx1"/>
                </a:solidFill>
                <a:latin typeface="Arial" pitchFamily="34" charset="0"/>
                <a:cs typeface="Arial" pitchFamily="34" charset="0"/>
              </a:defRPr>
            </a:lvl7pPr>
            <a:lvl8pPr fontAlgn="base">
              <a:spcBef>
                <a:spcPct val="0"/>
              </a:spcBef>
              <a:spcAft>
                <a:spcPct val="0"/>
              </a:spcAft>
              <a:tabLst>
                <a:tab pos="450850" algn="l"/>
                <a:tab pos="630238" algn="l"/>
              </a:tabLst>
              <a:defRPr>
                <a:solidFill>
                  <a:schemeClr val="tx1"/>
                </a:solidFill>
                <a:latin typeface="Arial" pitchFamily="34" charset="0"/>
                <a:cs typeface="Arial" pitchFamily="34" charset="0"/>
              </a:defRPr>
            </a:lvl8pPr>
            <a:lvl9pPr fontAlgn="base">
              <a:spcBef>
                <a:spcPct val="0"/>
              </a:spcBef>
              <a:spcAft>
                <a:spcPct val="0"/>
              </a:spcAft>
              <a:tabLst>
                <a:tab pos="450850" algn="l"/>
                <a:tab pos="630238" algn="l"/>
              </a:tabLst>
              <a:defRPr>
                <a:solidFill>
                  <a:schemeClr val="tx1"/>
                </a:solidFill>
                <a:latin typeface="Arial" pitchFamily="34" charset="0"/>
                <a:cs typeface="Arial" pitchFamily="34" charset="0"/>
              </a:defRPr>
            </a:lvl9pPr>
          </a:lstStyle>
          <a:p>
            <a:pPr algn="just">
              <a:spcAft>
                <a:spcPts val="600"/>
              </a:spcAft>
            </a:pPr>
            <a:r>
              <a:rPr lang="tr-TR" altLang="tr-TR" sz="1400" dirty="0">
                <a:solidFill>
                  <a:prstClr val="black"/>
                </a:solidFill>
                <a:latin typeface="Calibri"/>
                <a:ea typeface="Calibri" pitchFamily="34" charset="0"/>
                <a:cs typeface="Times New Roman" pitchFamily="18" charset="0"/>
              </a:rPr>
              <a:t>* Girişimcinin genç, kadın, engelli, gazi veya birinci derecede şehit yakını olması durumunda üst limit </a:t>
            </a:r>
            <a:r>
              <a:rPr lang="tr-TR" altLang="tr-TR" sz="1400" b="1" dirty="0">
                <a:solidFill>
                  <a:prstClr val="black"/>
                </a:solidFill>
                <a:latin typeface="Calibri"/>
                <a:ea typeface="Calibri" pitchFamily="34" charset="0"/>
                <a:cs typeface="Times New Roman" pitchFamily="18" charset="0"/>
              </a:rPr>
              <a:t>70.000 TL</a:t>
            </a:r>
            <a:r>
              <a:rPr lang="tr-TR" altLang="tr-TR" sz="1400" dirty="0">
                <a:solidFill>
                  <a:prstClr val="black"/>
                </a:solidFill>
                <a:latin typeface="Calibri"/>
                <a:ea typeface="Calibri" pitchFamily="34" charset="0"/>
                <a:cs typeface="Times New Roman" pitchFamily="18" charset="0"/>
              </a:rPr>
              <a:t> olarak uygulanır.</a:t>
            </a:r>
          </a:p>
          <a:p>
            <a:pPr algn="just">
              <a:spcAft>
                <a:spcPts val="600"/>
              </a:spcAft>
            </a:pPr>
            <a:r>
              <a:rPr lang="tr-TR" altLang="tr-TR" sz="1400" dirty="0">
                <a:solidFill>
                  <a:prstClr val="black"/>
                </a:solidFill>
                <a:latin typeface="Calibri"/>
                <a:cs typeface="Times New Roman" pitchFamily="18" charset="0"/>
              </a:rPr>
              <a:t>** Makine Teçhizat kredisinde; yerli makine teçhizat alımında, Stratejik ve Öncelikli Sektörlerdeki İşletmelere </a:t>
            </a:r>
            <a:r>
              <a:rPr lang="tr-TR" altLang="tr-TR" sz="1400" b="1" dirty="0">
                <a:solidFill>
                  <a:prstClr val="black"/>
                </a:solidFill>
                <a:latin typeface="Calibri"/>
                <a:cs typeface="Times New Roman" pitchFamily="18" charset="0"/>
              </a:rPr>
              <a:t>2 ilave puan </a:t>
            </a:r>
            <a:r>
              <a:rPr lang="tr-TR" altLang="tr-TR" sz="1400" dirty="0">
                <a:solidFill>
                  <a:prstClr val="black"/>
                </a:solidFill>
                <a:latin typeface="Calibri"/>
                <a:cs typeface="Times New Roman" pitchFamily="18" charset="0"/>
              </a:rPr>
              <a:t>verilir (12+2). </a:t>
            </a:r>
          </a:p>
          <a:p>
            <a:pPr algn="just"/>
            <a:r>
              <a:rPr lang="tr-TR" altLang="tr-TR" sz="1400" dirty="0">
                <a:solidFill>
                  <a:prstClr val="black"/>
                </a:solidFill>
                <a:latin typeface="Calibri"/>
                <a:cs typeface="Times New Roman" pitchFamily="18" charset="0"/>
              </a:rPr>
              <a:t>*** İşletmeler ilgili Valilik/Kaymakamlık tarafından belgelendirilmesi durumunda Acil Destek Kredisinden faydalanabilirler.</a:t>
            </a:r>
            <a:endParaRPr lang="tr-TR" altLang="tr-TR" sz="1400" dirty="0">
              <a:solidFill>
                <a:prstClr val="black"/>
              </a:solidFill>
              <a:latin typeface="Calibri"/>
            </a:endParaRPr>
          </a:p>
        </p:txBody>
      </p:sp>
      <p:graphicFrame>
        <p:nvGraphicFramePr>
          <p:cNvPr id="5" name="Tablo 4"/>
          <p:cNvGraphicFramePr>
            <a:graphicFrameLocks noGrp="1"/>
          </p:cNvGraphicFramePr>
          <p:nvPr>
            <p:extLst/>
          </p:nvPr>
        </p:nvGraphicFramePr>
        <p:xfrm>
          <a:off x="2125690" y="1268760"/>
          <a:ext cx="7848873" cy="3168352"/>
        </p:xfrm>
        <a:graphic>
          <a:graphicData uri="http://schemas.openxmlformats.org/drawingml/2006/table">
            <a:tbl>
              <a:tblPr firstRow="1" firstCol="1" bandRow="1">
                <a:tableStyleId>{5C22544A-7EE6-4342-B048-85BDC9FD1C3A}</a:tableStyleId>
              </a:tblPr>
              <a:tblGrid>
                <a:gridCol w="2021997">
                  <a:extLst>
                    <a:ext uri="{9D8B030D-6E8A-4147-A177-3AD203B41FA5}">
                      <a16:colId xmlns:a16="http://schemas.microsoft.com/office/drawing/2014/main" val="2215845339"/>
                    </a:ext>
                  </a:extLst>
                </a:gridCol>
                <a:gridCol w="1308006">
                  <a:extLst>
                    <a:ext uri="{9D8B030D-6E8A-4147-A177-3AD203B41FA5}">
                      <a16:colId xmlns:a16="http://schemas.microsoft.com/office/drawing/2014/main" val="728927483"/>
                    </a:ext>
                  </a:extLst>
                </a:gridCol>
                <a:gridCol w="1308006">
                  <a:extLst>
                    <a:ext uri="{9D8B030D-6E8A-4147-A177-3AD203B41FA5}">
                      <a16:colId xmlns:a16="http://schemas.microsoft.com/office/drawing/2014/main" val="1654452893"/>
                    </a:ext>
                  </a:extLst>
                </a:gridCol>
                <a:gridCol w="1308006">
                  <a:extLst>
                    <a:ext uri="{9D8B030D-6E8A-4147-A177-3AD203B41FA5}">
                      <a16:colId xmlns:a16="http://schemas.microsoft.com/office/drawing/2014/main" val="3689277500"/>
                    </a:ext>
                  </a:extLst>
                </a:gridCol>
                <a:gridCol w="1070567">
                  <a:extLst>
                    <a:ext uri="{9D8B030D-6E8A-4147-A177-3AD203B41FA5}">
                      <a16:colId xmlns:a16="http://schemas.microsoft.com/office/drawing/2014/main" val="1136822718"/>
                    </a:ext>
                  </a:extLst>
                </a:gridCol>
                <a:gridCol w="832291">
                  <a:extLst>
                    <a:ext uri="{9D8B030D-6E8A-4147-A177-3AD203B41FA5}">
                      <a16:colId xmlns:a16="http://schemas.microsoft.com/office/drawing/2014/main" val="3184614696"/>
                    </a:ext>
                  </a:extLst>
                </a:gridCol>
              </a:tblGrid>
              <a:tr h="511537">
                <a:tc rowSpan="3">
                  <a:txBody>
                    <a:bodyPr/>
                    <a:lstStyle/>
                    <a:p>
                      <a:pPr algn="ctr">
                        <a:lnSpc>
                          <a:spcPct val="115000"/>
                        </a:lnSpc>
                        <a:spcAft>
                          <a:spcPts val="600"/>
                        </a:spcAft>
                      </a:pPr>
                      <a:r>
                        <a:rPr lang="tr-TR" sz="1400" dirty="0">
                          <a:effectLst/>
                        </a:rPr>
                        <a:t>Kredi Türü</a:t>
                      </a:r>
                      <a:endParaRPr lang="tr-T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4">
                  <a:txBody>
                    <a:bodyPr/>
                    <a:lstStyle/>
                    <a:p>
                      <a:pPr algn="ctr">
                        <a:lnSpc>
                          <a:spcPct val="115000"/>
                        </a:lnSpc>
                        <a:spcAft>
                          <a:spcPts val="600"/>
                        </a:spcAft>
                      </a:pPr>
                      <a:r>
                        <a:rPr lang="tr-TR" sz="1400">
                          <a:effectLst/>
                        </a:rPr>
                        <a:t>İşletme Türü</a:t>
                      </a:r>
                      <a:endParaRPr lang="tr-TR"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tr-TR"/>
                    </a:p>
                  </a:txBody>
                  <a:tcPr/>
                </a:tc>
                <a:tc hMerge="1">
                  <a:txBody>
                    <a:bodyPr/>
                    <a:lstStyle/>
                    <a:p>
                      <a:endParaRPr lang="tr-TR"/>
                    </a:p>
                  </a:txBody>
                  <a:tcPr/>
                </a:tc>
                <a:tc hMerge="1">
                  <a:txBody>
                    <a:bodyPr/>
                    <a:lstStyle/>
                    <a:p>
                      <a:endParaRPr lang="tr-TR"/>
                    </a:p>
                  </a:txBody>
                  <a:tcPr/>
                </a:tc>
                <a:tc rowSpan="3">
                  <a:txBody>
                    <a:bodyPr/>
                    <a:lstStyle/>
                    <a:p>
                      <a:pPr algn="ctr">
                        <a:lnSpc>
                          <a:spcPct val="115000"/>
                        </a:lnSpc>
                        <a:spcAft>
                          <a:spcPts val="600"/>
                        </a:spcAft>
                      </a:pPr>
                      <a:r>
                        <a:rPr lang="tr-TR" sz="1400">
                          <a:effectLst/>
                        </a:rPr>
                        <a:t> </a:t>
                      </a:r>
                    </a:p>
                    <a:p>
                      <a:pPr algn="ctr">
                        <a:lnSpc>
                          <a:spcPct val="115000"/>
                        </a:lnSpc>
                        <a:spcAft>
                          <a:spcPts val="600"/>
                        </a:spcAft>
                      </a:pPr>
                      <a:r>
                        <a:rPr lang="tr-TR" sz="1400">
                          <a:effectLst/>
                        </a:rPr>
                        <a:t>Azami Kredi Vadesi</a:t>
                      </a:r>
                      <a:endParaRPr lang="tr-TR"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23330120"/>
                  </a:ext>
                </a:extLst>
              </a:tr>
              <a:tr h="636302">
                <a:tc vMerge="1">
                  <a:txBody>
                    <a:bodyPr/>
                    <a:lstStyle/>
                    <a:p>
                      <a:endParaRPr lang="tr-TR"/>
                    </a:p>
                  </a:txBody>
                  <a:tcPr/>
                </a:tc>
                <a:tc gridSpan="2">
                  <a:txBody>
                    <a:bodyPr/>
                    <a:lstStyle/>
                    <a:p>
                      <a:pPr algn="ctr">
                        <a:lnSpc>
                          <a:spcPct val="115000"/>
                        </a:lnSpc>
                        <a:spcAft>
                          <a:spcPts val="600"/>
                        </a:spcAft>
                      </a:pPr>
                      <a:r>
                        <a:rPr lang="tr-TR" sz="1400" b="1" dirty="0">
                          <a:effectLst/>
                        </a:rPr>
                        <a:t>Girişimci İşletmeler</a:t>
                      </a:r>
                      <a:endParaRPr lang="tr-TR"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tr-TR"/>
                    </a:p>
                  </a:txBody>
                  <a:tcPr/>
                </a:tc>
                <a:tc gridSpan="2">
                  <a:txBody>
                    <a:bodyPr/>
                    <a:lstStyle/>
                    <a:p>
                      <a:pPr algn="ctr">
                        <a:lnSpc>
                          <a:spcPct val="115000"/>
                        </a:lnSpc>
                        <a:spcAft>
                          <a:spcPts val="600"/>
                        </a:spcAft>
                      </a:pPr>
                      <a:r>
                        <a:rPr lang="tr-TR" sz="1400" b="1" dirty="0">
                          <a:effectLst/>
                        </a:rPr>
                        <a:t>Stratejik ve Öncelikli Sektörlerdeki İşletmeler</a:t>
                      </a:r>
                      <a:endParaRPr lang="tr-TR"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tr-TR"/>
                    </a:p>
                  </a:txBody>
                  <a:tcPr/>
                </a:tc>
                <a:tc vMerge="1">
                  <a:txBody>
                    <a:bodyPr/>
                    <a:lstStyle/>
                    <a:p>
                      <a:endParaRPr lang="tr-TR"/>
                    </a:p>
                  </a:txBody>
                  <a:tcPr/>
                </a:tc>
                <a:extLst>
                  <a:ext uri="{0D108BD9-81ED-4DB2-BD59-A6C34878D82A}">
                    <a16:rowId xmlns:a16="http://schemas.microsoft.com/office/drawing/2014/main" val="490612707"/>
                  </a:ext>
                </a:extLst>
              </a:tr>
              <a:tr h="451423">
                <a:tc vMerge="1">
                  <a:txBody>
                    <a:bodyPr/>
                    <a:lstStyle/>
                    <a:p>
                      <a:endParaRPr lang="tr-TR"/>
                    </a:p>
                  </a:txBody>
                  <a:tcPr/>
                </a:tc>
                <a:tc>
                  <a:txBody>
                    <a:bodyPr/>
                    <a:lstStyle/>
                    <a:p>
                      <a:pPr algn="ctr">
                        <a:lnSpc>
                          <a:spcPct val="115000"/>
                        </a:lnSpc>
                        <a:spcAft>
                          <a:spcPts val="600"/>
                        </a:spcAft>
                      </a:pPr>
                      <a:r>
                        <a:rPr lang="tr-TR" sz="1400" dirty="0">
                          <a:effectLst/>
                        </a:rPr>
                        <a:t>Kredi Üst Limiti</a:t>
                      </a:r>
                      <a:endParaRPr lang="tr-T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tr-TR" sz="1400" dirty="0">
                          <a:effectLst/>
                        </a:rPr>
                        <a:t>Destek Puanı</a:t>
                      </a:r>
                      <a:endParaRPr lang="tr-T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15000"/>
                        </a:lnSpc>
                        <a:spcAft>
                          <a:spcPts val="600"/>
                        </a:spcAft>
                      </a:pPr>
                      <a:r>
                        <a:rPr lang="tr-TR" sz="1400">
                          <a:effectLst/>
                        </a:rPr>
                        <a:t>Kredi Üst Limiti</a:t>
                      </a:r>
                      <a:endParaRPr lang="tr-TR"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tr-TR" sz="1400">
                          <a:effectLst/>
                        </a:rPr>
                        <a:t>Destek Puanı</a:t>
                      </a:r>
                      <a:endParaRPr lang="tr-TR" sz="14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tc vMerge="1">
                  <a:txBody>
                    <a:bodyPr/>
                    <a:lstStyle/>
                    <a:p>
                      <a:endParaRPr lang="tr-TR"/>
                    </a:p>
                  </a:txBody>
                  <a:tcPr/>
                </a:tc>
                <a:extLst>
                  <a:ext uri="{0D108BD9-81ED-4DB2-BD59-A6C34878D82A}">
                    <a16:rowId xmlns:a16="http://schemas.microsoft.com/office/drawing/2014/main" val="2046867942"/>
                  </a:ext>
                </a:extLst>
              </a:tr>
              <a:tr h="450288">
                <a:tc>
                  <a:txBody>
                    <a:bodyPr/>
                    <a:lstStyle/>
                    <a:p>
                      <a:pPr>
                        <a:lnSpc>
                          <a:spcPct val="115000"/>
                        </a:lnSpc>
                        <a:spcAft>
                          <a:spcPts val="600"/>
                        </a:spcAft>
                      </a:pPr>
                      <a:r>
                        <a:rPr lang="tr-TR" sz="1400" dirty="0">
                          <a:effectLst/>
                        </a:rPr>
                        <a:t>İşletme Kredisi</a:t>
                      </a:r>
                      <a:endParaRPr lang="tr-T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ctr">
                        <a:lnSpc>
                          <a:spcPct val="115000"/>
                        </a:lnSpc>
                        <a:spcAft>
                          <a:spcPts val="600"/>
                        </a:spcAft>
                      </a:pPr>
                      <a:r>
                        <a:rPr lang="tr-TR" sz="1600" dirty="0">
                          <a:effectLst/>
                        </a:rPr>
                        <a:t>50.000 TL*</a:t>
                      </a:r>
                      <a:endParaRPr lang="tr-TR"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ctr">
                        <a:lnSpc>
                          <a:spcPct val="115000"/>
                        </a:lnSpc>
                        <a:spcAft>
                          <a:spcPts val="600"/>
                        </a:spcAft>
                      </a:pPr>
                      <a:r>
                        <a:rPr lang="tr-TR" sz="1600" u="none" dirty="0">
                          <a:effectLst/>
                        </a:rPr>
                        <a:t>10 puan</a:t>
                      </a:r>
                      <a:endParaRPr lang="tr-TR" sz="1600" u="none"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tc rowSpan="2">
                  <a:txBody>
                    <a:bodyPr/>
                    <a:lstStyle/>
                    <a:p>
                      <a:pPr algn="ctr">
                        <a:lnSpc>
                          <a:spcPct val="115000"/>
                        </a:lnSpc>
                        <a:spcAft>
                          <a:spcPts val="600"/>
                        </a:spcAft>
                      </a:pPr>
                      <a:r>
                        <a:rPr lang="tr-TR" sz="1600" u="none" dirty="0" smtClean="0">
                          <a:effectLst/>
                        </a:rPr>
                        <a:t>500.000 </a:t>
                      </a:r>
                      <a:r>
                        <a:rPr lang="tr-TR" sz="1600" u="none" dirty="0">
                          <a:effectLst/>
                        </a:rPr>
                        <a:t>TL</a:t>
                      </a:r>
                      <a:endParaRPr lang="tr-TR" sz="1600" u="none"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tc rowSpan="2">
                  <a:txBody>
                    <a:bodyPr/>
                    <a:lstStyle/>
                    <a:p>
                      <a:pPr algn="ctr">
                        <a:lnSpc>
                          <a:spcPct val="115000"/>
                        </a:lnSpc>
                        <a:spcAft>
                          <a:spcPts val="600"/>
                        </a:spcAft>
                      </a:pPr>
                      <a:r>
                        <a:rPr lang="tr-TR" sz="1600" u="none" dirty="0">
                          <a:effectLst/>
                        </a:rPr>
                        <a:t>12 </a:t>
                      </a:r>
                      <a:r>
                        <a:rPr lang="tr-TR" sz="1600" u="none" dirty="0" smtClean="0">
                          <a:effectLst/>
                        </a:rPr>
                        <a:t>puan**</a:t>
                      </a:r>
                      <a:endParaRPr lang="tr-TR" sz="1600" u="none"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15000"/>
                        </a:lnSpc>
                        <a:spcAft>
                          <a:spcPts val="600"/>
                        </a:spcAft>
                      </a:pPr>
                      <a:r>
                        <a:rPr lang="tr-TR" sz="1400">
                          <a:effectLst/>
                        </a:rPr>
                        <a:t>18 Ay</a:t>
                      </a:r>
                      <a:endParaRPr lang="tr-TR"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103927800"/>
                  </a:ext>
                </a:extLst>
              </a:tr>
              <a:tr h="450288">
                <a:tc>
                  <a:txBody>
                    <a:bodyPr/>
                    <a:lstStyle/>
                    <a:p>
                      <a:pPr>
                        <a:lnSpc>
                          <a:spcPct val="115000"/>
                        </a:lnSpc>
                        <a:spcAft>
                          <a:spcPts val="600"/>
                        </a:spcAft>
                      </a:pPr>
                      <a:r>
                        <a:rPr lang="tr-TR" sz="1400">
                          <a:effectLst/>
                        </a:rPr>
                        <a:t>Makine Teçhizat Kredisi</a:t>
                      </a:r>
                      <a:endParaRPr lang="tr-TR"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vMerge="1">
                  <a:txBody>
                    <a:bodyPr/>
                    <a:lstStyle/>
                    <a:p>
                      <a:endParaRPr lang="tr-TR"/>
                    </a:p>
                  </a:txBody>
                  <a:tcPr/>
                </a:tc>
                <a:tc vMerge="1">
                  <a:txBody>
                    <a:bodyPr/>
                    <a:lstStyle/>
                    <a:p>
                      <a:endParaRPr lang="tr-TR"/>
                    </a:p>
                  </a:txBody>
                  <a:tcPr/>
                </a:tc>
                <a:tc vMerge="1">
                  <a:txBody>
                    <a:bodyPr/>
                    <a:lstStyle/>
                    <a:p>
                      <a:endParaRPr lang="tr-TR"/>
                    </a:p>
                  </a:txBody>
                  <a:tcPr/>
                </a:tc>
                <a:tc vMerge="1">
                  <a:txBody>
                    <a:bodyPr/>
                    <a:lstStyle/>
                    <a:p>
                      <a:endParaRPr lang="tr-TR"/>
                    </a:p>
                  </a:txBody>
                  <a:tcPr/>
                </a:tc>
                <a:tc>
                  <a:txBody>
                    <a:bodyPr/>
                    <a:lstStyle/>
                    <a:p>
                      <a:pPr algn="ctr">
                        <a:lnSpc>
                          <a:spcPct val="115000"/>
                        </a:lnSpc>
                        <a:spcAft>
                          <a:spcPts val="600"/>
                        </a:spcAft>
                      </a:pPr>
                      <a:r>
                        <a:rPr lang="tr-TR" sz="1400">
                          <a:effectLst/>
                        </a:rPr>
                        <a:t>36 Ay</a:t>
                      </a:r>
                      <a:endParaRPr lang="tr-TR"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311707856"/>
                  </a:ext>
                </a:extLst>
              </a:tr>
              <a:tr h="668514">
                <a:tc>
                  <a:txBody>
                    <a:bodyPr/>
                    <a:lstStyle/>
                    <a:p>
                      <a:pPr>
                        <a:lnSpc>
                          <a:spcPct val="115000"/>
                        </a:lnSpc>
                        <a:spcAft>
                          <a:spcPts val="600"/>
                        </a:spcAft>
                      </a:pPr>
                      <a:r>
                        <a:rPr lang="tr-TR" sz="1400" dirty="0">
                          <a:effectLst/>
                        </a:rPr>
                        <a:t>Acil Destek Kredisi</a:t>
                      </a:r>
                      <a:endParaRPr lang="tr-T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4">
                  <a:txBody>
                    <a:bodyPr/>
                    <a:lstStyle/>
                    <a:p>
                      <a:pPr algn="ctr">
                        <a:lnSpc>
                          <a:spcPct val="115000"/>
                        </a:lnSpc>
                        <a:spcAft>
                          <a:spcPts val="0"/>
                        </a:spcAft>
                      </a:pPr>
                      <a:r>
                        <a:rPr lang="tr-TR" sz="1400" dirty="0">
                          <a:effectLst/>
                        </a:rPr>
                        <a:t>Destek kapsamı, üst limiti ve oranı </a:t>
                      </a:r>
                      <a:r>
                        <a:rPr lang="tr-TR" sz="1400" u="none" dirty="0">
                          <a:effectLst/>
                        </a:rPr>
                        <a:t>İcra Komitesi Başkanı tarafından </a:t>
                      </a:r>
                      <a:r>
                        <a:rPr lang="tr-TR" sz="1400" dirty="0">
                          <a:effectLst/>
                        </a:rPr>
                        <a:t>belirlenir</a:t>
                      </a:r>
                      <a:r>
                        <a:rPr lang="tr-TR" sz="1400" dirty="0" smtClean="0">
                          <a:effectLst/>
                        </a:rPr>
                        <a:t>.***</a:t>
                      </a:r>
                      <a:endParaRPr lang="tr-T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tr-TR"/>
                    </a:p>
                  </a:txBody>
                  <a:tcPr/>
                </a:tc>
                <a:tc hMerge="1">
                  <a:txBody>
                    <a:bodyPr/>
                    <a:lstStyle/>
                    <a:p>
                      <a:endParaRPr lang="tr-TR"/>
                    </a:p>
                  </a:txBody>
                  <a:tcPr/>
                </a:tc>
                <a:tc hMerge="1">
                  <a:txBody>
                    <a:bodyPr/>
                    <a:lstStyle/>
                    <a:p>
                      <a:endParaRPr lang="tr-TR"/>
                    </a:p>
                  </a:txBody>
                  <a:tcPr/>
                </a:tc>
                <a:tc>
                  <a:txBody>
                    <a:bodyPr/>
                    <a:lstStyle/>
                    <a:p>
                      <a:pPr algn="ctr">
                        <a:lnSpc>
                          <a:spcPct val="115000"/>
                        </a:lnSpc>
                        <a:spcAft>
                          <a:spcPts val="600"/>
                        </a:spcAft>
                      </a:pPr>
                      <a:r>
                        <a:rPr lang="tr-TR" sz="1400" dirty="0">
                          <a:effectLst/>
                        </a:rPr>
                        <a:t>36 Ay</a:t>
                      </a:r>
                      <a:endParaRPr lang="tr-T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50097373"/>
                  </a:ext>
                </a:extLst>
              </a:tr>
            </a:tbl>
          </a:graphicData>
        </a:graphic>
      </p:graphicFrame>
    </p:spTree>
    <p:extLst>
      <p:ext uri="{BB962C8B-B14F-4D97-AF65-F5344CB8AC3E}">
        <p14:creationId xmlns:p14="http://schemas.microsoft.com/office/powerpoint/2010/main" val="479241398"/>
      </p:ext>
    </p:extLst>
  </p:cSld>
  <p:clrMapOvr>
    <a:masterClrMapping/>
  </p:clrMapOvr>
  <p:transition spd="slow">
    <p:cover/>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3C7F8354-A1F7-4AE7-90D5-B3C2BAB3B60B}" type="slidenum">
              <a:rPr lang="tr-TR">
                <a:solidFill>
                  <a:prstClr val="black">
                    <a:tint val="75000"/>
                  </a:prstClr>
                </a:solidFill>
                <a:latin typeface="Calibri"/>
              </a:rPr>
              <a:pPr>
                <a:defRPr/>
              </a:pPr>
              <a:t>113</a:t>
            </a:fld>
            <a:endParaRPr lang="tr-TR" dirty="0">
              <a:solidFill>
                <a:prstClr val="black">
                  <a:tint val="75000"/>
                </a:prstClr>
              </a:solidFill>
              <a:latin typeface="Calibri"/>
            </a:endParaRPr>
          </a:p>
        </p:txBody>
      </p:sp>
      <p:sp>
        <p:nvSpPr>
          <p:cNvPr id="6" name="Başlık 1"/>
          <p:cNvSpPr>
            <a:spLocks noGrp="1"/>
          </p:cNvSpPr>
          <p:nvPr>
            <p:ph type="title"/>
          </p:nvPr>
        </p:nvSpPr>
        <p:spPr>
          <a:xfrm>
            <a:off x="1981200" y="44625"/>
            <a:ext cx="8229600" cy="850106"/>
          </a:xfrm>
        </p:spPr>
        <p:txBody>
          <a:bodyPr>
            <a:normAutofit/>
          </a:bodyPr>
          <a:lstStyle/>
          <a:p>
            <a:r>
              <a:rPr lang="tr-TR" sz="2800" b="1" dirty="0">
                <a:solidFill>
                  <a:srgbClr val="005F6E"/>
                </a:solidFill>
                <a:effectLst>
                  <a:outerShdw blurRad="38100" dist="38100" dir="2700000" algn="tl">
                    <a:srgbClr val="000000">
                      <a:alpha val="43137"/>
                    </a:srgbClr>
                  </a:outerShdw>
                </a:effectLst>
                <a:latin typeface="+mn-lt"/>
                <a:ea typeface="+mn-ea"/>
                <a:cs typeface="+mn-cs"/>
              </a:rPr>
              <a:t>Devam Eden </a:t>
            </a:r>
            <a:r>
              <a:rPr lang="tr-TR" sz="2800" b="1" dirty="0" smtClean="0">
                <a:solidFill>
                  <a:srgbClr val="005F6E"/>
                </a:solidFill>
                <a:effectLst>
                  <a:outerShdw blurRad="38100" dist="38100" dir="2700000" algn="tl">
                    <a:srgbClr val="000000">
                      <a:alpha val="43137"/>
                    </a:srgbClr>
                  </a:outerShdw>
                </a:effectLst>
                <a:latin typeface="+mn-lt"/>
                <a:ea typeface="+mn-ea"/>
                <a:cs typeface="+mn-cs"/>
              </a:rPr>
              <a:t>Acil Destek Programları</a:t>
            </a:r>
            <a:endParaRPr lang="tr-TR" sz="2800" b="1" dirty="0">
              <a:solidFill>
                <a:srgbClr val="005F6E"/>
              </a:solidFill>
              <a:effectLst>
                <a:outerShdw blurRad="38100" dist="38100" dir="2700000" algn="tl">
                  <a:srgbClr val="000000">
                    <a:alpha val="43137"/>
                  </a:srgbClr>
                </a:outerShdw>
              </a:effectLst>
              <a:latin typeface="+mn-lt"/>
              <a:ea typeface="+mn-ea"/>
              <a:cs typeface="+mn-cs"/>
            </a:endParaRPr>
          </a:p>
        </p:txBody>
      </p:sp>
      <p:sp>
        <p:nvSpPr>
          <p:cNvPr id="7" name="İçerik Yer Tutucusu 2"/>
          <p:cNvSpPr txBox="1">
            <a:spLocks/>
          </p:cNvSpPr>
          <p:nvPr/>
        </p:nvSpPr>
        <p:spPr bwMode="auto">
          <a:xfrm>
            <a:off x="1981200" y="1268761"/>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Aft>
                <a:spcPts val="600"/>
              </a:spcAft>
            </a:pPr>
            <a:r>
              <a:rPr lang="tr-TR" sz="2000" b="1" dirty="0">
                <a:solidFill>
                  <a:srgbClr val="F79646">
                    <a:lumMod val="75000"/>
                  </a:srgbClr>
                </a:solidFill>
                <a:latin typeface="Calibri"/>
              </a:rPr>
              <a:t>Rize İli Çayeli İlçesi ve Giresun İli Acil Destek Kredisi Programı </a:t>
            </a:r>
          </a:p>
          <a:p>
            <a:pPr marL="0" indent="0" algn="just">
              <a:spcAft>
                <a:spcPts val="600"/>
              </a:spcAft>
              <a:buNone/>
            </a:pPr>
            <a:r>
              <a:rPr lang="tr-TR" sz="2000" dirty="0">
                <a:solidFill>
                  <a:srgbClr val="002060"/>
                </a:solidFill>
                <a:latin typeface="Calibri"/>
              </a:rPr>
              <a:t>      </a:t>
            </a:r>
          </a:p>
          <a:p>
            <a:pPr marL="0" indent="0" algn="just">
              <a:spcAft>
                <a:spcPts val="600"/>
              </a:spcAft>
              <a:buNone/>
            </a:pPr>
            <a:endParaRPr lang="tr-TR" sz="2000" dirty="0">
              <a:solidFill>
                <a:srgbClr val="002060"/>
              </a:solidFill>
              <a:latin typeface="Calibri"/>
            </a:endParaRPr>
          </a:p>
          <a:p>
            <a:pPr marL="0" indent="0" algn="just">
              <a:spcAft>
                <a:spcPts val="600"/>
              </a:spcAft>
              <a:buNone/>
            </a:pPr>
            <a:endParaRPr lang="tr-TR" sz="2000" dirty="0">
              <a:solidFill>
                <a:srgbClr val="002060"/>
              </a:solidFill>
              <a:latin typeface="Calibri"/>
            </a:endParaRPr>
          </a:p>
          <a:p>
            <a:pPr algn="just">
              <a:spcAft>
                <a:spcPts val="600"/>
              </a:spcAft>
            </a:pPr>
            <a:r>
              <a:rPr lang="tr-TR" sz="2000" b="1" dirty="0">
                <a:solidFill>
                  <a:srgbClr val="F79646">
                    <a:lumMod val="75000"/>
                  </a:srgbClr>
                </a:solidFill>
                <a:latin typeface="Calibri"/>
              </a:rPr>
              <a:t>İzmir İli Acil Destek Kredisi Programı</a:t>
            </a:r>
          </a:p>
          <a:p>
            <a:pPr algn="just">
              <a:spcAft>
                <a:spcPts val="600"/>
              </a:spcAft>
            </a:pPr>
            <a:endParaRPr lang="tr-TR" sz="2000" b="1" dirty="0">
              <a:solidFill>
                <a:srgbClr val="002060"/>
              </a:solidFill>
              <a:latin typeface="Calibri"/>
            </a:endParaRPr>
          </a:p>
          <a:p>
            <a:pPr algn="just">
              <a:spcAft>
                <a:spcPts val="600"/>
              </a:spcAft>
            </a:pPr>
            <a:endParaRPr lang="tr-TR" sz="2000" b="1" dirty="0">
              <a:solidFill>
                <a:srgbClr val="002060"/>
              </a:solidFill>
              <a:latin typeface="Calibri"/>
            </a:endParaRPr>
          </a:p>
          <a:p>
            <a:pPr algn="just">
              <a:spcAft>
                <a:spcPts val="600"/>
              </a:spcAft>
            </a:pPr>
            <a:endParaRPr lang="tr-TR" sz="2000" b="1" dirty="0">
              <a:solidFill>
                <a:srgbClr val="002060"/>
              </a:solidFill>
              <a:latin typeface="Calibri"/>
            </a:endParaRPr>
          </a:p>
          <a:p>
            <a:pPr algn="just">
              <a:spcAft>
                <a:spcPts val="600"/>
              </a:spcAft>
            </a:pPr>
            <a:r>
              <a:rPr lang="tr-TR" sz="2000" b="1" dirty="0">
                <a:solidFill>
                  <a:srgbClr val="F79646">
                    <a:lumMod val="75000"/>
                  </a:srgbClr>
                </a:solidFill>
                <a:latin typeface="Calibri"/>
              </a:rPr>
              <a:t>Trabzon İli Yomra İlçesi Acil Destek Kredisi Programı</a:t>
            </a:r>
          </a:p>
          <a:p>
            <a:pPr algn="just">
              <a:spcAft>
                <a:spcPts val="600"/>
              </a:spcAft>
            </a:pPr>
            <a:endParaRPr lang="tr-TR" sz="2000" dirty="0">
              <a:solidFill>
                <a:srgbClr val="002060"/>
              </a:solidFill>
              <a:latin typeface="Calibri"/>
            </a:endParaRPr>
          </a:p>
          <a:p>
            <a:pPr marL="0" indent="0" algn="just">
              <a:spcAft>
                <a:spcPts val="600"/>
              </a:spcAft>
              <a:buNone/>
            </a:pPr>
            <a:endParaRPr lang="tr-TR" sz="2000" dirty="0">
              <a:solidFill>
                <a:srgbClr val="002060"/>
              </a:solidFill>
              <a:latin typeface="Calibri"/>
            </a:endParaRPr>
          </a:p>
          <a:p>
            <a:pPr marL="0" indent="0" algn="just">
              <a:spcAft>
                <a:spcPts val="600"/>
              </a:spcAft>
              <a:buNone/>
            </a:pPr>
            <a:endParaRPr lang="tr-TR" sz="2000" dirty="0">
              <a:solidFill>
                <a:srgbClr val="002060"/>
              </a:solidFill>
              <a:latin typeface="Calibri"/>
            </a:endParaRPr>
          </a:p>
        </p:txBody>
      </p:sp>
      <p:graphicFrame>
        <p:nvGraphicFramePr>
          <p:cNvPr id="3" name="Tablo 2"/>
          <p:cNvGraphicFramePr>
            <a:graphicFrameLocks noGrp="1"/>
          </p:cNvGraphicFramePr>
          <p:nvPr>
            <p:extLst/>
          </p:nvPr>
        </p:nvGraphicFramePr>
        <p:xfrm>
          <a:off x="2187704" y="1700808"/>
          <a:ext cx="7920880" cy="1011490"/>
        </p:xfrm>
        <a:graphic>
          <a:graphicData uri="http://schemas.openxmlformats.org/drawingml/2006/table">
            <a:tbl>
              <a:tblPr firstRow="1" bandRow="1">
                <a:tableStyleId>{5C22544A-7EE6-4342-B048-85BDC9FD1C3A}</a:tableStyleId>
              </a:tblPr>
              <a:tblGrid>
                <a:gridCol w="2448272">
                  <a:extLst>
                    <a:ext uri="{9D8B030D-6E8A-4147-A177-3AD203B41FA5}">
                      <a16:colId xmlns:a16="http://schemas.microsoft.com/office/drawing/2014/main" val="2110399762"/>
                    </a:ext>
                  </a:extLst>
                </a:gridCol>
                <a:gridCol w="2808312">
                  <a:extLst>
                    <a:ext uri="{9D8B030D-6E8A-4147-A177-3AD203B41FA5}">
                      <a16:colId xmlns:a16="http://schemas.microsoft.com/office/drawing/2014/main" val="3866191803"/>
                    </a:ext>
                  </a:extLst>
                </a:gridCol>
                <a:gridCol w="2664296">
                  <a:extLst>
                    <a:ext uri="{9D8B030D-6E8A-4147-A177-3AD203B41FA5}">
                      <a16:colId xmlns:a16="http://schemas.microsoft.com/office/drawing/2014/main" val="4054644418"/>
                    </a:ext>
                  </a:extLst>
                </a:gridCol>
              </a:tblGrid>
              <a:tr h="462850">
                <a:tc>
                  <a:txBody>
                    <a:bodyPr/>
                    <a:lstStyle/>
                    <a:p>
                      <a:pPr algn="ctr">
                        <a:lnSpc>
                          <a:spcPct val="106000"/>
                        </a:lnSpc>
                        <a:spcAft>
                          <a:spcPts val="600"/>
                        </a:spcAft>
                      </a:pPr>
                      <a:r>
                        <a:rPr lang="tr-TR" sz="1600" kern="1200" dirty="0" smtClean="0">
                          <a:effectLst/>
                        </a:rPr>
                        <a:t>Yararlanan İşletme</a:t>
                      </a:r>
                    </a:p>
                  </a:txBody>
                  <a:tcPr marL="8890" marR="8890" marT="8890" marB="0" anchor="ctr"/>
                </a:tc>
                <a:tc>
                  <a:txBody>
                    <a:bodyPr/>
                    <a:lstStyle/>
                    <a:p>
                      <a:pPr algn="ctr">
                        <a:lnSpc>
                          <a:spcPct val="106000"/>
                        </a:lnSpc>
                        <a:spcAft>
                          <a:spcPts val="600"/>
                        </a:spcAft>
                      </a:pPr>
                      <a:r>
                        <a:rPr lang="tr-TR" sz="1600" kern="1200" dirty="0" smtClean="0">
                          <a:effectLst/>
                        </a:rPr>
                        <a:t>Kredi Hacmi (TL)</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tc>
                <a:tc>
                  <a:txBody>
                    <a:bodyPr/>
                    <a:lstStyle/>
                    <a:p>
                      <a:pPr algn="ctr">
                        <a:lnSpc>
                          <a:spcPct val="106000"/>
                        </a:lnSpc>
                        <a:spcAft>
                          <a:spcPts val="600"/>
                        </a:spcAft>
                      </a:pPr>
                      <a:r>
                        <a:rPr lang="tr-TR" sz="1600" kern="1200" dirty="0">
                          <a:effectLst/>
                        </a:rPr>
                        <a:t>Destek Tutarı (TL)</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extLst>
                  <a:ext uri="{0D108BD9-81ED-4DB2-BD59-A6C34878D82A}">
                    <a16:rowId xmlns:a16="http://schemas.microsoft.com/office/drawing/2014/main" val="1589971405"/>
                  </a:ext>
                </a:extLst>
              </a:tr>
              <a:tr h="395013">
                <a:tc>
                  <a:txBody>
                    <a:bodyPr/>
                    <a:lstStyle/>
                    <a:p>
                      <a:pPr algn="ctr">
                        <a:lnSpc>
                          <a:spcPct val="150000"/>
                        </a:lnSpc>
                        <a:spcAft>
                          <a:spcPts val="0"/>
                        </a:spcAft>
                      </a:pPr>
                      <a:r>
                        <a:rPr lang="tr-TR" sz="2000" dirty="0" smtClean="0">
                          <a:effectLst/>
                          <a:latin typeface="+mn-lt"/>
                          <a:ea typeface="Calibri" panose="020F0502020204030204" pitchFamily="34" charset="0"/>
                          <a:cs typeface="Times New Roman" panose="02020603050405020304" pitchFamily="18" charset="0"/>
                        </a:rPr>
                        <a:t> 142   </a:t>
                      </a:r>
                    </a:p>
                  </a:txBody>
                  <a:tcPr/>
                </a:tc>
                <a:tc>
                  <a:txBody>
                    <a:bodyPr/>
                    <a:lstStyle/>
                    <a:p>
                      <a:pPr algn="ctr">
                        <a:lnSpc>
                          <a:spcPct val="150000"/>
                        </a:lnSpc>
                        <a:spcAft>
                          <a:spcPts val="0"/>
                        </a:spcAft>
                      </a:pPr>
                      <a:r>
                        <a:rPr lang="tr-TR" sz="2000" dirty="0" smtClean="0">
                          <a:effectLst/>
                          <a:latin typeface="+mn-lt"/>
                          <a:ea typeface="Calibri" panose="020F0502020204030204" pitchFamily="34" charset="0"/>
                          <a:cs typeface="Times New Roman" panose="02020603050405020304" pitchFamily="18" charset="0"/>
                        </a:rPr>
                        <a:t>12.519.500</a:t>
                      </a:r>
                    </a:p>
                  </a:txBody>
                  <a:tcPr/>
                </a:tc>
                <a:tc>
                  <a:txBody>
                    <a:bodyPr/>
                    <a:lstStyle/>
                    <a:p>
                      <a:pPr algn="ctr">
                        <a:lnSpc>
                          <a:spcPct val="150000"/>
                        </a:lnSpc>
                        <a:spcAft>
                          <a:spcPts val="0"/>
                        </a:spcAft>
                      </a:pPr>
                      <a:r>
                        <a:rPr lang="tr-TR" sz="2000" dirty="0" smtClean="0">
                          <a:effectLst/>
                          <a:latin typeface="+mn-lt"/>
                          <a:ea typeface="Calibri" panose="020F0502020204030204" pitchFamily="34" charset="0"/>
                          <a:cs typeface="Times New Roman" panose="02020603050405020304" pitchFamily="18" charset="0"/>
                        </a:rPr>
                        <a:t> 2.754.290  </a:t>
                      </a:r>
                    </a:p>
                  </a:txBody>
                  <a:tcPr marL="0" marR="0" marT="0" marB="0"/>
                </a:tc>
                <a:extLst>
                  <a:ext uri="{0D108BD9-81ED-4DB2-BD59-A6C34878D82A}">
                    <a16:rowId xmlns:a16="http://schemas.microsoft.com/office/drawing/2014/main" val="1583235035"/>
                  </a:ext>
                </a:extLst>
              </a:tr>
            </a:tbl>
          </a:graphicData>
        </a:graphic>
      </p:graphicFrame>
      <p:graphicFrame>
        <p:nvGraphicFramePr>
          <p:cNvPr id="8" name="Tablo 7"/>
          <p:cNvGraphicFramePr>
            <a:graphicFrameLocks noGrp="1"/>
          </p:cNvGraphicFramePr>
          <p:nvPr>
            <p:extLst/>
          </p:nvPr>
        </p:nvGraphicFramePr>
        <p:xfrm>
          <a:off x="2135560" y="3429001"/>
          <a:ext cx="7920880" cy="926155"/>
        </p:xfrm>
        <a:graphic>
          <a:graphicData uri="http://schemas.openxmlformats.org/drawingml/2006/table">
            <a:tbl>
              <a:tblPr firstRow="1" bandRow="1">
                <a:tableStyleId>{5C22544A-7EE6-4342-B048-85BDC9FD1C3A}</a:tableStyleId>
              </a:tblPr>
              <a:tblGrid>
                <a:gridCol w="2448272">
                  <a:extLst>
                    <a:ext uri="{9D8B030D-6E8A-4147-A177-3AD203B41FA5}">
                      <a16:colId xmlns:a16="http://schemas.microsoft.com/office/drawing/2014/main" val="2110399762"/>
                    </a:ext>
                  </a:extLst>
                </a:gridCol>
                <a:gridCol w="2808312">
                  <a:extLst>
                    <a:ext uri="{9D8B030D-6E8A-4147-A177-3AD203B41FA5}">
                      <a16:colId xmlns:a16="http://schemas.microsoft.com/office/drawing/2014/main" val="3866191803"/>
                    </a:ext>
                  </a:extLst>
                </a:gridCol>
                <a:gridCol w="2664296">
                  <a:extLst>
                    <a:ext uri="{9D8B030D-6E8A-4147-A177-3AD203B41FA5}">
                      <a16:colId xmlns:a16="http://schemas.microsoft.com/office/drawing/2014/main" val="4054644418"/>
                    </a:ext>
                  </a:extLst>
                </a:gridCol>
              </a:tblGrid>
              <a:tr h="377515">
                <a:tc>
                  <a:txBody>
                    <a:bodyPr/>
                    <a:lstStyle/>
                    <a:p>
                      <a:pPr algn="ctr">
                        <a:lnSpc>
                          <a:spcPct val="106000"/>
                        </a:lnSpc>
                        <a:spcAft>
                          <a:spcPts val="600"/>
                        </a:spcAft>
                      </a:pPr>
                      <a:r>
                        <a:rPr lang="tr-TR" sz="1600" kern="1200" dirty="0" smtClean="0">
                          <a:effectLst/>
                        </a:rPr>
                        <a:t>Yararlanan İşletme</a:t>
                      </a:r>
                    </a:p>
                  </a:txBody>
                  <a:tcPr marL="8890" marR="8890" marT="8890" marB="0" anchor="ctr"/>
                </a:tc>
                <a:tc>
                  <a:txBody>
                    <a:bodyPr/>
                    <a:lstStyle/>
                    <a:p>
                      <a:pPr algn="ctr">
                        <a:lnSpc>
                          <a:spcPct val="106000"/>
                        </a:lnSpc>
                        <a:spcAft>
                          <a:spcPts val="600"/>
                        </a:spcAft>
                      </a:pPr>
                      <a:r>
                        <a:rPr lang="tr-TR" sz="1600" kern="1200" dirty="0" smtClean="0">
                          <a:effectLst/>
                        </a:rPr>
                        <a:t>Kredi Hacmi (TL)</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tc>
                <a:tc>
                  <a:txBody>
                    <a:bodyPr/>
                    <a:lstStyle/>
                    <a:p>
                      <a:pPr algn="ctr">
                        <a:lnSpc>
                          <a:spcPct val="106000"/>
                        </a:lnSpc>
                        <a:spcAft>
                          <a:spcPts val="600"/>
                        </a:spcAft>
                      </a:pPr>
                      <a:r>
                        <a:rPr lang="tr-TR" sz="1600" kern="1200" dirty="0">
                          <a:effectLst/>
                        </a:rPr>
                        <a:t>Destek Tutarı (TL)</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extLst>
                  <a:ext uri="{0D108BD9-81ED-4DB2-BD59-A6C34878D82A}">
                    <a16:rowId xmlns:a16="http://schemas.microsoft.com/office/drawing/2014/main" val="1589971405"/>
                  </a:ext>
                </a:extLst>
              </a:tr>
              <a:tr h="395013">
                <a:tc>
                  <a:txBody>
                    <a:bodyPr/>
                    <a:lstStyle/>
                    <a:p>
                      <a:pPr algn="ctr">
                        <a:lnSpc>
                          <a:spcPct val="150000"/>
                        </a:lnSpc>
                        <a:spcAft>
                          <a:spcPts val="0"/>
                        </a:spcAft>
                      </a:pPr>
                      <a:r>
                        <a:rPr lang="tr-TR" sz="2000" dirty="0" smtClean="0">
                          <a:effectLst/>
                          <a:latin typeface="+mn-lt"/>
                          <a:ea typeface="Calibri" panose="020F0502020204030204" pitchFamily="34" charset="0"/>
                          <a:cs typeface="Times New Roman" panose="02020603050405020304" pitchFamily="18" charset="0"/>
                        </a:rPr>
                        <a:t> 148   </a:t>
                      </a:r>
                    </a:p>
                  </a:txBody>
                  <a:tcPr/>
                </a:tc>
                <a:tc>
                  <a:txBody>
                    <a:bodyPr/>
                    <a:lstStyle/>
                    <a:p>
                      <a:pPr algn="ctr">
                        <a:lnSpc>
                          <a:spcPct val="150000"/>
                        </a:lnSpc>
                        <a:spcAft>
                          <a:spcPts val="0"/>
                        </a:spcAft>
                      </a:pPr>
                      <a:r>
                        <a:rPr lang="tr-TR" sz="2000" dirty="0" smtClean="0">
                          <a:effectLst/>
                          <a:latin typeface="+mn-lt"/>
                          <a:ea typeface="Calibri" panose="020F0502020204030204" pitchFamily="34" charset="0"/>
                          <a:cs typeface="Times New Roman" panose="02020603050405020304" pitchFamily="18" charset="0"/>
                        </a:rPr>
                        <a:t>4.096.494 </a:t>
                      </a:r>
                    </a:p>
                  </a:txBody>
                  <a:tcPr/>
                </a:tc>
                <a:tc>
                  <a:txBody>
                    <a:bodyPr/>
                    <a:lstStyle/>
                    <a:p>
                      <a:pPr algn="ctr">
                        <a:lnSpc>
                          <a:spcPct val="150000"/>
                        </a:lnSpc>
                        <a:spcAft>
                          <a:spcPts val="0"/>
                        </a:spcAft>
                      </a:pPr>
                      <a:r>
                        <a:rPr lang="tr-TR" sz="2000" dirty="0" smtClean="0">
                          <a:effectLst/>
                          <a:latin typeface="+mn-lt"/>
                          <a:ea typeface="Calibri" panose="020F0502020204030204" pitchFamily="34" charset="0"/>
                          <a:cs typeface="Times New Roman" panose="02020603050405020304" pitchFamily="18" charset="0"/>
                        </a:rPr>
                        <a:t>4.096.494   </a:t>
                      </a:r>
                    </a:p>
                  </a:txBody>
                  <a:tcPr marL="0" marR="0" marT="0" marB="0"/>
                </a:tc>
                <a:extLst>
                  <a:ext uri="{0D108BD9-81ED-4DB2-BD59-A6C34878D82A}">
                    <a16:rowId xmlns:a16="http://schemas.microsoft.com/office/drawing/2014/main" val="1583235035"/>
                  </a:ext>
                </a:extLst>
              </a:tr>
            </a:tbl>
          </a:graphicData>
        </a:graphic>
      </p:graphicFrame>
      <p:graphicFrame>
        <p:nvGraphicFramePr>
          <p:cNvPr id="2" name="Tablo 1"/>
          <p:cNvGraphicFramePr>
            <a:graphicFrameLocks noGrp="1"/>
          </p:cNvGraphicFramePr>
          <p:nvPr>
            <p:extLst/>
          </p:nvPr>
        </p:nvGraphicFramePr>
        <p:xfrm>
          <a:off x="2135561" y="5241277"/>
          <a:ext cx="7920879" cy="834578"/>
        </p:xfrm>
        <a:graphic>
          <a:graphicData uri="http://schemas.openxmlformats.org/drawingml/2006/table">
            <a:tbl>
              <a:tblPr firstRow="1" bandRow="1">
                <a:tableStyleId>{5C22544A-7EE6-4342-B048-85BDC9FD1C3A}</a:tableStyleId>
              </a:tblPr>
              <a:tblGrid>
                <a:gridCol w="2640293">
                  <a:extLst>
                    <a:ext uri="{9D8B030D-6E8A-4147-A177-3AD203B41FA5}">
                      <a16:colId xmlns:a16="http://schemas.microsoft.com/office/drawing/2014/main" val="151760989"/>
                    </a:ext>
                  </a:extLst>
                </a:gridCol>
                <a:gridCol w="2640293">
                  <a:extLst>
                    <a:ext uri="{9D8B030D-6E8A-4147-A177-3AD203B41FA5}">
                      <a16:colId xmlns:a16="http://schemas.microsoft.com/office/drawing/2014/main" val="2399707755"/>
                    </a:ext>
                  </a:extLst>
                </a:gridCol>
                <a:gridCol w="2640293">
                  <a:extLst>
                    <a:ext uri="{9D8B030D-6E8A-4147-A177-3AD203B41FA5}">
                      <a16:colId xmlns:a16="http://schemas.microsoft.com/office/drawing/2014/main" val="3652666929"/>
                    </a:ext>
                  </a:extLst>
                </a:gridCol>
              </a:tblGrid>
              <a:tr h="4172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600" b="1" kern="1200" dirty="0" smtClean="0">
                          <a:solidFill>
                            <a:schemeClr val="lt1"/>
                          </a:solidFill>
                          <a:effectLst/>
                          <a:latin typeface="+mn-lt"/>
                          <a:ea typeface="+mn-ea"/>
                          <a:cs typeface="+mn-cs"/>
                        </a:rPr>
                        <a:t>Yararlanan İşletme</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600" b="1" kern="1200" dirty="0" smtClean="0">
                          <a:solidFill>
                            <a:schemeClr val="lt1"/>
                          </a:solidFill>
                          <a:effectLst/>
                          <a:latin typeface="+mn-lt"/>
                          <a:ea typeface="+mn-ea"/>
                          <a:cs typeface="+mn-cs"/>
                        </a:rPr>
                        <a:t>Kredi Hacmi (TL)</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600" b="1" kern="1200" dirty="0" smtClean="0">
                          <a:solidFill>
                            <a:schemeClr val="lt1"/>
                          </a:solidFill>
                          <a:effectLst/>
                          <a:latin typeface="+mn-lt"/>
                          <a:ea typeface="+mn-ea"/>
                          <a:cs typeface="+mn-cs"/>
                        </a:rPr>
                        <a:t>Destek Tutarı (TL)</a:t>
                      </a:r>
                    </a:p>
                  </a:txBody>
                  <a:tcPr/>
                </a:tc>
                <a:extLst>
                  <a:ext uri="{0D108BD9-81ED-4DB2-BD59-A6C34878D82A}">
                    <a16:rowId xmlns:a16="http://schemas.microsoft.com/office/drawing/2014/main" val="3570393453"/>
                  </a:ext>
                </a:extLst>
              </a:tr>
              <a:tr h="417289">
                <a:tc>
                  <a:txBody>
                    <a:bodyPr/>
                    <a:lstStyle/>
                    <a:p>
                      <a:pPr algn="ctr"/>
                      <a:r>
                        <a:rPr lang="tr-TR" sz="2000" kern="1200" dirty="0" smtClean="0">
                          <a:solidFill>
                            <a:schemeClr val="dk1"/>
                          </a:solidFill>
                          <a:effectLst/>
                          <a:latin typeface="+mn-lt"/>
                          <a:ea typeface="Calibri" panose="020F0502020204030204" pitchFamily="34" charset="0"/>
                          <a:cs typeface="Times New Roman" panose="02020603050405020304" pitchFamily="18" charset="0"/>
                        </a:rPr>
                        <a:t> 2  </a:t>
                      </a:r>
                      <a:endParaRPr lang="tr-TR" sz="2000" kern="1200" dirty="0">
                        <a:solidFill>
                          <a:schemeClr val="dk1"/>
                        </a:solidFill>
                        <a:effectLst/>
                        <a:latin typeface="+mn-lt"/>
                        <a:ea typeface="Calibri" panose="020F0502020204030204" pitchFamily="34" charset="0"/>
                        <a:cs typeface="Times New Roman" panose="02020603050405020304" pitchFamily="18" charset="0"/>
                      </a:endParaRPr>
                    </a:p>
                  </a:txBody>
                  <a:tcPr/>
                </a:tc>
                <a:tc>
                  <a:txBody>
                    <a:bodyPr/>
                    <a:lstStyle/>
                    <a:p>
                      <a:pPr algn="ctr"/>
                      <a:r>
                        <a:rPr lang="tr-TR" sz="2000" kern="1200" dirty="0" smtClean="0">
                          <a:solidFill>
                            <a:schemeClr val="dk1"/>
                          </a:solidFill>
                          <a:effectLst/>
                          <a:latin typeface="+mn-lt"/>
                          <a:ea typeface="Calibri" panose="020F0502020204030204" pitchFamily="34" charset="0"/>
                          <a:cs typeface="Times New Roman" panose="02020603050405020304" pitchFamily="18" charset="0"/>
                        </a:rPr>
                        <a:t>180.000	</a:t>
                      </a:r>
                      <a:endParaRPr lang="tr-TR" sz="2000" kern="1200" dirty="0">
                        <a:solidFill>
                          <a:schemeClr val="dk1"/>
                        </a:solidFill>
                        <a:effectLst/>
                        <a:latin typeface="+mn-lt"/>
                        <a:ea typeface="Calibri" panose="020F0502020204030204" pitchFamily="34" charset="0"/>
                        <a:cs typeface="Times New Roman" panose="02020603050405020304" pitchFamily="18" charset="0"/>
                      </a:endParaRPr>
                    </a:p>
                  </a:txBody>
                  <a:tcPr/>
                </a:tc>
                <a:tc>
                  <a:txBody>
                    <a:bodyPr/>
                    <a:lstStyle/>
                    <a:p>
                      <a:pPr algn="ctr"/>
                      <a:r>
                        <a:rPr lang="tr-TR" sz="2000" kern="1200" dirty="0" smtClean="0">
                          <a:solidFill>
                            <a:schemeClr val="dk1"/>
                          </a:solidFill>
                          <a:effectLst/>
                          <a:latin typeface="+mn-lt"/>
                          <a:ea typeface="Calibri" panose="020F0502020204030204" pitchFamily="34" charset="0"/>
                          <a:cs typeface="Times New Roman" panose="02020603050405020304" pitchFamily="18" charset="0"/>
                        </a:rPr>
                        <a:t> 52.760   </a:t>
                      </a:r>
                      <a:endParaRPr lang="tr-TR" sz="2000" kern="1200" dirty="0">
                        <a:solidFill>
                          <a:schemeClr val="dk1"/>
                        </a:solidFill>
                        <a:effectLst/>
                        <a:latin typeface="+mn-lt"/>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val="1440029260"/>
                  </a:ext>
                </a:extLst>
              </a:tr>
            </a:tbl>
          </a:graphicData>
        </a:graphic>
      </p:graphicFrame>
    </p:spTree>
    <p:extLst>
      <p:ext uri="{BB962C8B-B14F-4D97-AF65-F5344CB8AC3E}">
        <p14:creationId xmlns:p14="http://schemas.microsoft.com/office/powerpoint/2010/main" val="1059916953"/>
      </p:ext>
    </p:extLst>
  </p:cSld>
  <p:clrMapOvr>
    <a:masterClrMapping/>
  </p:clrMapOvr>
  <p:transition spd="slow">
    <p:cover/>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3C7F8354-A1F7-4AE7-90D5-B3C2BAB3B60B}" type="slidenum">
              <a:rPr lang="tr-TR">
                <a:solidFill>
                  <a:prstClr val="black">
                    <a:tint val="75000"/>
                  </a:prstClr>
                </a:solidFill>
                <a:latin typeface="Calibri"/>
              </a:rPr>
              <a:pPr>
                <a:defRPr/>
              </a:pPr>
              <a:t>114</a:t>
            </a:fld>
            <a:endParaRPr lang="tr-TR" dirty="0">
              <a:solidFill>
                <a:prstClr val="black">
                  <a:tint val="75000"/>
                </a:prstClr>
              </a:solidFill>
              <a:latin typeface="Calibri"/>
            </a:endParaRPr>
          </a:p>
        </p:txBody>
      </p:sp>
      <p:grpSp>
        <p:nvGrpSpPr>
          <p:cNvPr id="7" name="Grup 6"/>
          <p:cNvGrpSpPr/>
          <p:nvPr/>
        </p:nvGrpSpPr>
        <p:grpSpPr>
          <a:xfrm>
            <a:off x="2883078" y="804942"/>
            <a:ext cx="7473209" cy="3520483"/>
            <a:chOff x="1132765" y="0"/>
            <a:chExt cx="4891559" cy="2634711"/>
          </a:xfrm>
        </p:grpSpPr>
        <p:cxnSp>
          <p:nvCxnSpPr>
            <p:cNvPr id="8" name="Düz Ok Bağlayıcısı 7"/>
            <p:cNvCxnSpPr/>
            <p:nvPr/>
          </p:nvCxnSpPr>
          <p:spPr>
            <a:xfrm>
              <a:off x="3194903" y="2071613"/>
              <a:ext cx="1337654" cy="0"/>
            </a:xfrm>
            <a:prstGeom prst="straightConnector1">
              <a:avLst/>
            </a:prstGeom>
            <a:ln w="12700">
              <a:headEnd type="stealth"/>
              <a:tailEnd type="stealth"/>
            </a:ln>
          </p:spPr>
          <p:style>
            <a:lnRef idx="1">
              <a:schemeClr val="accent1"/>
            </a:lnRef>
            <a:fillRef idx="0">
              <a:schemeClr val="accent1"/>
            </a:fillRef>
            <a:effectRef idx="0">
              <a:schemeClr val="accent1"/>
            </a:effectRef>
            <a:fontRef idx="minor">
              <a:schemeClr val="tx1"/>
            </a:fontRef>
          </p:style>
        </p:cxnSp>
        <p:grpSp>
          <p:nvGrpSpPr>
            <p:cNvPr id="9" name="Grup 8"/>
            <p:cNvGrpSpPr/>
            <p:nvPr/>
          </p:nvGrpSpPr>
          <p:grpSpPr>
            <a:xfrm>
              <a:off x="1132765" y="0"/>
              <a:ext cx="4891559" cy="2634711"/>
              <a:chOff x="1132765" y="0"/>
              <a:chExt cx="4891559" cy="2634711"/>
            </a:xfrm>
          </p:grpSpPr>
          <p:cxnSp>
            <p:nvCxnSpPr>
              <p:cNvPr id="10" name="Düz Ok Bağlayıcısı 9"/>
              <p:cNvCxnSpPr/>
              <p:nvPr/>
            </p:nvCxnSpPr>
            <p:spPr>
              <a:xfrm flipH="1">
                <a:off x="2180035" y="426475"/>
                <a:ext cx="3606" cy="136207"/>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sp>
            <p:nvSpPr>
              <p:cNvPr id="11" name="Metin Kutusu 20">
                <a:hlinkClick r:id="" action="ppaction://noaction"/>
              </p:cNvPr>
              <p:cNvSpPr txBox="1"/>
              <p:nvPr/>
            </p:nvSpPr>
            <p:spPr>
              <a:xfrm>
                <a:off x="1132765" y="582857"/>
                <a:ext cx="2094541" cy="551884"/>
              </a:xfrm>
              <a:prstGeom prst="flowChartProcess">
                <a:avLst/>
              </a:prstGeom>
              <a:solidFill>
                <a:srgbClr val="00B0F0"/>
              </a:solidFill>
              <a:ln w="9525">
                <a:solidFill>
                  <a:srgbClr val="000000"/>
                </a:solidFill>
                <a:miter lim="800000"/>
                <a:headEnd/>
                <a:tailEnd/>
              </a:ln>
              <a:scene3d>
                <a:camera prst="orthographicFront"/>
                <a:lightRig rig="threePt" dir="t"/>
              </a:scene3d>
              <a:sp3d>
                <a:bevelT w="152400" h="50800" prst="softRound"/>
              </a:sp3d>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tr-TR" sz="2000" b="1" dirty="0">
                    <a:solidFill>
                      <a:prstClr val="black"/>
                    </a:solidFill>
                    <a:latin typeface="Calibri Light" panose="020F0302020204030204"/>
                    <a:ea typeface="Calibri"/>
                  </a:rPr>
                  <a:t>KOSGEB Veri Tabanına Kayıt</a:t>
                </a:r>
                <a:endParaRPr lang="tr-TR" sz="1200" b="1" dirty="0">
                  <a:solidFill>
                    <a:prstClr val="black"/>
                  </a:solidFill>
                  <a:latin typeface="Calibri Light" panose="020F0302020204030204"/>
                  <a:ea typeface="Times New Roman"/>
                </a:endParaRPr>
              </a:p>
            </p:txBody>
          </p:sp>
          <p:sp>
            <p:nvSpPr>
              <p:cNvPr id="12" name="Metin Kutusu 31">
                <a:hlinkClick r:id="" action="ppaction://noaction"/>
              </p:cNvPr>
              <p:cNvSpPr txBox="1"/>
              <p:nvPr/>
            </p:nvSpPr>
            <p:spPr>
              <a:xfrm>
                <a:off x="1132765" y="0"/>
                <a:ext cx="2094541" cy="402590"/>
              </a:xfrm>
              <a:prstGeom prst="flowChartProcess">
                <a:avLst/>
              </a:prstGeom>
              <a:solidFill>
                <a:srgbClr val="EACE68"/>
              </a:solidFill>
              <a:ln w="9525">
                <a:solidFill>
                  <a:srgbClr val="000000"/>
                </a:solidFill>
                <a:miter lim="800000"/>
                <a:headEnd/>
                <a:tailEnd/>
              </a:ln>
              <a:scene3d>
                <a:camera prst="orthographicFront"/>
                <a:lightRig rig="threePt" dir="t"/>
              </a:scene3d>
              <a:sp3d>
                <a:bevelT w="152400" h="50800" prst="softRound"/>
              </a:sp3d>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tr-TR" sz="2000" b="1" dirty="0">
                    <a:solidFill>
                      <a:prstClr val="black"/>
                    </a:solidFill>
                    <a:latin typeface="Calibri"/>
                    <a:ea typeface="Calibri"/>
                  </a:rPr>
                  <a:t>KOBİ </a:t>
                </a:r>
              </a:p>
            </p:txBody>
          </p:sp>
          <p:sp>
            <p:nvSpPr>
              <p:cNvPr id="13" name="Metin Kutusu 20">
                <a:hlinkClick r:id="" action="ppaction://noaction"/>
              </p:cNvPr>
              <p:cNvSpPr txBox="1"/>
              <p:nvPr/>
            </p:nvSpPr>
            <p:spPr>
              <a:xfrm>
                <a:off x="1132765" y="1313563"/>
                <a:ext cx="2080895" cy="450215"/>
              </a:xfrm>
              <a:prstGeom prst="flowChartProcess">
                <a:avLst/>
              </a:prstGeom>
              <a:solidFill>
                <a:schemeClr val="accent1">
                  <a:lumMod val="40000"/>
                  <a:lumOff val="60000"/>
                </a:schemeClr>
              </a:solidFill>
              <a:ln w="9525">
                <a:solidFill>
                  <a:srgbClr val="000000"/>
                </a:solidFill>
                <a:prstDash val="solid"/>
                <a:miter lim="800000"/>
                <a:headEnd/>
                <a:tailEnd/>
              </a:ln>
              <a:scene3d>
                <a:camera prst="orthographicFront"/>
                <a:lightRig rig="threePt" dir="t"/>
              </a:scene3d>
              <a:sp3d>
                <a:bevelT/>
              </a:sp3d>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tr-TR" sz="2000" b="1" dirty="0">
                    <a:solidFill>
                      <a:prstClr val="black"/>
                    </a:solidFill>
                    <a:latin typeface="Calibri"/>
                    <a:ea typeface="Calibri"/>
                  </a:rPr>
                  <a:t>Yazılım Sistemi</a:t>
                </a:r>
              </a:p>
            </p:txBody>
          </p:sp>
          <p:sp>
            <p:nvSpPr>
              <p:cNvPr id="16" name="Metin Kutusu 20">
                <a:hlinkClick r:id="" action="ppaction://noaction"/>
              </p:cNvPr>
              <p:cNvSpPr txBox="1"/>
              <p:nvPr/>
            </p:nvSpPr>
            <p:spPr>
              <a:xfrm>
                <a:off x="4532557" y="1972381"/>
                <a:ext cx="1491767" cy="662330"/>
              </a:xfrm>
              <a:prstGeom prst="flowChartProcess">
                <a:avLst/>
              </a:prstGeom>
              <a:solidFill>
                <a:schemeClr val="accent1">
                  <a:lumMod val="40000"/>
                  <a:lumOff val="60000"/>
                </a:schemeClr>
              </a:solidFill>
              <a:ln w="9525">
                <a:solidFill>
                  <a:srgbClr val="000000"/>
                </a:solidFill>
                <a:prstDash val="solid"/>
                <a:miter lim="800000"/>
                <a:headEnd/>
                <a:tailEnd/>
              </a:ln>
              <a:scene3d>
                <a:camera prst="orthographicFront"/>
                <a:lightRig rig="threePt" dir="t"/>
              </a:scene3d>
              <a:sp3d>
                <a:bevelT/>
              </a:sp3d>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pPr>
                <a:r>
                  <a:rPr lang="tr-TR" sz="2000" b="1" dirty="0">
                    <a:solidFill>
                      <a:prstClr val="black"/>
                    </a:solidFill>
                    <a:latin typeface="Calibri"/>
                    <a:ea typeface="Calibri"/>
                  </a:rPr>
                  <a:t>Sınıflandırma</a:t>
                </a:r>
              </a:p>
              <a:p>
                <a:pPr algn="ctr">
                  <a:lnSpc>
                    <a:spcPct val="115000"/>
                  </a:lnSpc>
                </a:pPr>
                <a:r>
                  <a:rPr lang="tr-TR" sz="1400" dirty="0">
                    <a:solidFill>
                      <a:prstClr val="black"/>
                    </a:solidFill>
                    <a:latin typeface="Calibri"/>
                    <a:ea typeface="Calibri"/>
                  </a:rPr>
                  <a:t>(İşletme Türü ve Destek Oranı Belirleme)</a:t>
                </a:r>
                <a:endParaRPr lang="tr-TR" sz="1400" dirty="0">
                  <a:solidFill>
                    <a:prstClr val="black"/>
                  </a:solidFill>
                  <a:latin typeface="Times New Roman"/>
                  <a:ea typeface="Times New Roman"/>
                </a:endParaRPr>
              </a:p>
            </p:txBody>
          </p:sp>
        </p:grpSp>
      </p:grpSp>
      <p:cxnSp>
        <p:nvCxnSpPr>
          <p:cNvPr id="27" name="Düz Ok Bağlayıcısı 26"/>
          <p:cNvCxnSpPr/>
          <p:nvPr/>
        </p:nvCxnSpPr>
        <p:spPr>
          <a:xfrm>
            <a:off x="4443992" y="2348880"/>
            <a:ext cx="0" cy="211234"/>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sp>
        <p:nvSpPr>
          <p:cNvPr id="28" name="Metin Kutusu 2">
            <a:hlinkClick r:id="" action="ppaction://noaction"/>
          </p:cNvPr>
          <p:cNvSpPr txBox="1">
            <a:spLocks noChangeArrowheads="1"/>
          </p:cNvSpPr>
          <p:nvPr/>
        </p:nvSpPr>
        <p:spPr bwMode="auto">
          <a:xfrm>
            <a:off x="2412359" y="5128333"/>
            <a:ext cx="2592288" cy="912178"/>
          </a:xfrm>
          <a:prstGeom prst="flowChartDecision">
            <a:avLst/>
          </a:prstGeom>
          <a:solidFill>
            <a:schemeClr val="bg2">
              <a:lumMod val="90000"/>
            </a:schemeClr>
          </a:solidFill>
          <a:ln w="9525">
            <a:solidFill>
              <a:srgbClr val="000000"/>
            </a:solidFill>
            <a:miter lim="800000"/>
            <a:headEnd/>
            <a:tailEnd/>
          </a:ln>
          <a:scene3d>
            <a:camera prst="orthographicFront"/>
            <a:lightRig rig="threePt" dir="t"/>
          </a:scene3d>
          <a:sp3d>
            <a:bevelT w="152400" h="50800" prst="softRound"/>
          </a:sp3d>
        </p:spPr>
        <p:txBody>
          <a:bodyPr rot="0" vert="horz" wrap="square" lIns="91440" tIns="45720" rIns="91440" bIns="45720" anchor="t" anchorCtr="0">
            <a:noAutofit/>
          </a:bodyPr>
          <a:lstStyle/>
          <a:p>
            <a:pPr algn="ctr">
              <a:lnSpc>
                <a:spcPct val="115000"/>
              </a:lnSpc>
              <a:spcAft>
                <a:spcPts val="1000"/>
              </a:spcAft>
            </a:pPr>
            <a:r>
              <a:rPr lang="tr-TR" sz="1400" b="1" dirty="0">
                <a:solidFill>
                  <a:srgbClr val="000000"/>
                </a:solidFill>
                <a:latin typeface="Calibri"/>
                <a:ea typeface="Calibri"/>
              </a:rPr>
              <a:t>BANKA</a:t>
            </a:r>
            <a:r>
              <a:rPr lang="tr-TR" sz="1400" dirty="0">
                <a:solidFill>
                  <a:srgbClr val="000000"/>
                </a:solidFill>
                <a:latin typeface="Calibri"/>
                <a:ea typeface="Calibri"/>
              </a:rPr>
              <a:t> Değerlendirme</a:t>
            </a:r>
            <a:endParaRPr lang="tr-TR" sz="1400" dirty="0">
              <a:solidFill>
                <a:prstClr val="black"/>
              </a:solidFill>
              <a:latin typeface="Calibri"/>
              <a:ea typeface="Times New Roman"/>
            </a:endParaRPr>
          </a:p>
        </p:txBody>
      </p:sp>
      <p:sp>
        <p:nvSpPr>
          <p:cNvPr id="29" name="Metin Kutusu 302"/>
          <p:cNvSpPr txBox="1"/>
          <p:nvPr/>
        </p:nvSpPr>
        <p:spPr>
          <a:xfrm>
            <a:off x="3865798" y="6199133"/>
            <a:ext cx="640465" cy="288118"/>
          </a:xfrm>
          <a:prstGeom prst="rect">
            <a:avLst/>
          </a:prstGeom>
          <a:solidFill>
            <a:srgbClr val="FFFF00"/>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tr-TR" sz="1100" b="1" dirty="0">
                <a:solidFill>
                  <a:srgbClr val="00B050"/>
                </a:solidFill>
                <a:latin typeface="Times New Roman"/>
                <a:ea typeface="Calibri"/>
              </a:rPr>
              <a:t>ONAY</a:t>
            </a:r>
            <a:r>
              <a:rPr lang="tr-TR" sz="1100" b="1" dirty="0">
                <a:solidFill>
                  <a:srgbClr val="FF0000"/>
                </a:solidFill>
                <a:latin typeface="Times New Roman"/>
                <a:ea typeface="Calibri"/>
              </a:rPr>
              <a:t>         </a:t>
            </a:r>
            <a:endParaRPr lang="tr-TR" sz="1100" b="1" dirty="0">
              <a:solidFill>
                <a:srgbClr val="FF0000"/>
              </a:solidFill>
              <a:latin typeface="Times New Roman"/>
              <a:ea typeface="Times New Roman"/>
            </a:endParaRPr>
          </a:p>
        </p:txBody>
      </p:sp>
      <p:sp>
        <p:nvSpPr>
          <p:cNvPr id="30" name="Metin Kutusu 31">
            <a:hlinkClick r:id="" action="ppaction://noaction"/>
          </p:cNvPr>
          <p:cNvSpPr txBox="1"/>
          <p:nvPr/>
        </p:nvSpPr>
        <p:spPr>
          <a:xfrm>
            <a:off x="2854421" y="3429000"/>
            <a:ext cx="3179143" cy="477766"/>
          </a:xfrm>
          <a:prstGeom prst="flowChartProcess">
            <a:avLst/>
          </a:prstGeom>
          <a:solidFill>
            <a:srgbClr val="EACE68"/>
          </a:solidFill>
          <a:ln w="9525">
            <a:solidFill>
              <a:srgbClr val="000000"/>
            </a:solidFill>
            <a:miter lim="800000"/>
            <a:headEnd/>
            <a:tailEnd/>
          </a:ln>
          <a:scene3d>
            <a:camera prst="orthographicFront"/>
            <a:lightRig rig="threePt" dir="t"/>
          </a:scene3d>
          <a:sp3d>
            <a:bevelT w="152400" h="50800" prst="softRound"/>
          </a:sp3d>
        </p:spPr>
        <p:txBody>
          <a:bodyPr rot="0" spcFirstLastPara="0" vert="horz" wrap="square" lIns="91440" tIns="45720" rIns="91440" bIns="45720" numCol="1" spcCol="0" rtlCol="0" fromWordArt="0" anchor="t" anchorCtr="0" forceAA="0" compatLnSpc="1">
            <a:prstTxWarp prst="textNoShape">
              <a:avLst/>
            </a:prstTxWarp>
            <a:noAutofit/>
          </a:bodyPr>
          <a:lstStyle/>
          <a:p>
            <a:pPr algn="ctr"/>
            <a:r>
              <a:rPr lang="tr-TR" sz="1400" b="1" dirty="0">
                <a:solidFill>
                  <a:srgbClr val="000000"/>
                </a:solidFill>
                <a:latin typeface="Calibri"/>
                <a:ea typeface="Calibri"/>
              </a:rPr>
              <a:t>KOBİ </a:t>
            </a:r>
            <a:endParaRPr lang="tr-TR" sz="1400" dirty="0">
              <a:solidFill>
                <a:prstClr val="black"/>
              </a:solidFill>
              <a:latin typeface="Calibri"/>
              <a:ea typeface="Times New Roman"/>
            </a:endParaRPr>
          </a:p>
          <a:p>
            <a:pPr algn="ctr"/>
            <a:r>
              <a:rPr lang="tr-TR" sz="1400" dirty="0">
                <a:solidFill>
                  <a:srgbClr val="000000"/>
                </a:solidFill>
                <a:latin typeface="Calibri"/>
                <a:ea typeface="Calibri"/>
              </a:rPr>
              <a:t>Başvuru </a:t>
            </a:r>
            <a:endParaRPr lang="tr-TR" sz="1400" dirty="0">
              <a:solidFill>
                <a:prstClr val="black"/>
              </a:solidFill>
              <a:latin typeface="Calibri"/>
              <a:ea typeface="Times New Roman"/>
            </a:endParaRPr>
          </a:p>
        </p:txBody>
      </p:sp>
      <p:sp>
        <p:nvSpPr>
          <p:cNvPr id="32" name="Metin Kutusu 302"/>
          <p:cNvSpPr txBox="1"/>
          <p:nvPr/>
        </p:nvSpPr>
        <p:spPr>
          <a:xfrm>
            <a:off x="2229567" y="4951064"/>
            <a:ext cx="599216" cy="288118"/>
          </a:xfrm>
          <a:prstGeom prst="rect">
            <a:avLst/>
          </a:prstGeom>
          <a:solidFill>
            <a:srgbClr val="FFFF00"/>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tr-TR" sz="1100" b="1" dirty="0">
                <a:solidFill>
                  <a:srgbClr val="FF0000"/>
                </a:solidFill>
                <a:latin typeface="Times New Roman"/>
                <a:ea typeface="Calibri"/>
              </a:rPr>
              <a:t>RED        </a:t>
            </a:r>
            <a:endParaRPr lang="tr-TR" b="1" dirty="0">
              <a:solidFill>
                <a:srgbClr val="FF0000"/>
              </a:solidFill>
              <a:latin typeface="Times New Roman"/>
              <a:ea typeface="Times New Roman"/>
            </a:endParaRPr>
          </a:p>
        </p:txBody>
      </p:sp>
      <p:cxnSp>
        <p:nvCxnSpPr>
          <p:cNvPr id="36" name="Düz Ok Bağlayıcısı 35"/>
          <p:cNvCxnSpPr/>
          <p:nvPr/>
        </p:nvCxnSpPr>
        <p:spPr>
          <a:xfrm>
            <a:off x="4439816" y="3145758"/>
            <a:ext cx="4176" cy="283242"/>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cxnSp>
        <p:nvCxnSpPr>
          <p:cNvPr id="44" name="Dirsek Bağlayıcısı 43"/>
          <p:cNvCxnSpPr>
            <a:stCxn id="28" idx="1"/>
            <a:endCxn id="30" idx="1"/>
          </p:cNvCxnSpPr>
          <p:nvPr/>
        </p:nvCxnSpPr>
        <p:spPr>
          <a:xfrm rot="10800000" flipH="1">
            <a:off x="2412359" y="3667885"/>
            <a:ext cx="442061" cy="1916539"/>
          </a:xfrm>
          <a:prstGeom prst="bentConnector3">
            <a:avLst>
              <a:gd name="adj1" fmla="val -51712"/>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69" name="Düz Ok Bağlayıcısı 68"/>
          <p:cNvCxnSpPr/>
          <p:nvPr/>
        </p:nvCxnSpPr>
        <p:spPr>
          <a:xfrm>
            <a:off x="9120336" y="2860902"/>
            <a:ext cx="0" cy="568098"/>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cxnSp>
        <p:nvCxnSpPr>
          <p:cNvPr id="71" name="Düz Bağlayıcı 70"/>
          <p:cNvCxnSpPr/>
          <p:nvPr/>
        </p:nvCxnSpPr>
        <p:spPr>
          <a:xfrm>
            <a:off x="6083068" y="2860902"/>
            <a:ext cx="3037268" cy="0"/>
          </a:xfrm>
          <a:prstGeom prst="line">
            <a:avLst/>
          </a:prstGeom>
        </p:spPr>
        <p:style>
          <a:lnRef idx="1">
            <a:schemeClr val="accent1"/>
          </a:lnRef>
          <a:fillRef idx="0">
            <a:schemeClr val="accent1"/>
          </a:fillRef>
          <a:effectRef idx="0">
            <a:schemeClr val="accent1"/>
          </a:effectRef>
          <a:fontRef idx="minor">
            <a:schemeClr val="tx1"/>
          </a:fontRef>
        </p:style>
      </p:cxnSp>
      <p:sp>
        <p:nvSpPr>
          <p:cNvPr id="76" name="Oval 75"/>
          <p:cNvSpPr/>
          <p:nvPr/>
        </p:nvSpPr>
        <p:spPr>
          <a:xfrm>
            <a:off x="4824886" y="5980265"/>
            <a:ext cx="360040" cy="372941"/>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50000"/>
              </a:lnSpc>
            </a:pPr>
            <a:r>
              <a:rPr lang="tr-TR" b="1" dirty="0">
                <a:solidFill>
                  <a:prstClr val="white"/>
                </a:solidFill>
                <a:latin typeface="Calibri"/>
              </a:rPr>
              <a:t>…</a:t>
            </a:r>
          </a:p>
        </p:txBody>
      </p:sp>
      <p:sp>
        <p:nvSpPr>
          <p:cNvPr id="39" name="Başlık 1"/>
          <p:cNvSpPr>
            <a:spLocks noGrp="1"/>
          </p:cNvSpPr>
          <p:nvPr>
            <p:ph type="title"/>
          </p:nvPr>
        </p:nvSpPr>
        <p:spPr>
          <a:xfrm>
            <a:off x="1524000" y="-27382"/>
            <a:ext cx="9144000" cy="856724"/>
          </a:xfrm>
        </p:spPr>
        <p:txBody>
          <a:bodyPr>
            <a:normAutofit/>
          </a:bodyPr>
          <a:lstStyle/>
          <a:p>
            <a:r>
              <a:rPr lang="tr-TR" sz="2800" b="1" dirty="0">
                <a:solidFill>
                  <a:srgbClr val="005F6E"/>
                </a:solidFill>
                <a:effectLst>
                  <a:outerShdw blurRad="38100" dist="38100" dir="2700000" algn="tl">
                    <a:srgbClr val="000000">
                      <a:alpha val="43137"/>
                    </a:srgbClr>
                  </a:outerShdw>
                </a:effectLst>
                <a:latin typeface="+mn-lt"/>
                <a:ea typeface="+mn-ea"/>
                <a:cs typeface="+mn-cs"/>
              </a:rPr>
              <a:t>İş Akışı 1/2</a:t>
            </a:r>
          </a:p>
        </p:txBody>
      </p:sp>
      <p:cxnSp>
        <p:nvCxnSpPr>
          <p:cNvPr id="41" name="Düz Bağlayıcı 40"/>
          <p:cNvCxnSpPr/>
          <p:nvPr/>
        </p:nvCxnSpPr>
        <p:spPr>
          <a:xfrm flipV="1">
            <a:off x="4436054" y="3906766"/>
            <a:ext cx="0" cy="267970"/>
          </a:xfrm>
          <a:prstGeom prst="line">
            <a:avLst/>
          </a:prstGeom>
          <a:noFill/>
          <a:ln w="12700" cap="flat" cmpd="sng" algn="ctr">
            <a:solidFill>
              <a:srgbClr val="4F81BD">
                <a:shade val="95000"/>
                <a:satMod val="105000"/>
              </a:srgbClr>
            </a:solidFill>
            <a:prstDash val="solid"/>
          </a:ln>
          <a:effectLst/>
        </p:spPr>
      </p:cxnSp>
      <p:cxnSp>
        <p:nvCxnSpPr>
          <p:cNvPr id="42" name="Düz Bağlayıcı 41"/>
          <p:cNvCxnSpPr/>
          <p:nvPr/>
        </p:nvCxnSpPr>
        <p:spPr>
          <a:xfrm flipH="1">
            <a:off x="4436054" y="4167362"/>
            <a:ext cx="1258086" cy="1985"/>
          </a:xfrm>
          <a:prstGeom prst="line">
            <a:avLst/>
          </a:prstGeom>
          <a:noFill/>
          <a:ln w="12700" cap="flat" cmpd="sng" algn="ctr">
            <a:solidFill>
              <a:srgbClr val="4F81BD">
                <a:shade val="95000"/>
                <a:satMod val="105000"/>
              </a:srgbClr>
            </a:solidFill>
            <a:prstDash val="solid"/>
          </a:ln>
          <a:effectLst/>
        </p:spPr>
      </p:cxnSp>
      <p:cxnSp>
        <p:nvCxnSpPr>
          <p:cNvPr id="49" name="Düz Bağlayıcı 48"/>
          <p:cNvCxnSpPr/>
          <p:nvPr/>
        </p:nvCxnSpPr>
        <p:spPr>
          <a:xfrm flipV="1">
            <a:off x="3708503" y="6040512"/>
            <a:ext cx="0" cy="100868"/>
          </a:xfrm>
          <a:prstGeom prst="line">
            <a:avLst/>
          </a:prstGeom>
          <a:noFill/>
          <a:ln w="12700" cap="flat" cmpd="sng" algn="ctr">
            <a:solidFill>
              <a:srgbClr val="4F81BD">
                <a:shade val="95000"/>
                <a:satMod val="105000"/>
              </a:srgbClr>
            </a:solidFill>
            <a:prstDash val="solid"/>
          </a:ln>
          <a:effectLst/>
        </p:spPr>
      </p:cxnSp>
      <p:cxnSp>
        <p:nvCxnSpPr>
          <p:cNvPr id="52" name="Düz Ok Bağlayıcısı 51"/>
          <p:cNvCxnSpPr/>
          <p:nvPr/>
        </p:nvCxnSpPr>
        <p:spPr>
          <a:xfrm>
            <a:off x="3709022" y="6141380"/>
            <a:ext cx="1090835" cy="0"/>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sp>
        <p:nvSpPr>
          <p:cNvPr id="38" name="Metin Kutusu 2">
            <a:hlinkClick r:id="" action="ppaction://noaction"/>
          </p:cNvPr>
          <p:cNvSpPr txBox="1">
            <a:spLocks noChangeArrowheads="1"/>
          </p:cNvSpPr>
          <p:nvPr/>
        </p:nvSpPr>
        <p:spPr bwMode="auto">
          <a:xfrm>
            <a:off x="4367809" y="4548221"/>
            <a:ext cx="2664296" cy="818995"/>
          </a:xfrm>
          <a:prstGeom prst="flowChartDecision">
            <a:avLst/>
          </a:prstGeom>
          <a:solidFill>
            <a:srgbClr val="00B0F0"/>
          </a:solidFill>
          <a:ln w="9525">
            <a:solidFill>
              <a:srgbClr val="000000"/>
            </a:solidFill>
            <a:miter lim="800000"/>
            <a:headEnd/>
            <a:tailEnd/>
          </a:ln>
          <a:scene3d>
            <a:camera prst="orthographicFront"/>
            <a:lightRig rig="threePt" dir="t"/>
          </a:scene3d>
          <a:sp3d>
            <a:bevelT w="152400" h="50800" prst="softRound"/>
          </a:sp3d>
        </p:spPr>
        <p:txBody>
          <a:bodyPr rot="0" vert="horz" wrap="square" lIns="91440" tIns="45720" rIns="91440" bIns="45720" anchor="t" anchorCtr="0">
            <a:noAutofit/>
          </a:bodyPr>
          <a:lstStyle/>
          <a:p>
            <a:pPr algn="ctr"/>
            <a:r>
              <a:rPr lang="tr-TR" sz="1600" b="1" dirty="0">
                <a:solidFill>
                  <a:srgbClr val="000000"/>
                </a:solidFill>
                <a:latin typeface="Calibri"/>
                <a:ea typeface="Calibri"/>
              </a:rPr>
              <a:t>KOSGEB</a:t>
            </a:r>
          </a:p>
          <a:p>
            <a:pPr algn="ctr"/>
            <a:r>
              <a:rPr lang="tr-TR" sz="1600" dirty="0">
                <a:solidFill>
                  <a:srgbClr val="000000"/>
                </a:solidFill>
                <a:latin typeface="Calibri"/>
                <a:ea typeface="Calibri"/>
              </a:rPr>
              <a:t>Uzman</a:t>
            </a:r>
          </a:p>
        </p:txBody>
      </p:sp>
      <p:cxnSp>
        <p:nvCxnSpPr>
          <p:cNvPr id="47" name="Düz Ok Bağlayıcısı 46"/>
          <p:cNvCxnSpPr>
            <a:endCxn id="38" idx="0"/>
          </p:cNvCxnSpPr>
          <p:nvPr/>
        </p:nvCxnSpPr>
        <p:spPr>
          <a:xfrm>
            <a:off x="5686405" y="4173426"/>
            <a:ext cx="13553" cy="374795"/>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sp>
        <p:nvSpPr>
          <p:cNvPr id="50" name="Metin Kutusu 302"/>
          <p:cNvSpPr txBox="1"/>
          <p:nvPr/>
        </p:nvSpPr>
        <p:spPr>
          <a:xfrm>
            <a:off x="6479691" y="4090808"/>
            <a:ext cx="599216" cy="288118"/>
          </a:xfrm>
          <a:prstGeom prst="rect">
            <a:avLst/>
          </a:prstGeom>
          <a:solidFill>
            <a:srgbClr val="FFFF00"/>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tr-TR" sz="1100" b="1" dirty="0">
                <a:solidFill>
                  <a:srgbClr val="FF0000"/>
                </a:solidFill>
                <a:latin typeface="Times New Roman"/>
                <a:ea typeface="Calibri"/>
              </a:rPr>
              <a:t>RED        </a:t>
            </a:r>
            <a:endParaRPr lang="tr-TR" b="1" dirty="0">
              <a:solidFill>
                <a:srgbClr val="FF0000"/>
              </a:solidFill>
              <a:latin typeface="Times New Roman"/>
              <a:ea typeface="Times New Roman"/>
            </a:endParaRPr>
          </a:p>
        </p:txBody>
      </p:sp>
      <p:cxnSp>
        <p:nvCxnSpPr>
          <p:cNvPr id="53" name="Dirsek Bağlayıcısı 52"/>
          <p:cNvCxnSpPr/>
          <p:nvPr/>
        </p:nvCxnSpPr>
        <p:spPr>
          <a:xfrm rot="16200000" flipV="1">
            <a:off x="5965985" y="3849912"/>
            <a:ext cx="1156975" cy="1021818"/>
          </a:xfrm>
          <a:prstGeom prst="bentConnector2">
            <a:avLst/>
          </a:prstGeom>
          <a:ln>
            <a:tailEnd type="stealth"/>
          </a:ln>
        </p:spPr>
        <p:style>
          <a:lnRef idx="1">
            <a:schemeClr val="accent1"/>
          </a:lnRef>
          <a:fillRef idx="0">
            <a:schemeClr val="accent1"/>
          </a:fillRef>
          <a:effectRef idx="0">
            <a:schemeClr val="accent1"/>
          </a:effectRef>
          <a:fontRef idx="minor">
            <a:schemeClr val="tx1"/>
          </a:fontRef>
        </p:style>
      </p:cxnSp>
      <p:sp>
        <p:nvSpPr>
          <p:cNvPr id="58" name="Metin Kutusu 302"/>
          <p:cNvSpPr txBox="1"/>
          <p:nvPr/>
        </p:nvSpPr>
        <p:spPr>
          <a:xfrm>
            <a:off x="3708503" y="4603835"/>
            <a:ext cx="640465" cy="288118"/>
          </a:xfrm>
          <a:prstGeom prst="rect">
            <a:avLst/>
          </a:prstGeom>
          <a:solidFill>
            <a:srgbClr val="FFFF00"/>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tr-TR" sz="1100" b="1" dirty="0">
                <a:solidFill>
                  <a:srgbClr val="00B050"/>
                </a:solidFill>
                <a:latin typeface="Times New Roman"/>
                <a:ea typeface="Calibri"/>
              </a:rPr>
              <a:t>ONAY</a:t>
            </a:r>
            <a:r>
              <a:rPr lang="tr-TR" sz="1100" b="1" dirty="0">
                <a:solidFill>
                  <a:srgbClr val="FF0000"/>
                </a:solidFill>
                <a:latin typeface="Times New Roman"/>
                <a:ea typeface="Calibri"/>
              </a:rPr>
              <a:t>         </a:t>
            </a:r>
            <a:endParaRPr lang="tr-TR" sz="1100" b="1" dirty="0">
              <a:solidFill>
                <a:srgbClr val="FF0000"/>
              </a:solidFill>
              <a:latin typeface="Times New Roman"/>
              <a:ea typeface="Times New Roman"/>
            </a:endParaRPr>
          </a:p>
        </p:txBody>
      </p:sp>
      <p:cxnSp>
        <p:nvCxnSpPr>
          <p:cNvPr id="35" name="Dirsek Bağlayıcısı 34"/>
          <p:cNvCxnSpPr>
            <a:endCxn id="28" idx="0"/>
          </p:cNvCxnSpPr>
          <p:nvPr/>
        </p:nvCxnSpPr>
        <p:spPr>
          <a:xfrm rot="10800000" flipV="1">
            <a:off x="3708503" y="4932655"/>
            <a:ext cx="656978" cy="195678"/>
          </a:xfrm>
          <a:prstGeom prst="bentConnector2">
            <a:avLst/>
          </a:prstGeom>
          <a:ln>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142805"/>
      </p:ext>
    </p:extLst>
  </p:cSld>
  <p:clrMapOvr>
    <a:masterClrMapping/>
  </p:clrMapOvr>
  <p:transition spd="slow">
    <p:cover/>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3C7F8354-A1F7-4AE7-90D5-B3C2BAB3B60B}" type="slidenum">
              <a:rPr lang="tr-TR">
                <a:solidFill>
                  <a:prstClr val="black">
                    <a:tint val="75000"/>
                  </a:prstClr>
                </a:solidFill>
                <a:latin typeface="Calibri"/>
              </a:rPr>
              <a:pPr>
                <a:defRPr/>
              </a:pPr>
              <a:t>115</a:t>
            </a:fld>
            <a:endParaRPr lang="tr-TR" dirty="0">
              <a:solidFill>
                <a:prstClr val="black">
                  <a:tint val="75000"/>
                </a:prstClr>
              </a:solidFill>
              <a:latin typeface="Calibri"/>
            </a:endParaRPr>
          </a:p>
        </p:txBody>
      </p:sp>
      <p:grpSp>
        <p:nvGrpSpPr>
          <p:cNvPr id="5" name="Grup 4"/>
          <p:cNvGrpSpPr/>
          <p:nvPr/>
        </p:nvGrpSpPr>
        <p:grpSpPr>
          <a:xfrm>
            <a:off x="2547285" y="1052737"/>
            <a:ext cx="7105039" cy="4941924"/>
            <a:chOff x="68238" y="242569"/>
            <a:chExt cx="5063017" cy="4011285"/>
          </a:xfrm>
        </p:grpSpPr>
        <p:cxnSp>
          <p:nvCxnSpPr>
            <p:cNvPr id="6" name="Düz Ok Bağlayıcısı 5"/>
            <p:cNvCxnSpPr/>
            <p:nvPr/>
          </p:nvCxnSpPr>
          <p:spPr>
            <a:xfrm>
              <a:off x="2518012" y="1453487"/>
              <a:ext cx="0" cy="279779"/>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grpSp>
          <p:nvGrpSpPr>
            <p:cNvPr id="11" name="Grup 10"/>
            <p:cNvGrpSpPr/>
            <p:nvPr/>
          </p:nvGrpSpPr>
          <p:grpSpPr>
            <a:xfrm>
              <a:off x="68238" y="242569"/>
              <a:ext cx="5063017" cy="4011285"/>
              <a:chOff x="68238" y="242569"/>
              <a:chExt cx="5063017" cy="4011285"/>
            </a:xfrm>
          </p:grpSpPr>
          <p:sp>
            <p:nvSpPr>
              <p:cNvPr id="16" name="Metin Kutusu 309">
                <a:hlinkClick r:id="" action="ppaction://noaction"/>
              </p:cNvPr>
              <p:cNvSpPr txBox="1"/>
              <p:nvPr/>
            </p:nvSpPr>
            <p:spPr>
              <a:xfrm>
                <a:off x="4327966" y="2402115"/>
                <a:ext cx="651537" cy="327025"/>
              </a:xfrm>
              <a:prstGeom prst="rect">
                <a:avLst/>
              </a:prstGeom>
              <a:solidFill>
                <a:srgbClr val="04AFEC"/>
              </a:solidFill>
              <a:ln w="6350">
                <a:solidFill>
                  <a:prstClr val="black"/>
                </a:solidFill>
              </a:ln>
              <a:effectLst/>
              <a:scene3d>
                <a:camera prst="orthographicFront"/>
                <a:lightRig rig="threePt" dir="t"/>
              </a:scene3d>
              <a:sp3d>
                <a:bevelT w="152400" h="50800" prst="softRound"/>
              </a:sp3d>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r>
                  <a:rPr lang="tr-TR" sz="1050" b="1" dirty="0">
                    <a:solidFill>
                      <a:srgbClr val="000000"/>
                    </a:solidFill>
                    <a:latin typeface="Calibri"/>
                    <a:ea typeface="Calibri"/>
                  </a:rPr>
                  <a:t>Faiz Desteği Ödemesi</a:t>
                </a:r>
                <a:endParaRPr lang="tr-TR" b="1" dirty="0">
                  <a:solidFill>
                    <a:prstClr val="black"/>
                  </a:solidFill>
                  <a:latin typeface="Calibri"/>
                  <a:ea typeface="Times New Roman"/>
                </a:endParaRPr>
              </a:p>
              <a:p>
                <a:r>
                  <a:rPr lang="tr-TR" sz="1050" b="1" dirty="0">
                    <a:solidFill>
                      <a:srgbClr val="000000"/>
                    </a:solidFill>
                    <a:latin typeface="Calibri"/>
                    <a:ea typeface="Times New Roman"/>
                    <a:cs typeface="Times New Roman"/>
                  </a:rPr>
                  <a:t>       </a:t>
                </a:r>
                <a:endParaRPr lang="tr-TR" b="1" dirty="0">
                  <a:solidFill>
                    <a:prstClr val="black"/>
                  </a:solidFill>
                  <a:latin typeface="Calibri"/>
                  <a:ea typeface="Times New Roman"/>
                </a:endParaRPr>
              </a:p>
            </p:txBody>
          </p:sp>
          <p:grpSp>
            <p:nvGrpSpPr>
              <p:cNvPr id="19" name="Grup 18"/>
              <p:cNvGrpSpPr/>
              <p:nvPr/>
            </p:nvGrpSpPr>
            <p:grpSpPr>
              <a:xfrm>
                <a:off x="68238" y="242569"/>
                <a:ext cx="5063017" cy="4011285"/>
                <a:chOff x="40943" y="242569"/>
                <a:chExt cx="5063017" cy="4011285"/>
              </a:xfrm>
            </p:grpSpPr>
            <p:sp>
              <p:nvSpPr>
                <p:cNvPr id="21" name="Metin Kutusu 2">
                  <a:hlinkClick r:id="" action="ppaction://noaction"/>
                </p:cNvPr>
                <p:cNvSpPr txBox="1">
                  <a:spLocks noChangeArrowheads="1"/>
                </p:cNvSpPr>
                <p:nvPr/>
              </p:nvSpPr>
              <p:spPr bwMode="auto">
                <a:xfrm>
                  <a:off x="1473958" y="702860"/>
                  <a:ext cx="2007870" cy="750627"/>
                </a:xfrm>
                <a:prstGeom prst="flowChartDecision">
                  <a:avLst/>
                </a:prstGeom>
                <a:solidFill>
                  <a:srgbClr val="00B0F0"/>
                </a:solidFill>
                <a:ln w="9525">
                  <a:solidFill>
                    <a:srgbClr val="000000"/>
                  </a:solidFill>
                  <a:miter lim="800000"/>
                  <a:headEnd/>
                  <a:tailEnd/>
                </a:ln>
                <a:scene3d>
                  <a:camera prst="orthographicFront"/>
                  <a:lightRig rig="threePt" dir="t"/>
                </a:scene3d>
                <a:sp3d>
                  <a:bevelT w="152400" h="50800" prst="softRound"/>
                </a:sp3d>
              </p:spPr>
              <p:txBody>
                <a:bodyPr rot="0" vert="horz" wrap="square" lIns="91440" tIns="45720" rIns="91440" bIns="45720" anchor="t" anchorCtr="0">
                  <a:noAutofit/>
                </a:bodyPr>
                <a:lstStyle/>
                <a:p>
                  <a:pPr algn="ctr">
                    <a:lnSpc>
                      <a:spcPct val="115000"/>
                    </a:lnSpc>
                  </a:pPr>
                  <a:r>
                    <a:rPr lang="tr-TR" sz="1600" b="1" dirty="0">
                      <a:solidFill>
                        <a:srgbClr val="000000"/>
                      </a:solidFill>
                      <a:latin typeface="Calibri"/>
                      <a:ea typeface="Calibri"/>
                    </a:rPr>
                    <a:t>KOSGEB</a:t>
                  </a:r>
                </a:p>
                <a:p>
                  <a:pPr algn="ctr">
                    <a:lnSpc>
                      <a:spcPct val="115000"/>
                    </a:lnSpc>
                  </a:pPr>
                  <a:r>
                    <a:rPr lang="tr-TR" sz="1600" dirty="0">
                      <a:solidFill>
                        <a:srgbClr val="000000"/>
                      </a:solidFill>
                      <a:latin typeface="Calibri"/>
                      <a:ea typeface="Calibri"/>
                    </a:rPr>
                    <a:t>Müdür</a:t>
                  </a:r>
                </a:p>
              </p:txBody>
            </p:sp>
            <p:sp>
              <p:nvSpPr>
                <p:cNvPr id="22" name="Metin Kutusu 302"/>
                <p:cNvSpPr txBox="1"/>
                <p:nvPr/>
              </p:nvSpPr>
              <p:spPr>
                <a:xfrm>
                  <a:off x="2573243" y="1453487"/>
                  <a:ext cx="441909" cy="185006"/>
                </a:xfrm>
                <a:prstGeom prst="rect">
                  <a:avLst/>
                </a:prstGeom>
                <a:solidFill>
                  <a:srgbClr val="FFFF00"/>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tr-TR" sz="1100" b="1" dirty="0">
                      <a:solidFill>
                        <a:srgbClr val="00B050"/>
                      </a:solidFill>
                      <a:highlight>
                        <a:srgbClr val="FFFF00"/>
                      </a:highlight>
                      <a:latin typeface="Times New Roman" panose="02020603050405020304" pitchFamily="18" charset="0"/>
                      <a:ea typeface="Calibri"/>
                      <a:cs typeface="Times New Roman" panose="02020603050405020304" pitchFamily="18" charset="0"/>
                    </a:rPr>
                    <a:t>ONAY</a:t>
                  </a:r>
                  <a:r>
                    <a:rPr lang="tr-TR" sz="1100" b="1" dirty="0">
                      <a:solidFill>
                        <a:srgbClr val="FF0000"/>
                      </a:solidFill>
                      <a:highlight>
                        <a:srgbClr val="FFFF00"/>
                      </a:highlight>
                      <a:latin typeface="Calibri"/>
                      <a:ea typeface="Calibri"/>
                    </a:rPr>
                    <a:t>   </a:t>
                  </a:r>
                  <a:r>
                    <a:rPr lang="tr-TR" sz="1100" b="1" dirty="0">
                      <a:solidFill>
                        <a:srgbClr val="FF0000"/>
                      </a:solidFill>
                      <a:latin typeface="Calibri"/>
                      <a:ea typeface="Calibri"/>
                    </a:rPr>
                    <a:t>      </a:t>
                  </a:r>
                  <a:endParaRPr lang="tr-TR" sz="1100" b="1" dirty="0">
                    <a:solidFill>
                      <a:srgbClr val="FF0000"/>
                    </a:solidFill>
                    <a:latin typeface="Calibri"/>
                    <a:ea typeface="Times New Roman"/>
                  </a:endParaRPr>
                </a:p>
              </p:txBody>
            </p:sp>
            <p:sp>
              <p:nvSpPr>
                <p:cNvPr id="23" name="Metin Kutusu 309">
                  <a:hlinkClick r:id="" action="ppaction://noaction"/>
                </p:cNvPr>
                <p:cNvSpPr txBox="1"/>
                <p:nvPr/>
              </p:nvSpPr>
              <p:spPr>
                <a:xfrm>
                  <a:off x="1849272" y="1733266"/>
                  <a:ext cx="1302461" cy="820781"/>
                </a:xfrm>
                <a:prstGeom prst="rect">
                  <a:avLst/>
                </a:prstGeom>
                <a:solidFill>
                  <a:schemeClr val="bg2">
                    <a:lumMod val="90000"/>
                  </a:schemeClr>
                </a:solidFill>
                <a:ln w="9525">
                  <a:solidFill>
                    <a:srgbClr val="000000"/>
                  </a:solidFill>
                  <a:miter lim="800000"/>
                  <a:headEnd/>
                  <a:tailEnd/>
                </a:ln>
                <a:scene3d>
                  <a:camera prst="orthographicFront"/>
                  <a:lightRig rig="threePt" dir="t"/>
                </a:scene3d>
                <a:sp3d>
                  <a:bevelT w="152400" h="50800" prst="softRound"/>
                </a:sp3d>
              </p:spPr>
              <p:txBody>
                <a:bodyPr rot="0" vert="horz" wrap="square" lIns="91440" tIns="45720" rIns="91440" bIns="45720" anchor="t" anchorCtr="0">
                  <a:noAutofit/>
                </a:bodyPr>
                <a:lstStyle/>
                <a:p>
                  <a:pPr algn="ctr">
                    <a:spcBef>
                      <a:spcPts val="600"/>
                    </a:spcBef>
                  </a:pPr>
                  <a:endParaRPr lang="tr-TR" sz="1400" b="1" dirty="0">
                    <a:solidFill>
                      <a:srgbClr val="000000"/>
                    </a:solidFill>
                    <a:latin typeface="Calibri"/>
                    <a:ea typeface="Calibri"/>
                  </a:endParaRPr>
                </a:p>
                <a:p>
                  <a:pPr algn="ctr">
                    <a:spcBef>
                      <a:spcPts val="600"/>
                    </a:spcBef>
                  </a:pPr>
                  <a:r>
                    <a:rPr lang="tr-TR" sz="1400" b="1" dirty="0">
                      <a:solidFill>
                        <a:srgbClr val="000000"/>
                      </a:solidFill>
                      <a:latin typeface="Calibri"/>
                      <a:ea typeface="Calibri"/>
                    </a:rPr>
                    <a:t>BANKA </a:t>
                  </a:r>
                  <a:endParaRPr lang="tr-TR" sz="2000" dirty="0">
                    <a:solidFill>
                      <a:prstClr val="black"/>
                    </a:solidFill>
                    <a:latin typeface="Calibri"/>
                    <a:ea typeface="Times New Roman"/>
                  </a:endParaRPr>
                </a:p>
                <a:p>
                  <a:pPr algn="ctr"/>
                  <a:r>
                    <a:rPr lang="tr-TR" sz="1400" dirty="0">
                      <a:solidFill>
                        <a:srgbClr val="000000"/>
                      </a:solidFill>
                      <a:latin typeface="Calibri"/>
                      <a:ea typeface="Calibri"/>
                    </a:rPr>
                    <a:t>Kredi Kullandırımı </a:t>
                  </a:r>
                  <a:endParaRPr lang="tr-TR" sz="2000" dirty="0">
                    <a:solidFill>
                      <a:prstClr val="black"/>
                    </a:solidFill>
                    <a:latin typeface="Calibri"/>
                    <a:ea typeface="Times New Roman"/>
                  </a:endParaRPr>
                </a:p>
                <a:p>
                  <a:r>
                    <a:rPr lang="tr-TR" sz="1400" dirty="0">
                      <a:solidFill>
                        <a:srgbClr val="000000"/>
                      </a:solidFill>
                      <a:latin typeface="Calibri"/>
                      <a:ea typeface="Times New Roman"/>
                      <a:cs typeface="Times New Roman"/>
                    </a:rPr>
                    <a:t>       </a:t>
                  </a:r>
                  <a:endParaRPr lang="tr-TR" sz="2000" dirty="0">
                    <a:solidFill>
                      <a:prstClr val="black"/>
                    </a:solidFill>
                    <a:latin typeface="Calibri"/>
                    <a:ea typeface="Times New Roman"/>
                  </a:endParaRPr>
                </a:p>
              </p:txBody>
            </p:sp>
            <p:sp>
              <p:nvSpPr>
                <p:cNvPr id="24" name="Metin Kutusu 294">
                  <a:hlinkClick r:id="" action="ppaction://noaction"/>
                </p:cNvPr>
                <p:cNvSpPr txBox="1"/>
                <p:nvPr/>
              </p:nvSpPr>
              <p:spPr>
                <a:xfrm>
                  <a:off x="1849272" y="2874770"/>
                  <a:ext cx="1302461" cy="443230"/>
                </a:xfrm>
                <a:prstGeom prst="flowChartProcess">
                  <a:avLst/>
                </a:prstGeom>
                <a:solidFill>
                  <a:srgbClr val="EACE68"/>
                </a:solidFill>
                <a:ln w="9525">
                  <a:solidFill>
                    <a:srgbClr val="000000"/>
                  </a:solidFill>
                  <a:miter lim="800000"/>
                  <a:headEnd/>
                  <a:tailEnd/>
                </a:ln>
                <a:scene3d>
                  <a:camera prst="orthographicFront"/>
                  <a:lightRig rig="threePt" dir="t"/>
                </a:scene3d>
                <a:sp3d>
                  <a:bevelT w="152400" h="50800" prst="softRound"/>
                </a:sp3d>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Bef>
                      <a:spcPts val="600"/>
                    </a:spcBef>
                  </a:pPr>
                  <a:r>
                    <a:rPr lang="tr-TR" sz="1400" b="1" dirty="0">
                      <a:solidFill>
                        <a:srgbClr val="000000"/>
                      </a:solidFill>
                      <a:latin typeface="Calibri"/>
                      <a:ea typeface="Calibri"/>
                    </a:rPr>
                    <a:t>KOBİ</a:t>
                  </a:r>
                  <a:endParaRPr lang="tr-TR" sz="1400" dirty="0">
                    <a:solidFill>
                      <a:prstClr val="black"/>
                    </a:solidFill>
                    <a:latin typeface="Calibri"/>
                    <a:ea typeface="Times New Roman"/>
                  </a:endParaRPr>
                </a:p>
                <a:p>
                  <a:pPr marL="44450" algn="ctr"/>
                  <a:r>
                    <a:rPr lang="tr-TR" sz="1400" dirty="0">
                      <a:solidFill>
                        <a:srgbClr val="222222"/>
                      </a:solidFill>
                      <a:latin typeface="Calibri"/>
                      <a:ea typeface="Times New Roman"/>
                    </a:rPr>
                    <a:t>Kredi + Faiz Ödemesi</a:t>
                  </a:r>
                  <a:endParaRPr lang="tr-TR" sz="1400" dirty="0">
                    <a:solidFill>
                      <a:prstClr val="black"/>
                    </a:solidFill>
                    <a:latin typeface="Calibri"/>
                    <a:ea typeface="Times New Roman"/>
                  </a:endParaRPr>
                </a:p>
                <a:p>
                  <a:pPr algn="ctr">
                    <a:lnSpc>
                      <a:spcPct val="115000"/>
                    </a:lnSpc>
                  </a:pPr>
                  <a:r>
                    <a:rPr lang="tr-TR" sz="1400" dirty="0">
                      <a:solidFill>
                        <a:srgbClr val="222222"/>
                      </a:solidFill>
                      <a:latin typeface="Calibri"/>
                      <a:ea typeface="Times New Roman"/>
                    </a:rPr>
                    <a:t> </a:t>
                  </a:r>
                  <a:endParaRPr lang="tr-TR" sz="1400" dirty="0">
                    <a:solidFill>
                      <a:prstClr val="black"/>
                    </a:solidFill>
                    <a:latin typeface="Calibri"/>
                    <a:ea typeface="Times New Roman"/>
                  </a:endParaRPr>
                </a:p>
                <a:p>
                  <a:pPr marL="90170"/>
                  <a:r>
                    <a:rPr lang="tr-TR" sz="1400" dirty="0">
                      <a:solidFill>
                        <a:srgbClr val="222222"/>
                      </a:solidFill>
                      <a:latin typeface="Calibri"/>
                      <a:ea typeface="Times New Roman"/>
                    </a:rPr>
                    <a:t> </a:t>
                  </a:r>
                  <a:endParaRPr lang="tr-TR" sz="1400" dirty="0">
                    <a:solidFill>
                      <a:prstClr val="black"/>
                    </a:solidFill>
                    <a:latin typeface="Calibri"/>
                    <a:ea typeface="Times New Roman"/>
                  </a:endParaRPr>
                </a:p>
              </p:txBody>
            </p:sp>
            <p:sp>
              <p:nvSpPr>
                <p:cNvPr id="25" name="Metin Kutusu 362">
                  <a:hlinkClick r:id="" action="ppaction://noaction"/>
                </p:cNvPr>
                <p:cNvSpPr txBox="1"/>
                <p:nvPr/>
              </p:nvSpPr>
              <p:spPr>
                <a:xfrm>
                  <a:off x="40943" y="1767385"/>
                  <a:ext cx="975360" cy="443249"/>
                </a:xfrm>
                <a:prstGeom prst="rect">
                  <a:avLst/>
                </a:prstGeom>
                <a:solidFill>
                  <a:srgbClr val="0078D2"/>
                </a:solidFill>
                <a:ln w="6350">
                  <a:solidFill>
                    <a:prstClr val="black"/>
                  </a:solidFill>
                </a:ln>
                <a:effectLst/>
                <a:scene3d>
                  <a:camera prst="orthographicFront"/>
                  <a:lightRig rig="threePt" dir="t"/>
                </a:scene3d>
                <a:sp3d>
                  <a:bevelT w="152400" h="50800" prst="softRound"/>
                </a:sp3d>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r>
                    <a:rPr lang="tr-TR" sz="1400" b="1" dirty="0">
                      <a:solidFill>
                        <a:prstClr val="white"/>
                      </a:solidFill>
                      <a:latin typeface="Calibri"/>
                      <a:ea typeface="Calibri"/>
                    </a:rPr>
                    <a:t>KGF</a:t>
                  </a:r>
                  <a:endParaRPr lang="tr-TR" sz="2000" dirty="0">
                    <a:solidFill>
                      <a:prstClr val="white"/>
                    </a:solidFill>
                    <a:latin typeface="Calibri"/>
                    <a:ea typeface="Times New Roman"/>
                  </a:endParaRPr>
                </a:p>
                <a:p>
                  <a:pPr algn="ctr"/>
                  <a:r>
                    <a:rPr lang="tr-TR" sz="1400" dirty="0">
                      <a:solidFill>
                        <a:prstClr val="white"/>
                      </a:solidFill>
                      <a:latin typeface="Calibri"/>
                      <a:ea typeface="Calibri"/>
                    </a:rPr>
                    <a:t> Kefalet</a:t>
                  </a:r>
                  <a:endParaRPr lang="tr-TR" sz="2000" dirty="0">
                    <a:solidFill>
                      <a:prstClr val="white"/>
                    </a:solidFill>
                    <a:latin typeface="Calibri"/>
                    <a:ea typeface="Times New Roman"/>
                  </a:endParaRPr>
                </a:p>
                <a:p>
                  <a:pPr algn="ctr">
                    <a:lnSpc>
                      <a:spcPct val="115000"/>
                    </a:lnSpc>
                  </a:pPr>
                  <a:r>
                    <a:rPr lang="tr-TR" sz="1400" dirty="0">
                      <a:solidFill>
                        <a:srgbClr val="000000"/>
                      </a:solidFill>
                      <a:latin typeface="Calibri"/>
                      <a:ea typeface="Calibri"/>
                      <a:cs typeface="Times New Roman"/>
                    </a:rPr>
                    <a:t> </a:t>
                  </a:r>
                  <a:endParaRPr lang="tr-TR" sz="2000" dirty="0">
                    <a:solidFill>
                      <a:prstClr val="black"/>
                    </a:solidFill>
                    <a:latin typeface="Calibri"/>
                    <a:ea typeface="Times New Roman"/>
                  </a:endParaRPr>
                </a:p>
              </p:txBody>
            </p:sp>
            <p:cxnSp>
              <p:nvCxnSpPr>
                <p:cNvPr id="27" name="Düz Ok Bağlayıcısı 26"/>
                <p:cNvCxnSpPr/>
                <p:nvPr/>
              </p:nvCxnSpPr>
              <p:spPr>
                <a:xfrm>
                  <a:off x="2477069" y="242569"/>
                  <a:ext cx="0" cy="460074"/>
                </a:xfrm>
                <a:prstGeom prst="straightConnector1">
                  <a:avLst/>
                </a:prstGeom>
                <a:ln w="12700">
                  <a:tailEnd type="stealth" w="lg" len="lg"/>
                </a:ln>
              </p:spPr>
              <p:style>
                <a:lnRef idx="1">
                  <a:schemeClr val="accent1"/>
                </a:lnRef>
                <a:fillRef idx="0">
                  <a:schemeClr val="accent1"/>
                </a:fillRef>
                <a:effectRef idx="0">
                  <a:schemeClr val="accent1"/>
                </a:effectRef>
                <a:fontRef idx="minor">
                  <a:schemeClr val="tx1"/>
                </a:fontRef>
              </p:style>
            </p:cxnSp>
            <p:cxnSp>
              <p:nvCxnSpPr>
                <p:cNvPr id="28" name="Düz Ok Bağlayıcısı 27"/>
                <p:cNvCxnSpPr/>
                <p:nvPr/>
              </p:nvCxnSpPr>
              <p:spPr>
                <a:xfrm>
                  <a:off x="3152633" y="1985749"/>
                  <a:ext cx="995680" cy="0"/>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sp>
              <p:nvSpPr>
                <p:cNvPr id="29" name="Metin Kutusu 302"/>
                <p:cNvSpPr txBox="1"/>
                <p:nvPr/>
              </p:nvSpPr>
              <p:spPr>
                <a:xfrm>
                  <a:off x="3595992" y="782131"/>
                  <a:ext cx="359189" cy="220259"/>
                </a:xfrm>
                <a:prstGeom prst="rect">
                  <a:avLst/>
                </a:prstGeom>
                <a:solidFill>
                  <a:srgbClr val="FFFF00"/>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tr-TR" sz="1100" b="1" dirty="0">
                      <a:solidFill>
                        <a:srgbClr val="FF0000"/>
                      </a:solidFill>
                      <a:latin typeface="Times New Roman" panose="02020603050405020304" pitchFamily="18" charset="0"/>
                      <a:ea typeface="Calibri"/>
                      <a:cs typeface="Times New Roman" panose="02020603050405020304" pitchFamily="18" charset="0"/>
                    </a:rPr>
                    <a:t>RED</a:t>
                  </a:r>
                  <a:r>
                    <a:rPr lang="tr-TR" sz="1100" b="1" dirty="0">
                      <a:solidFill>
                        <a:srgbClr val="FF0000"/>
                      </a:solidFill>
                      <a:latin typeface="Calibri"/>
                      <a:ea typeface="Calibri"/>
                    </a:rPr>
                    <a:t>        </a:t>
                  </a:r>
                  <a:endParaRPr lang="tr-TR" b="1" dirty="0">
                    <a:solidFill>
                      <a:srgbClr val="FF0000"/>
                    </a:solidFill>
                    <a:latin typeface="Calibri"/>
                    <a:ea typeface="Times New Roman"/>
                  </a:endParaRPr>
                </a:p>
              </p:txBody>
            </p:sp>
            <p:cxnSp>
              <p:nvCxnSpPr>
                <p:cNvPr id="31" name="Düz Ok Bağlayıcısı 30"/>
                <p:cNvCxnSpPr/>
                <p:nvPr/>
              </p:nvCxnSpPr>
              <p:spPr>
                <a:xfrm>
                  <a:off x="1016758" y="1985749"/>
                  <a:ext cx="831850" cy="0"/>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cxnSp>
              <p:nvCxnSpPr>
                <p:cNvPr id="32" name="Düz Ok Bağlayıcısı 31"/>
                <p:cNvCxnSpPr/>
                <p:nvPr/>
              </p:nvCxnSpPr>
              <p:spPr>
                <a:xfrm>
                  <a:off x="2497540" y="2554047"/>
                  <a:ext cx="0" cy="320723"/>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sp>
              <p:nvSpPr>
                <p:cNvPr id="33" name="Metin Kutusu 309">
                  <a:hlinkClick r:id="" action="ppaction://noaction"/>
                </p:cNvPr>
                <p:cNvSpPr txBox="1"/>
                <p:nvPr/>
              </p:nvSpPr>
              <p:spPr>
                <a:xfrm>
                  <a:off x="1848608" y="3584065"/>
                  <a:ext cx="1289685" cy="669789"/>
                </a:xfrm>
                <a:prstGeom prst="rect">
                  <a:avLst/>
                </a:prstGeom>
                <a:solidFill>
                  <a:schemeClr val="bg2">
                    <a:lumMod val="90000"/>
                  </a:schemeClr>
                </a:solidFill>
                <a:ln w="9525">
                  <a:solidFill>
                    <a:srgbClr val="000000"/>
                  </a:solidFill>
                  <a:miter lim="800000"/>
                  <a:headEnd/>
                  <a:tailEnd/>
                </a:ln>
                <a:scene3d>
                  <a:camera prst="orthographicFront"/>
                  <a:lightRig rig="threePt" dir="t"/>
                </a:scene3d>
                <a:sp3d>
                  <a:bevelT w="152400" h="50800" prst="softRound"/>
                </a:sp3d>
              </p:spPr>
              <p:txBody>
                <a:bodyPr rot="0" vert="horz" wrap="square" lIns="91440" tIns="45720" rIns="91440" bIns="45720" anchor="ctr" anchorCtr="0">
                  <a:noAutofit/>
                </a:bodyPr>
                <a:lstStyle/>
                <a:p>
                  <a:pPr algn="ctr">
                    <a:spcBef>
                      <a:spcPts val="600"/>
                    </a:spcBef>
                  </a:pPr>
                  <a:r>
                    <a:rPr lang="tr-TR" sz="1400" b="1" dirty="0">
                      <a:solidFill>
                        <a:srgbClr val="000000"/>
                      </a:solidFill>
                      <a:latin typeface="Calibri"/>
                      <a:ea typeface="Calibri"/>
                    </a:rPr>
                    <a:t>BANKA</a:t>
                  </a:r>
                </a:p>
                <a:p>
                  <a:pPr algn="ctr">
                    <a:spcBef>
                      <a:spcPts val="600"/>
                    </a:spcBef>
                  </a:pPr>
                  <a:r>
                    <a:rPr lang="tr-TR" sz="1400" dirty="0">
                      <a:solidFill>
                        <a:srgbClr val="000000"/>
                      </a:solidFill>
                      <a:latin typeface="Calibri"/>
                      <a:ea typeface="Times New Roman"/>
                    </a:rPr>
                    <a:t>Risk takibi ve taahhütlerin izlenmesi</a:t>
                  </a:r>
                  <a:endParaRPr lang="tr-TR" sz="1400" dirty="0">
                    <a:solidFill>
                      <a:prstClr val="black"/>
                    </a:solidFill>
                    <a:latin typeface="Calibri"/>
                    <a:ea typeface="Times New Roman"/>
                  </a:endParaRPr>
                </a:p>
              </p:txBody>
            </p:sp>
            <p:cxnSp>
              <p:nvCxnSpPr>
                <p:cNvPr id="34" name="Düz Ok Bağlayıcısı 33"/>
                <p:cNvCxnSpPr/>
                <p:nvPr/>
              </p:nvCxnSpPr>
              <p:spPr>
                <a:xfrm>
                  <a:off x="2497540" y="3318000"/>
                  <a:ext cx="0" cy="266065"/>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sp>
              <p:nvSpPr>
                <p:cNvPr id="35" name="Metin Kutusu 331">
                  <a:hlinkClick r:id="" action="ppaction://noaction"/>
                </p:cNvPr>
                <p:cNvSpPr txBox="1"/>
                <p:nvPr/>
              </p:nvSpPr>
              <p:spPr>
                <a:xfrm>
                  <a:off x="4148920" y="1835624"/>
                  <a:ext cx="955040" cy="306705"/>
                </a:xfrm>
                <a:prstGeom prst="flowChartProcess">
                  <a:avLst/>
                </a:prstGeom>
                <a:solidFill>
                  <a:srgbClr val="04AFEC"/>
                </a:solidFill>
                <a:ln w="6350">
                  <a:solidFill>
                    <a:prstClr val="black"/>
                  </a:solidFill>
                </a:ln>
                <a:effectLst/>
                <a:scene3d>
                  <a:camera prst="orthographicFront"/>
                  <a:lightRig rig="threePt" dir="t"/>
                </a:scene3d>
                <a:sp3d>
                  <a:bevelT w="152400" h="50800" prst="softRound"/>
                </a:sp3d>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pPr>
                  <a:r>
                    <a:rPr lang="tr-TR" sz="1400" b="1" dirty="0">
                      <a:solidFill>
                        <a:prstClr val="black"/>
                      </a:solidFill>
                      <a:latin typeface="Calibri"/>
                      <a:ea typeface="Calibri"/>
                    </a:rPr>
                    <a:t>KOSGEB</a:t>
                  </a:r>
                  <a:r>
                    <a:rPr lang="tr-TR" sz="1400" dirty="0">
                      <a:solidFill>
                        <a:srgbClr val="000000"/>
                      </a:solidFill>
                      <a:latin typeface="Calibri"/>
                      <a:ea typeface="Calibri"/>
                    </a:rPr>
                    <a:t> </a:t>
                  </a:r>
                  <a:endParaRPr lang="tr-TR" sz="2000" dirty="0">
                    <a:solidFill>
                      <a:prstClr val="black"/>
                    </a:solidFill>
                    <a:latin typeface="Calibri"/>
                    <a:ea typeface="Times New Roman"/>
                  </a:endParaRPr>
                </a:p>
              </p:txBody>
            </p:sp>
            <p:sp>
              <p:nvSpPr>
                <p:cNvPr id="36" name="Metin Kutusu 309">
                  <a:hlinkClick r:id="" action="ppaction://noaction"/>
                </p:cNvPr>
                <p:cNvSpPr txBox="1"/>
                <p:nvPr/>
              </p:nvSpPr>
              <p:spPr>
                <a:xfrm>
                  <a:off x="3357349" y="1869743"/>
                  <a:ext cx="548640" cy="238760"/>
                </a:xfrm>
                <a:prstGeom prst="rect">
                  <a:avLst/>
                </a:prstGeom>
                <a:solidFill>
                  <a:srgbClr val="FFFF00"/>
                </a:solidFill>
                <a:ln w="9525">
                  <a:solidFill>
                    <a:srgbClr val="000000"/>
                  </a:solidFill>
                  <a:miter lim="800000"/>
                  <a:headEnd/>
                  <a:tailEnd/>
                </a:ln>
                <a:scene3d>
                  <a:camera prst="orthographicFront"/>
                  <a:lightRig rig="threePt" dir="t"/>
                </a:scene3d>
                <a:sp3d>
                  <a:bevelT w="152400" h="50800" prst="softRound"/>
                </a:sp3d>
              </p:spPr>
              <p:txBody>
                <a:bodyPr rot="0" vert="horz" wrap="square" lIns="91440" tIns="45720" rIns="91440" bIns="45720" anchor="t" anchorCtr="0">
                  <a:noAutofit/>
                </a:bodyPr>
                <a:lstStyle/>
                <a:p>
                  <a:pPr algn="ctr"/>
                  <a:r>
                    <a:rPr lang="tr-TR" sz="1100" dirty="0">
                      <a:solidFill>
                        <a:srgbClr val="FF0000"/>
                      </a:solidFill>
                      <a:latin typeface="Times New Roman" panose="02020603050405020304" pitchFamily="18" charset="0"/>
                      <a:ea typeface="Calibri"/>
                      <a:cs typeface="Times New Roman" panose="02020603050405020304" pitchFamily="18" charset="0"/>
                    </a:rPr>
                    <a:t>Bildirim</a:t>
                  </a:r>
                  <a:endParaRPr lang="tr-TR" sz="1100" dirty="0">
                    <a:solidFill>
                      <a:srgbClr val="FF0000"/>
                    </a:solidFill>
                    <a:latin typeface="Times New Roman" panose="02020603050405020304" pitchFamily="18" charset="0"/>
                    <a:ea typeface="Times New Roman"/>
                    <a:cs typeface="Times New Roman" panose="02020603050405020304" pitchFamily="18" charset="0"/>
                  </a:endParaRPr>
                </a:p>
                <a:p>
                  <a:r>
                    <a:rPr lang="tr-TR" sz="1100" dirty="0">
                      <a:solidFill>
                        <a:srgbClr val="FF0000"/>
                      </a:solidFill>
                      <a:latin typeface="Times New Roman" panose="02020603050405020304" pitchFamily="18" charset="0"/>
                      <a:ea typeface="Times New Roman"/>
                      <a:cs typeface="Times New Roman" panose="02020603050405020304" pitchFamily="18" charset="0"/>
                    </a:rPr>
                    <a:t>       </a:t>
                  </a:r>
                </a:p>
              </p:txBody>
            </p:sp>
            <p:cxnSp>
              <p:nvCxnSpPr>
                <p:cNvPr id="42" name="Düz Ok Bağlayıcısı 41"/>
                <p:cNvCxnSpPr/>
                <p:nvPr/>
              </p:nvCxnSpPr>
              <p:spPr>
                <a:xfrm>
                  <a:off x="3500651" y="1078172"/>
                  <a:ext cx="647663" cy="0"/>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grpSp>
        </p:grpSp>
      </p:grpSp>
      <p:sp>
        <p:nvSpPr>
          <p:cNvPr id="44" name="Başlık 1"/>
          <p:cNvSpPr>
            <a:spLocks noGrp="1"/>
          </p:cNvSpPr>
          <p:nvPr>
            <p:ph type="title"/>
          </p:nvPr>
        </p:nvSpPr>
        <p:spPr>
          <a:xfrm>
            <a:off x="1524000" y="-27382"/>
            <a:ext cx="9144000" cy="856724"/>
          </a:xfrm>
        </p:spPr>
        <p:txBody>
          <a:bodyPr>
            <a:normAutofit/>
          </a:bodyPr>
          <a:lstStyle/>
          <a:p>
            <a:r>
              <a:rPr lang="tr-TR" sz="2800" b="1" dirty="0">
                <a:solidFill>
                  <a:srgbClr val="005F6E"/>
                </a:solidFill>
                <a:effectLst>
                  <a:outerShdw blurRad="38100" dist="38100" dir="2700000" algn="tl">
                    <a:srgbClr val="000000">
                      <a:alpha val="43137"/>
                    </a:srgbClr>
                  </a:outerShdw>
                </a:effectLst>
                <a:latin typeface="+mn-lt"/>
                <a:ea typeface="+mn-ea"/>
                <a:cs typeface="+mn-cs"/>
              </a:rPr>
              <a:t>İş Akışı 2/2</a:t>
            </a:r>
          </a:p>
        </p:txBody>
      </p:sp>
      <p:sp>
        <p:nvSpPr>
          <p:cNvPr id="45" name="Metin Kutusu 309">
            <a:hlinkClick r:id="" action="ppaction://noaction"/>
          </p:cNvPr>
          <p:cNvSpPr txBox="1"/>
          <p:nvPr/>
        </p:nvSpPr>
        <p:spPr>
          <a:xfrm>
            <a:off x="8311244" y="1925265"/>
            <a:ext cx="786419" cy="391999"/>
          </a:xfrm>
          <a:prstGeom prst="rect">
            <a:avLst/>
          </a:prstGeom>
          <a:solidFill>
            <a:srgbClr val="EACE68"/>
          </a:solidFill>
          <a:ln w="9525">
            <a:solidFill>
              <a:srgbClr val="000000"/>
            </a:solidFill>
            <a:miter lim="800000"/>
            <a:headEnd/>
            <a:tailEnd/>
          </a:ln>
          <a:scene3d>
            <a:camera prst="orthographicFront"/>
            <a:lightRig rig="threePt" dir="t"/>
          </a:scene3d>
          <a:sp3d>
            <a:bevelT w="152400" h="50800" prst="softRound"/>
          </a:sp3d>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Bef>
                <a:spcPts val="600"/>
              </a:spcBef>
            </a:pPr>
            <a:r>
              <a:rPr lang="tr-TR" sz="1400" b="1" dirty="0">
                <a:solidFill>
                  <a:prstClr val="black"/>
                </a:solidFill>
                <a:latin typeface="Calibri"/>
                <a:ea typeface="Calibri"/>
              </a:rPr>
              <a:t>KOBİ</a:t>
            </a:r>
          </a:p>
        </p:txBody>
      </p:sp>
      <p:cxnSp>
        <p:nvCxnSpPr>
          <p:cNvPr id="46" name="Düz Ok Bağlayıcısı 45"/>
          <p:cNvCxnSpPr/>
          <p:nvPr/>
        </p:nvCxnSpPr>
        <p:spPr>
          <a:xfrm flipH="1">
            <a:off x="6912721" y="3789040"/>
            <a:ext cx="1652074" cy="0"/>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5785931" y="764705"/>
            <a:ext cx="360040" cy="372941"/>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50000"/>
              </a:lnSpc>
            </a:pPr>
            <a:r>
              <a:rPr lang="tr-TR" b="1" dirty="0">
                <a:solidFill>
                  <a:prstClr val="white"/>
                </a:solidFill>
                <a:latin typeface="Calibri"/>
              </a:rPr>
              <a:t>…</a:t>
            </a:r>
          </a:p>
        </p:txBody>
      </p:sp>
      <p:cxnSp>
        <p:nvCxnSpPr>
          <p:cNvPr id="37" name="Düz Ok Bağlayıcısı 36"/>
          <p:cNvCxnSpPr/>
          <p:nvPr/>
        </p:nvCxnSpPr>
        <p:spPr>
          <a:xfrm>
            <a:off x="8982209" y="3393252"/>
            <a:ext cx="0" cy="327793"/>
          </a:xfrm>
          <a:prstGeom prst="straightConnector1">
            <a:avLst/>
          </a:prstGeom>
          <a:ln w="12700">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3635764"/>
      </p:ext>
    </p:extLst>
  </p:cSld>
  <p:clrMapOvr>
    <a:masterClrMapping/>
  </p:clrMapOvr>
  <p:transition spd="slow">
    <p:cover/>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3C7F8354-A1F7-4AE7-90D5-B3C2BAB3B60B}" type="slidenum">
              <a:rPr lang="tr-TR">
                <a:solidFill>
                  <a:prstClr val="black">
                    <a:tint val="75000"/>
                  </a:prstClr>
                </a:solidFill>
                <a:latin typeface="Calibri"/>
              </a:rPr>
              <a:pPr>
                <a:defRPr/>
              </a:pPr>
              <a:t>116</a:t>
            </a:fld>
            <a:endParaRPr lang="tr-TR" dirty="0">
              <a:solidFill>
                <a:prstClr val="black">
                  <a:tint val="75000"/>
                </a:prstClr>
              </a:solidFill>
              <a:latin typeface="Calibri"/>
            </a:endParaRPr>
          </a:p>
        </p:txBody>
      </p:sp>
      <p:sp>
        <p:nvSpPr>
          <p:cNvPr id="5" name="İçerik Yer Tutucusu 2"/>
          <p:cNvSpPr>
            <a:spLocks noGrp="1"/>
          </p:cNvSpPr>
          <p:nvPr>
            <p:ph idx="1"/>
          </p:nvPr>
        </p:nvSpPr>
        <p:spPr>
          <a:xfrm>
            <a:off x="1998360" y="1362878"/>
            <a:ext cx="8229600" cy="4525963"/>
          </a:xfrm>
        </p:spPr>
        <p:txBody>
          <a:bodyPr>
            <a:noAutofit/>
          </a:bodyPr>
          <a:lstStyle/>
          <a:p>
            <a:pPr marL="0" indent="0" algn="just">
              <a:spcAft>
                <a:spcPts val="600"/>
              </a:spcAft>
              <a:buNone/>
            </a:pPr>
            <a:r>
              <a:rPr lang="tr-TR" sz="1800" dirty="0">
                <a:solidFill>
                  <a:srgbClr val="002060"/>
                </a:solidFill>
              </a:rPr>
              <a:t>1) İşletme için KOBİ Finansman Destek </a:t>
            </a:r>
            <a:r>
              <a:rPr lang="tr-TR" sz="1800" b="1" dirty="0">
                <a:solidFill>
                  <a:srgbClr val="002060"/>
                </a:solidFill>
              </a:rPr>
              <a:t>Programının başlangıç tarihi ilk kredinin</a:t>
            </a:r>
            <a:r>
              <a:rPr lang="tr-TR" sz="1800" dirty="0">
                <a:solidFill>
                  <a:srgbClr val="002060"/>
                </a:solidFill>
              </a:rPr>
              <a:t>, İşletme veya tedarikçinin banka hesabına yatırıldığı tarihtir.</a:t>
            </a:r>
          </a:p>
          <a:p>
            <a:pPr marL="0" indent="0" algn="just">
              <a:spcAft>
                <a:spcPts val="600"/>
              </a:spcAft>
              <a:buNone/>
            </a:pPr>
            <a:r>
              <a:rPr lang="tr-TR" sz="1800" dirty="0">
                <a:solidFill>
                  <a:srgbClr val="002060"/>
                </a:solidFill>
              </a:rPr>
              <a:t>2) İşletme, Program süresi (3 yıl) içerisinde </a:t>
            </a:r>
            <a:r>
              <a:rPr lang="tr-TR" sz="1800" b="1" dirty="0">
                <a:solidFill>
                  <a:srgbClr val="002060"/>
                </a:solidFill>
              </a:rPr>
              <a:t>istediği tarihte kredi </a:t>
            </a:r>
            <a:r>
              <a:rPr lang="tr-TR" sz="1800" dirty="0">
                <a:solidFill>
                  <a:srgbClr val="002060"/>
                </a:solidFill>
              </a:rPr>
              <a:t>kullanabilir. Kullandığı kredinin vadesinin bu süreyi aşması, kredi faiz desteğinden faydalanmasını engellemez. Azami Kredi Vadesini aşmamak kaydıyla, vade sonuna kadar kredi faiz desteği devam eder.</a:t>
            </a:r>
          </a:p>
          <a:p>
            <a:pPr marL="0" indent="0" algn="just">
              <a:spcAft>
                <a:spcPts val="600"/>
              </a:spcAft>
              <a:buNone/>
            </a:pPr>
            <a:r>
              <a:rPr lang="tr-TR" sz="1800" dirty="0">
                <a:solidFill>
                  <a:srgbClr val="002060"/>
                </a:solidFill>
              </a:rPr>
              <a:t>3) İşletme Program süresi içerisinde üst limiti aşmadan kredi faiz desteğini </a:t>
            </a:r>
            <a:r>
              <a:rPr lang="tr-TR" sz="1800" b="1" dirty="0">
                <a:solidFill>
                  <a:srgbClr val="002060"/>
                </a:solidFill>
              </a:rPr>
              <a:t>birden fazla </a:t>
            </a:r>
            <a:r>
              <a:rPr lang="tr-TR" sz="1800" dirty="0">
                <a:solidFill>
                  <a:srgbClr val="002060"/>
                </a:solidFill>
              </a:rPr>
              <a:t>kullanabilir.</a:t>
            </a:r>
          </a:p>
          <a:p>
            <a:pPr marL="0" indent="0" algn="just">
              <a:spcAft>
                <a:spcPts val="600"/>
              </a:spcAft>
              <a:buNone/>
            </a:pPr>
            <a:r>
              <a:rPr lang="tr-TR" sz="1800" dirty="0">
                <a:solidFill>
                  <a:srgbClr val="002060"/>
                </a:solidFill>
              </a:rPr>
              <a:t>4) </a:t>
            </a:r>
            <a:r>
              <a:rPr lang="tr-TR" sz="1800" i="1" dirty="0">
                <a:solidFill>
                  <a:srgbClr val="FF0000"/>
                </a:solidFill>
              </a:rPr>
              <a:t>Program tamamlandığında, İşletmenin talebi halinde sözkonusu işletme için KOBİ Finansman </a:t>
            </a:r>
            <a:r>
              <a:rPr lang="tr-TR" sz="1800" b="1" i="1" dirty="0">
                <a:solidFill>
                  <a:srgbClr val="FF0000"/>
                </a:solidFill>
              </a:rPr>
              <a:t>Destek</a:t>
            </a:r>
            <a:r>
              <a:rPr lang="tr-TR" sz="1800" i="1" dirty="0">
                <a:solidFill>
                  <a:srgbClr val="FF0000"/>
                </a:solidFill>
              </a:rPr>
              <a:t> </a:t>
            </a:r>
            <a:r>
              <a:rPr lang="tr-TR" sz="1800" b="1" i="1" dirty="0">
                <a:solidFill>
                  <a:srgbClr val="FF0000"/>
                </a:solidFill>
              </a:rPr>
              <a:t>Programı yeniden başlatılabilir</a:t>
            </a:r>
            <a:r>
              <a:rPr lang="tr-TR" sz="1800" i="1" dirty="0">
                <a:solidFill>
                  <a:srgbClr val="FF0000"/>
                </a:solidFill>
              </a:rPr>
              <a:t>.</a:t>
            </a:r>
          </a:p>
          <a:p>
            <a:pPr marL="0" indent="0" algn="just">
              <a:spcAft>
                <a:spcPts val="600"/>
              </a:spcAft>
              <a:buNone/>
            </a:pPr>
            <a:r>
              <a:rPr lang="tr-TR" sz="1800" dirty="0">
                <a:solidFill>
                  <a:srgbClr val="002060"/>
                </a:solidFill>
              </a:rPr>
              <a:t>5) Program için belirlenen faiz oranları protokolde belirlenen süreyle geçerli olacaktır. KOSGEB gerektiğinde yeni teklif alıp oran belirleyebilir. İşletmeler her bir krediyi kullandıkları dönemde geçerli olan faiz oranı üzerinden desteklenecektir.</a:t>
            </a:r>
          </a:p>
        </p:txBody>
      </p:sp>
      <p:sp>
        <p:nvSpPr>
          <p:cNvPr id="6" name="Başlık 1"/>
          <p:cNvSpPr>
            <a:spLocks noGrp="1"/>
          </p:cNvSpPr>
          <p:nvPr>
            <p:ph type="title"/>
          </p:nvPr>
        </p:nvSpPr>
        <p:spPr>
          <a:xfrm>
            <a:off x="1981200" y="44625"/>
            <a:ext cx="8229600" cy="850106"/>
          </a:xfrm>
        </p:spPr>
        <p:txBody>
          <a:bodyPr>
            <a:normAutofit/>
          </a:bodyPr>
          <a:lstStyle/>
          <a:p>
            <a:r>
              <a:rPr lang="tr-TR" sz="2800" b="1" dirty="0">
                <a:solidFill>
                  <a:srgbClr val="005F6E"/>
                </a:solidFill>
                <a:effectLst>
                  <a:outerShdw blurRad="38100" dist="38100" dir="2700000" algn="tl">
                    <a:srgbClr val="000000">
                      <a:alpha val="43137"/>
                    </a:srgbClr>
                  </a:outerShdw>
                </a:effectLst>
                <a:latin typeface="+mn-lt"/>
                <a:ea typeface="+mn-ea"/>
                <a:cs typeface="+mn-cs"/>
              </a:rPr>
              <a:t>Süreler</a:t>
            </a:r>
          </a:p>
        </p:txBody>
      </p:sp>
    </p:spTree>
    <p:extLst>
      <p:ext uri="{BB962C8B-B14F-4D97-AF65-F5344CB8AC3E}">
        <p14:creationId xmlns:p14="http://schemas.microsoft.com/office/powerpoint/2010/main" val="1547833687"/>
      </p:ext>
    </p:extLst>
  </p:cSld>
  <p:clrMapOvr>
    <a:masterClrMapping/>
  </p:clrMapOvr>
  <p:transition spd="slow">
    <p:cover/>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3C7F8354-A1F7-4AE7-90D5-B3C2BAB3B60B}" type="slidenum">
              <a:rPr lang="tr-TR">
                <a:solidFill>
                  <a:prstClr val="black">
                    <a:tint val="75000"/>
                  </a:prstClr>
                </a:solidFill>
                <a:latin typeface="Calibri"/>
              </a:rPr>
              <a:pPr>
                <a:defRPr/>
              </a:pPr>
              <a:t>117</a:t>
            </a:fld>
            <a:endParaRPr lang="tr-TR" dirty="0">
              <a:solidFill>
                <a:prstClr val="black">
                  <a:tint val="75000"/>
                </a:prstClr>
              </a:solidFill>
              <a:latin typeface="Calibri"/>
            </a:endParaRPr>
          </a:p>
        </p:txBody>
      </p:sp>
      <p:sp>
        <p:nvSpPr>
          <p:cNvPr id="5" name="İçerik Yer Tutucusu 2"/>
          <p:cNvSpPr>
            <a:spLocks noGrp="1"/>
          </p:cNvSpPr>
          <p:nvPr>
            <p:ph idx="1"/>
          </p:nvPr>
        </p:nvSpPr>
        <p:spPr>
          <a:xfrm>
            <a:off x="1998360" y="1362878"/>
            <a:ext cx="8229600" cy="4525963"/>
          </a:xfrm>
        </p:spPr>
        <p:txBody>
          <a:bodyPr>
            <a:noAutofit/>
          </a:bodyPr>
          <a:lstStyle/>
          <a:p>
            <a:pPr marL="0" indent="0" algn="just">
              <a:spcAft>
                <a:spcPts val="600"/>
              </a:spcAft>
              <a:buNone/>
            </a:pPr>
            <a:r>
              <a:rPr lang="tr-TR" sz="1800" dirty="0">
                <a:solidFill>
                  <a:srgbClr val="002060"/>
                </a:solidFill>
              </a:rPr>
              <a:t>Programda, KGF ile birlikte aşağıdaki Bankalar yer almaktadır:</a:t>
            </a:r>
          </a:p>
          <a:p>
            <a:pPr marL="0" indent="0" algn="just">
              <a:spcBef>
                <a:spcPts val="0"/>
              </a:spcBef>
              <a:spcAft>
                <a:spcPts val="0"/>
              </a:spcAft>
              <a:buNone/>
            </a:pPr>
            <a:endParaRPr lang="tr-TR" sz="1800" dirty="0">
              <a:solidFill>
                <a:srgbClr val="002060"/>
              </a:solidFill>
            </a:endParaRPr>
          </a:p>
          <a:p>
            <a:pPr marL="0" indent="0" algn="just">
              <a:spcBef>
                <a:spcPts val="0"/>
              </a:spcBef>
              <a:spcAft>
                <a:spcPts val="600"/>
              </a:spcAft>
              <a:buNone/>
            </a:pPr>
            <a:r>
              <a:rPr lang="tr-TR" sz="1800" dirty="0">
                <a:solidFill>
                  <a:srgbClr val="002060"/>
                </a:solidFill>
              </a:rPr>
              <a:t>		- Akbank T.A.Ş.</a:t>
            </a:r>
          </a:p>
          <a:p>
            <a:pPr marL="0" indent="0" algn="just">
              <a:spcBef>
                <a:spcPts val="0"/>
              </a:spcBef>
              <a:spcAft>
                <a:spcPts val="600"/>
              </a:spcAft>
              <a:buNone/>
            </a:pPr>
            <a:r>
              <a:rPr lang="tr-TR" sz="1800" dirty="0">
                <a:solidFill>
                  <a:srgbClr val="002060"/>
                </a:solidFill>
              </a:rPr>
              <a:t>		- Denizbank A.Ş.</a:t>
            </a:r>
          </a:p>
          <a:p>
            <a:pPr marL="0" indent="0" algn="just">
              <a:spcBef>
                <a:spcPts val="0"/>
              </a:spcBef>
              <a:spcAft>
                <a:spcPts val="600"/>
              </a:spcAft>
              <a:buNone/>
            </a:pPr>
            <a:r>
              <a:rPr lang="tr-TR" sz="1800" dirty="0">
                <a:solidFill>
                  <a:srgbClr val="002060"/>
                </a:solidFill>
              </a:rPr>
              <a:t>		- </a:t>
            </a:r>
            <a:r>
              <a:rPr lang="tr-TR" sz="1800" dirty="0" err="1">
                <a:solidFill>
                  <a:srgbClr val="002060"/>
                </a:solidFill>
              </a:rPr>
              <a:t>KuveytTürk</a:t>
            </a:r>
            <a:r>
              <a:rPr lang="tr-TR" sz="1800" dirty="0">
                <a:solidFill>
                  <a:srgbClr val="002060"/>
                </a:solidFill>
              </a:rPr>
              <a:t> Katılım Bankası A.Ş.</a:t>
            </a:r>
          </a:p>
          <a:p>
            <a:pPr marL="0" indent="0" algn="just">
              <a:spcBef>
                <a:spcPts val="0"/>
              </a:spcBef>
              <a:spcAft>
                <a:spcPts val="600"/>
              </a:spcAft>
              <a:buNone/>
            </a:pPr>
            <a:r>
              <a:rPr lang="tr-TR" sz="1800" dirty="0">
                <a:solidFill>
                  <a:srgbClr val="002060"/>
                </a:solidFill>
              </a:rPr>
              <a:t>		- QNB Finansbank A.Ş.</a:t>
            </a:r>
          </a:p>
          <a:p>
            <a:pPr marL="0" indent="0" algn="just">
              <a:spcBef>
                <a:spcPts val="0"/>
              </a:spcBef>
              <a:spcAft>
                <a:spcPts val="600"/>
              </a:spcAft>
              <a:buNone/>
            </a:pPr>
            <a:r>
              <a:rPr lang="tr-TR" sz="1800" dirty="0">
                <a:solidFill>
                  <a:srgbClr val="002060"/>
                </a:solidFill>
              </a:rPr>
              <a:t>		- T.C. Ziraat Bankası A.Ş.</a:t>
            </a:r>
          </a:p>
          <a:p>
            <a:pPr marL="0" indent="0" algn="just">
              <a:spcBef>
                <a:spcPts val="0"/>
              </a:spcBef>
              <a:spcAft>
                <a:spcPts val="600"/>
              </a:spcAft>
              <a:buNone/>
            </a:pPr>
            <a:r>
              <a:rPr lang="tr-TR" sz="1800" dirty="0">
                <a:solidFill>
                  <a:srgbClr val="002060"/>
                </a:solidFill>
              </a:rPr>
              <a:t>		- T. Halk Bankası A.Ş.</a:t>
            </a:r>
          </a:p>
          <a:p>
            <a:pPr marL="0" indent="0" algn="just">
              <a:spcBef>
                <a:spcPts val="0"/>
              </a:spcBef>
              <a:spcAft>
                <a:spcPts val="600"/>
              </a:spcAft>
              <a:buNone/>
            </a:pPr>
            <a:r>
              <a:rPr lang="tr-TR" sz="1800" dirty="0">
                <a:solidFill>
                  <a:srgbClr val="002060"/>
                </a:solidFill>
              </a:rPr>
              <a:t>		- T. İş Bankası A.Ş.</a:t>
            </a:r>
          </a:p>
          <a:p>
            <a:pPr marL="0" indent="0" algn="just">
              <a:spcBef>
                <a:spcPts val="0"/>
              </a:spcBef>
              <a:spcAft>
                <a:spcPts val="600"/>
              </a:spcAft>
              <a:buNone/>
            </a:pPr>
            <a:r>
              <a:rPr lang="tr-TR" sz="1800" dirty="0">
                <a:solidFill>
                  <a:srgbClr val="002060"/>
                </a:solidFill>
              </a:rPr>
              <a:t>		- T. Vakıflar Bankası T.A.O.</a:t>
            </a:r>
          </a:p>
          <a:p>
            <a:pPr marL="0" indent="0" algn="just">
              <a:spcBef>
                <a:spcPts val="0"/>
              </a:spcBef>
              <a:spcAft>
                <a:spcPts val="600"/>
              </a:spcAft>
              <a:buNone/>
            </a:pPr>
            <a:r>
              <a:rPr lang="tr-TR" sz="1800" dirty="0">
                <a:solidFill>
                  <a:srgbClr val="002060"/>
                </a:solidFill>
              </a:rPr>
              <a:t>		- Türk Ekonomi Bankası A.Ş. </a:t>
            </a:r>
          </a:p>
          <a:p>
            <a:pPr marL="0" indent="0" algn="just">
              <a:spcBef>
                <a:spcPts val="0"/>
              </a:spcBef>
              <a:spcAft>
                <a:spcPts val="600"/>
              </a:spcAft>
              <a:buNone/>
            </a:pPr>
            <a:r>
              <a:rPr lang="tr-TR" sz="1800" dirty="0">
                <a:solidFill>
                  <a:srgbClr val="002060"/>
                </a:solidFill>
              </a:rPr>
              <a:t>		- Vakıf Katılım Bankası A.Ş.</a:t>
            </a:r>
          </a:p>
          <a:p>
            <a:pPr marL="0" indent="0" algn="just">
              <a:spcBef>
                <a:spcPts val="0"/>
              </a:spcBef>
              <a:spcAft>
                <a:spcPts val="600"/>
              </a:spcAft>
              <a:buNone/>
            </a:pPr>
            <a:r>
              <a:rPr lang="tr-TR" sz="1800">
                <a:solidFill>
                  <a:srgbClr val="002060"/>
                </a:solidFill>
              </a:rPr>
              <a:t>		- </a:t>
            </a:r>
            <a:r>
              <a:rPr lang="tr-TR" sz="1800" dirty="0">
                <a:solidFill>
                  <a:srgbClr val="002060"/>
                </a:solidFill>
              </a:rPr>
              <a:t>Yapı ve Kredi Bankası A.Ş.</a:t>
            </a:r>
          </a:p>
          <a:p>
            <a:pPr marL="0" indent="0" algn="just">
              <a:spcBef>
                <a:spcPts val="0"/>
              </a:spcBef>
              <a:spcAft>
                <a:spcPts val="600"/>
              </a:spcAft>
              <a:buNone/>
            </a:pPr>
            <a:r>
              <a:rPr lang="tr-TR" sz="1800" dirty="0">
                <a:solidFill>
                  <a:srgbClr val="002060"/>
                </a:solidFill>
              </a:rPr>
              <a:t>		</a:t>
            </a:r>
          </a:p>
          <a:p>
            <a:pPr marL="0" indent="0" algn="just">
              <a:spcAft>
                <a:spcPts val="600"/>
              </a:spcAft>
              <a:buNone/>
            </a:pPr>
            <a:endParaRPr lang="tr-TR" sz="1800" dirty="0">
              <a:solidFill>
                <a:srgbClr val="002060"/>
              </a:solidFill>
            </a:endParaRPr>
          </a:p>
        </p:txBody>
      </p:sp>
      <p:sp>
        <p:nvSpPr>
          <p:cNvPr id="6" name="Başlık 1"/>
          <p:cNvSpPr>
            <a:spLocks noGrp="1"/>
          </p:cNvSpPr>
          <p:nvPr>
            <p:ph type="title"/>
          </p:nvPr>
        </p:nvSpPr>
        <p:spPr>
          <a:xfrm>
            <a:off x="1981200" y="44625"/>
            <a:ext cx="8229600" cy="850106"/>
          </a:xfrm>
        </p:spPr>
        <p:txBody>
          <a:bodyPr>
            <a:normAutofit/>
          </a:bodyPr>
          <a:lstStyle/>
          <a:p>
            <a:r>
              <a:rPr lang="tr-TR" sz="2800" b="1" dirty="0">
                <a:solidFill>
                  <a:srgbClr val="005F6E"/>
                </a:solidFill>
                <a:effectLst>
                  <a:outerShdw blurRad="38100" dist="38100" dir="2700000" algn="tl">
                    <a:srgbClr val="000000">
                      <a:alpha val="43137"/>
                    </a:srgbClr>
                  </a:outerShdw>
                </a:effectLst>
                <a:latin typeface="+mn-lt"/>
                <a:ea typeface="+mn-ea"/>
                <a:cs typeface="+mn-cs"/>
              </a:rPr>
              <a:t>Protokol İmzalanan Bankalar</a:t>
            </a:r>
          </a:p>
        </p:txBody>
      </p:sp>
    </p:spTree>
    <p:extLst>
      <p:ext uri="{BB962C8B-B14F-4D97-AF65-F5344CB8AC3E}">
        <p14:creationId xmlns:p14="http://schemas.microsoft.com/office/powerpoint/2010/main" val="2637371789"/>
      </p:ext>
    </p:extLst>
  </p:cSld>
  <p:clrMapOvr>
    <a:masterClrMapping/>
  </p:clrMapOvr>
  <p:transition spd="slow">
    <p:cover/>
  </p:transition>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3C7F8354-A1F7-4AE7-90D5-B3C2BAB3B60B}" type="slidenum">
              <a:rPr lang="tr-TR">
                <a:solidFill>
                  <a:prstClr val="black">
                    <a:tint val="75000"/>
                  </a:prstClr>
                </a:solidFill>
                <a:latin typeface="Calibri"/>
              </a:rPr>
              <a:pPr>
                <a:defRPr/>
              </a:pPr>
              <a:t>118</a:t>
            </a:fld>
            <a:endParaRPr lang="tr-TR" dirty="0">
              <a:solidFill>
                <a:prstClr val="black">
                  <a:tint val="75000"/>
                </a:prstClr>
              </a:solidFill>
              <a:latin typeface="Calibri"/>
            </a:endParaRPr>
          </a:p>
        </p:txBody>
      </p:sp>
      <p:sp>
        <p:nvSpPr>
          <p:cNvPr id="5" name="İçerik Yer Tutucusu 2"/>
          <p:cNvSpPr>
            <a:spLocks noGrp="1"/>
          </p:cNvSpPr>
          <p:nvPr>
            <p:ph idx="1"/>
          </p:nvPr>
        </p:nvSpPr>
        <p:spPr>
          <a:xfrm>
            <a:off x="2016164" y="1124745"/>
            <a:ext cx="8229600" cy="4525963"/>
          </a:xfrm>
        </p:spPr>
        <p:txBody>
          <a:bodyPr>
            <a:noAutofit/>
          </a:bodyPr>
          <a:lstStyle/>
          <a:p>
            <a:pPr marL="0" indent="0" algn="just">
              <a:spcAft>
                <a:spcPts val="600"/>
              </a:spcAft>
              <a:buNone/>
            </a:pPr>
            <a:endParaRPr lang="tr-TR" sz="1800" dirty="0">
              <a:solidFill>
                <a:srgbClr val="002060"/>
              </a:solidFill>
            </a:endParaRPr>
          </a:p>
          <a:p>
            <a:pPr marL="0" indent="0" algn="just">
              <a:spcAft>
                <a:spcPts val="600"/>
              </a:spcAft>
              <a:buNone/>
            </a:pPr>
            <a:r>
              <a:rPr lang="tr-TR" sz="1800" dirty="0">
                <a:solidFill>
                  <a:srgbClr val="002060"/>
                </a:solidFill>
              </a:rPr>
              <a:t>KOSGEB kredi faiz </a:t>
            </a:r>
            <a:r>
              <a:rPr lang="tr-TR" sz="1800" b="1" dirty="0">
                <a:solidFill>
                  <a:srgbClr val="002060"/>
                </a:solidFill>
              </a:rPr>
              <a:t>destek ödemesi </a:t>
            </a:r>
            <a:r>
              <a:rPr lang="tr-TR" sz="1800" dirty="0">
                <a:solidFill>
                  <a:srgbClr val="002060"/>
                </a:solidFill>
              </a:rPr>
              <a:t>tutarı, </a:t>
            </a:r>
            <a:r>
              <a:rPr lang="tr-TR" sz="1800" b="1" dirty="0">
                <a:solidFill>
                  <a:srgbClr val="002060"/>
                </a:solidFill>
              </a:rPr>
              <a:t>desteğe esas puanın</a:t>
            </a:r>
            <a:r>
              <a:rPr lang="tr-TR" sz="1800" dirty="0">
                <a:solidFill>
                  <a:srgbClr val="002060"/>
                </a:solidFill>
              </a:rPr>
              <a:t>, kullanılan kredi ve vadeye ait faiz/kâr payı oran ve tutarlarına </a:t>
            </a:r>
            <a:r>
              <a:rPr lang="tr-TR" sz="1800" b="1" dirty="0">
                <a:solidFill>
                  <a:srgbClr val="002060"/>
                </a:solidFill>
              </a:rPr>
              <a:t>oranlanmasıyla</a:t>
            </a:r>
            <a:r>
              <a:rPr lang="tr-TR" sz="1800" dirty="0">
                <a:solidFill>
                  <a:srgbClr val="002060"/>
                </a:solidFill>
              </a:rPr>
              <a:t> tespit edilir. Faizin kalan kısmı İşletme tarafından kredi vadesince anaparayla birlikte Bankaya ödenir.</a:t>
            </a:r>
          </a:p>
          <a:p>
            <a:pPr marL="0" indent="0" algn="just">
              <a:spcAft>
                <a:spcPts val="600"/>
              </a:spcAft>
              <a:buNone/>
            </a:pPr>
            <a:endParaRPr lang="tr-TR" sz="1800" b="1" dirty="0">
              <a:solidFill>
                <a:srgbClr val="002060"/>
              </a:solidFill>
            </a:endParaRPr>
          </a:p>
          <a:p>
            <a:pPr marL="0" indent="0" algn="just">
              <a:spcAft>
                <a:spcPts val="600"/>
              </a:spcAft>
              <a:buNone/>
            </a:pPr>
            <a:r>
              <a:rPr lang="tr-TR" sz="1800" b="1" dirty="0">
                <a:solidFill>
                  <a:srgbClr val="002060"/>
                </a:solidFill>
              </a:rPr>
              <a:t>Örneğin; </a:t>
            </a:r>
            <a:r>
              <a:rPr lang="tr-TR" sz="1800" b="1" u="sng" dirty="0">
                <a:solidFill>
                  <a:srgbClr val="002060"/>
                </a:solidFill>
              </a:rPr>
              <a:t>18 ay vadeli 50.000 TL kredi için</a:t>
            </a:r>
            <a:r>
              <a:rPr lang="tr-TR" sz="1800" b="1" dirty="0">
                <a:solidFill>
                  <a:srgbClr val="002060"/>
                </a:solidFill>
              </a:rPr>
              <a:t>:</a:t>
            </a:r>
          </a:p>
          <a:p>
            <a:pPr marL="0" indent="0" algn="just">
              <a:spcAft>
                <a:spcPts val="0"/>
              </a:spcAft>
              <a:buNone/>
            </a:pPr>
            <a:r>
              <a:rPr lang="tr-TR" sz="1800" dirty="0">
                <a:solidFill>
                  <a:srgbClr val="002060"/>
                </a:solidFill>
              </a:rPr>
              <a:t>Faiz/kâr payı tutarı			: 5.791 TL</a:t>
            </a:r>
          </a:p>
          <a:p>
            <a:pPr marL="0" indent="0" algn="just">
              <a:spcAft>
                <a:spcPts val="0"/>
              </a:spcAft>
              <a:buNone/>
            </a:pPr>
            <a:r>
              <a:rPr lang="tr-TR" sz="1800" dirty="0">
                <a:solidFill>
                  <a:srgbClr val="002060"/>
                </a:solidFill>
              </a:rPr>
              <a:t>Faiz/kâr payı oranı			: 14,75</a:t>
            </a:r>
          </a:p>
          <a:p>
            <a:pPr marL="0" indent="0" algn="just">
              <a:spcAft>
                <a:spcPts val="0"/>
              </a:spcAft>
              <a:buNone/>
            </a:pPr>
            <a:r>
              <a:rPr lang="tr-TR" sz="1800" dirty="0">
                <a:solidFill>
                  <a:srgbClr val="002060"/>
                </a:solidFill>
              </a:rPr>
              <a:t>Girişimci İşletme destek puanı	: 10</a:t>
            </a:r>
          </a:p>
          <a:p>
            <a:pPr marL="0" indent="0" algn="just">
              <a:spcAft>
                <a:spcPts val="0"/>
              </a:spcAft>
              <a:buNone/>
            </a:pPr>
            <a:r>
              <a:rPr lang="tr-TR" sz="1800" dirty="0">
                <a:solidFill>
                  <a:srgbClr val="002060"/>
                </a:solidFill>
              </a:rPr>
              <a:t>KOSGEB faiz desteği tutarı		: 3.926,10 TL ( </a:t>
            </a:r>
            <a:r>
              <a:rPr lang="tr-TR" sz="1800" i="1" dirty="0">
                <a:solidFill>
                  <a:srgbClr val="002060"/>
                </a:solidFill>
              </a:rPr>
              <a:t>5791 * 10 / 14,75</a:t>
            </a:r>
            <a:r>
              <a:rPr lang="tr-TR" sz="1800" dirty="0">
                <a:solidFill>
                  <a:srgbClr val="002060"/>
                </a:solidFill>
              </a:rPr>
              <a:t>)</a:t>
            </a:r>
          </a:p>
          <a:p>
            <a:pPr marL="0" indent="0" algn="just">
              <a:spcAft>
                <a:spcPts val="0"/>
              </a:spcAft>
              <a:buNone/>
            </a:pPr>
            <a:r>
              <a:rPr lang="tr-TR" sz="1800" dirty="0">
                <a:solidFill>
                  <a:srgbClr val="002060"/>
                </a:solidFill>
              </a:rPr>
              <a:t>İşletmenin ödeyeceği faiz tutarı	: 1.864,90 TL (</a:t>
            </a:r>
            <a:r>
              <a:rPr lang="tr-TR" sz="1800" i="1" dirty="0">
                <a:solidFill>
                  <a:srgbClr val="002060"/>
                </a:solidFill>
              </a:rPr>
              <a:t>5791 – 3926,10</a:t>
            </a:r>
            <a:r>
              <a:rPr lang="tr-TR" sz="1800" dirty="0">
                <a:solidFill>
                  <a:srgbClr val="002060"/>
                </a:solidFill>
              </a:rPr>
              <a:t>)</a:t>
            </a:r>
          </a:p>
          <a:p>
            <a:pPr marL="0" indent="0" algn="just">
              <a:spcAft>
                <a:spcPts val="600"/>
              </a:spcAft>
              <a:buNone/>
            </a:pPr>
            <a:endParaRPr lang="tr-TR" sz="1800" dirty="0">
              <a:solidFill>
                <a:srgbClr val="002060"/>
              </a:solidFill>
            </a:endParaRPr>
          </a:p>
          <a:p>
            <a:pPr marL="0" indent="0" algn="just">
              <a:spcAft>
                <a:spcPts val="600"/>
              </a:spcAft>
              <a:buNone/>
            </a:pPr>
            <a:endParaRPr lang="tr-TR" sz="1800" dirty="0">
              <a:solidFill>
                <a:srgbClr val="002060"/>
              </a:solidFill>
            </a:endParaRPr>
          </a:p>
          <a:p>
            <a:pPr marL="0" indent="0" algn="just">
              <a:spcAft>
                <a:spcPts val="600"/>
              </a:spcAft>
              <a:buNone/>
            </a:pPr>
            <a:r>
              <a:rPr lang="tr-TR" sz="1800" dirty="0">
                <a:solidFill>
                  <a:srgbClr val="002060"/>
                </a:solidFill>
              </a:rPr>
              <a:t>Kredi geri ödemeleri İşletme tarafından aylık eşit taksitler halinde Bankaya yapılır.</a:t>
            </a:r>
          </a:p>
          <a:p>
            <a:pPr marL="0" indent="0" algn="just">
              <a:spcAft>
                <a:spcPts val="600"/>
              </a:spcAft>
              <a:buNone/>
            </a:pPr>
            <a:endParaRPr lang="tr-TR" sz="1800" dirty="0">
              <a:solidFill>
                <a:srgbClr val="002060"/>
              </a:solidFill>
            </a:endParaRPr>
          </a:p>
        </p:txBody>
      </p:sp>
      <p:sp>
        <p:nvSpPr>
          <p:cNvPr id="6" name="Başlık 1"/>
          <p:cNvSpPr>
            <a:spLocks noGrp="1"/>
          </p:cNvSpPr>
          <p:nvPr>
            <p:ph type="title"/>
          </p:nvPr>
        </p:nvSpPr>
        <p:spPr>
          <a:xfrm>
            <a:off x="1981200" y="44625"/>
            <a:ext cx="8229600" cy="850106"/>
          </a:xfrm>
        </p:spPr>
        <p:txBody>
          <a:bodyPr>
            <a:normAutofit/>
          </a:bodyPr>
          <a:lstStyle/>
          <a:p>
            <a:r>
              <a:rPr lang="tr-TR" sz="2800" b="1" dirty="0">
                <a:solidFill>
                  <a:srgbClr val="005F6E"/>
                </a:solidFill>
                <a:effectLst>
                  <a:outerShdw blurRad="38100" dist="38100" dir="2700000" algn="tl">
                    <a:srgbClr val="000000">
                      <a:alpha val="43137"/>
                    </a:srgbClr>
                  </a:outerShdw>
                </a:effectLst>
                <a:latin typeface="+mn-lt"/>
                <a:ea typeface="+mn-ea"/>
                <a:cs typeface="+mn-cs"/>
              </a:rPr>
              <a:t>Ödeme</a:t>
            </a:r>
          </a:p>
        </p:txBody>
      </p:sp>
    </p:spTree>
    <p:extLst>
      <p:ext uri="{BB962C8B-B14F-4D97-AF65-F5344CB8AC3E}">
        <p14:creationId xmlns:p14="http://schemas.microsoft.com/office/powerpoint/2010/main" val="1470972454"/>
      </p:ext>
    </p:extLst>
  </p:cSld>
  <p:clrMapOvr>
    <a:masterClrMapping/>
  </p:clrMapOvr>
  <p:transition spd="slow">
    <p:cover/>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defTabSz="917783" fontAlgn="base">
                <a:spcBef>
                  <a:spcPct val="0"/>
                </a:spcBef>
                <a:spcAft>
                  <a:spcPct val="0"/>
                </a:spcAft>
                <a:defRPr/>
              </a:pPr>
              <a:t>119</a:t>
            </a:fld>
            <a:endParaRPr lang="en-CA">
              <a:solidFill>
                <a:prstClr val="black">
                  <a:tint val="75000"/>
                </a:prstClr>
              </a:solidFill>
              <a:ea typeface="ヒラギノ角ゴ Pro W3" pitchFamily="1" charset="-128"/>
            </a:endParaRPr>
          </a:p>
        </p:txBody>
      </p:sp>
      <p:sp>
        <p:nvSpPr>
          <p:cNvPr id="5" name="Metin kutusu 4"/>
          <p:cNvSpPr txBox="1"/>
          <p:nvPr/>
        </p:nvSpPr>
        <p:spPr>
          <a:xfrm>
            <a:off x="2155369" y="213244"/>
            <a:ext cx="7256453" cy="447041"/>
          </a:xfrm>
          <a:prstGeom prst="rect">
            <a:avLst/>
          </a:prstGeom>
          <a:solidFill>
            <a:schemeClr val="bg1"/>
          </a:solidFill>
        </p:spPr>
        <p:txBody>
          <a:bodyPr wrap="square" lIns="76957" tIns="38479" rIns="76957" bIns="38479" rtlCol="0">
            <a:spAutoFit/>
          </a:bodyPr>
          <a:lstStyle/>
          <a:p>
            <a:pPr defTabSz="769548"/>
            <a:r>
              <a:rPr lang="tr-TR" sz="2400" b="1" dirty="0" smtClean="0">
                <a:solidFill>
                  <a:srgbClr val="00BAD5"/>
                </a:solidFill>
              </a:rPr>
              <a:t>Destek Gerçekleşmeleri İle İlgili Göstergeler (2016-2020)</a:t>
            </a:r>
            <a:endParaRPr lang="en-GB" sz="2400" b="1" dirty="0">
              <a:solidFill>
                <a:srgbClr val="00BAD5"/>
              </a:solidFill>
            </a:endParaRPr>
          </a:p>
        </p:txBody>
      </p:sp>
      <p:pic>
        <p:nvPicPr>
          <p:cNvPr id="6" name="Picture 3"/>
          <p:cNvPicPr>
            <a:picLocks noChangeAspect="1" noChangeArrowheads="1"/>
          </p:cNvPicPr>
          <p:nvPr/>
        </p:nvPicPr>
        <p:blipFill>
          <a:blip r:embed="rId2" cstate="print"/>
          <a:srcRect/>
          <a:stretch>
            <a:fillRect/>
          </a:stretch>
        </p:blipFill>
        <p:spPr bwMode="auto">
          <a:xfrm>
            <a:off x="333632" y="82015"/>
            <a:ext cx="919801" cy="648787"/>
          </a:xfrm>
          <a:prstGeom prst="rect">
            <a:avLst/>
          </a:prstGeom>
          <a:noFill/>
          <a:ln w="9525">
            <a:noFill/>
            <a:miter lim="800000"/>
            <a:headEnd/>
            <a:tailEnd/>
          </a:ln>
        </p:spPr>
      </p:pic>
      <p:pic>
        <p:nvPicPr>
          <p:cNvPr id="7" name="Picture 2" descr="https://www.sanayi.gov.tr/assets/img/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07410" y="75981"/>
            <a:ext cx="2149779" cy="76476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Tablo 8"/>
          <p:cNvGraphicFramePr>
            <a:graphicFrameLocks noGrp="1"/>
          </p:cNvGraphicFramePr>
          <p:nvPr>
            <p:extLst>
              <p:ext uri="{D42A27DB-BD31-4B8C-83A1-F6EECF244321}">
                <p14:modId xmlns:p14="http://schemas.microsoft.com/office/powerpoint/2010/main" val="2270195789"/>
              </p:ext>
            </p:extLst>
          </p:nvPr>
        </p:nvGraphicFramePr>
        <p:xfrm>
          <a:off x="259494" y="780230"/>
          <a:ext cx="11331146" cy="6025934"/>
        </p:xfrm>
        <a:graphic>
          <a:graphicData uri="http://schemas.openxmlformats.org/drawingml/2006/table">
            <a:tbl>
              <a:tblPr/>
              <a:tblGrid>
                <a:gridCol w="4670855">
                  <a:extLst>
                    <a:ext uri="{9D8B030D-6E8A-4147-A177-3AD203B41FA5}">
                      <a16:colId xmlns:a16="http://schemas.microsoft.com/office/drawing/2014/main" val="20000"/>
                    </a:ext>
                  </a:extLst>
                </a:gridCol>
                <a:gridCol w="1071597">
                  <a:extLst>
                    <a:ext uri="{9D8B030D-6E8A-4147-A177-3AD203B41FA5}">
                      <a16:colId xmlns:a16="http://schemas.microsoft.com/office/drawing/2014/main" val="2122056232"/>
                    </a:ext>
                  </a:extLst>
                </a:gridCol>
                <a:gridCol w="1363749">
                  <a:extLst>
                    <a:ext uri="{9D8B030D-6E8A-4147-A177-3AD203B41FA5}">
                      <a16:colId xmlns:a16="http://schemas.microsoft.com/office/drawing/2014/main" val="20001"/>
                    </a:ext>
                  </a:extLst>
                </a:gridCol>
                <a:gridCol w="1096346">
                  <a:extLst>
                    <a:ext uri="{9D8B030D-6E8A-4147-A177-3AD203B41FA5}">
                      <a16:colId xmlns:a16="http://schemas.microsoft.com/office/drawing/2014/main" val="4049672648"/>
                    </a:ext>
                  </a:extLst>
                </a:gridCol>
                <a:gridCol w="1499993">
                  <a:extLst>
                    <a:ext uri="{9D8B030D-6E8A-4147-A177-3AD203B41FA5}">
                      <a16:colId xmlns:a16="http://schemas.microsoft.com/office/drawing/2014/main" val="20002"/>
                    </a:ext>
                  </a:extLst>
                </a:gridCol>
                <a:gridCol w="1628606">
                  <a:extLst>
                    <a:ext uri="{9D8B030D-6E8A-4147-A177-3AD203B41FA5}">
                      <a16:colId xmlns:a16="http://schemas.microsoft.com/office/drawing/2014/main" val="20003"/>
                    </a:ext>
                  </a:extLst>
                </a:gridCol>
              </a:tblGrid>
              <a:tr h="539808">
                <a:tc>
                  <a:txBody>
                    <a:bodyPr/>
                    <a:lstStyle/>
                    <a:p>
                      <a:pPr algn="ctr" rtl="0" fontAlgn="ctr"/>
                      <a:r>
                        <a:rPr lang="tr-TR" sz="1300" b="1" i="0" u="none" strike="noStrike" dirty="0">
                          <a:solidFill>
                            <a:srgbClr val="000000"/>
                          </a:solidFill>
                          <a:effectLst/>
                          <a:latin typeface="Times New Roman"/>
                        </a:rPr>
                        <a:t>DESTEK PROGRAMLARI</a:t>
                      </a: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3CDDD"/>
                    </a:solidFill>
                  </a:tcPr>
                </a:tc>
                <a:tc>
                  <a:txBody>
                    <a:bodyPr/>
                    <a:lstStyle/>
                    <a:p>
                      <a:pPr algn="ctr" rtl="0" fontAlgn="ctr"/>
                      <a:r>
                        <a:rPr lang="tr-TR" sz="1300" b="1" i="0" u="none" strike="noStrike" dirty="0" smtClean="0">
                          <a:solidFill>
                            <a:srgbClr val="000000"/>
                          </a:solidFill>
                          <a:effectLst/>
                          <a:latin typeface="Times New Roman"/>
                        </a:rPr>
                        <a:t>İşletme</a:t>
                      </a:r>
                      <a:r>
                        <a:rPr lang="tr-TR" sz="1300" b="1" i="0" u="none" strike="noStrike" baseline="0" dirty="0" smtClean="0">
                          <a:solidFill>
                            <a:srgbClr val="000000"/>
                          </a:solidFill>
                          <a:effectLst/>
                          <a:latin typeface="Times New Roman"/>
                        </a:rPr>
                        <a:t> Sayısı</a:t>
                      </a:r>
                      <a:endParaRPr lang="tr-TR" sz="1300" b="1" i="0" u="none" strike="noStrike" dirty="0">
                        <a:solidFill>
                          <a:srgbClr val="000000"/>
                        </a:solidFill>
                        <a:effectLst/>
                        <a:latin typeface="Times New Roman"/>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rtl="0" fontAlgn="ctr"/>
                      <a:r>
                        <a:rPr lang="tr-TR" sz="1300" b="1" i="0" u="none" strike="noStrike" dirty="0" smtClean="0">
                          <a:solidFill>
                            <a:srgbClr val="000000"/>
                          </a:solidFill>
                          <a:effectLst/>
                          <a:latin typeface="Times New Roman"/>
                        </a:rPr>
                        <a:t>Geri Ödemesiz </a:t>
                      </a:r>
                      <a:br>
                        <a:rPr lang="tr-TR" sz="1300" b="1" i="0" u="none" strike="noStrike" dirty="0" smtClean="0">
                          <a:solidFill>
                            <a:srgbClr val="000000"/>
                          </a:solidFill>
                          <a:effectLst/>
                          <a:latin typeface="Times New Roman"/>
                        </a:rPr>
                      </a:br>
                      <a:r>
                        <a:rPr lang="tr-TR" sz="1300" b="1" i="0" u="none" strike="noStrike" dirty="0" smtClean="0">
                          <a:solidFill>
                            <a:srgbClr val="000000"/>
                          </a:solidFill>
                          <a:effectLst/>
                          <a:latin typeface="Times New Roman"/>
                        </a:rPr>
                        <a:t>Destek</a:t>
                      </a:r>
                      <a:r>
                        <a:rPr lang="tr-TR" sz="1300" b="1" i="0" u="none" strike="noStrike" baseline="0" dirty="0" smtClean="0">
                          <a:solidFill>
                            <a:srgbClr val="000000"/>
                          </a:solidFill>
                          <a:effectLst/>
                          <a:latin typeface="Times New Roman"/>
                        </a:rPr>
                        <a:t> Tutarı (TL)</a:t>
                      </a:r>
                      <a:endParaRPr lang="tr-TR" sz="1300" b="1" i="0" u="none" strike="noStrike" dirty="0">
                        <a:solidFill>
                          <a:srgbClr val="000000"/>
                        </a:solidFill>
                        <a:effectLst/>
                        <a:latin typeface="Times New Roman"/>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marL="0" marR="0" indent="0" algn="ctr" defTabSz="917496" rtl="0" eaLnBrk="1" fontAlgn="ctr" latinLnBrk="0" hangingPunct="1">
                        <a:lnSpc>
                          <a:spcPct val="100000"/>
                        </a:lnSpc>
                        <a:spcBef>
                          <a:spcPts val="0"/>
                        </a:spcBef>
                        <a:spcAft>
                          <a:spcPts val="0"/>
                        </a:spcAft>
                        <a:buClrTx/>
                        <a:buSzTx/>
                        <a:buFontTx/>
                        <a:buNone/>
                        <a:tabLst/>
                        <a:defRPr/>
                      </a:pPr>
                      <a:r>
                        <a:rPr lang="tr-TR" sz="1300" b="1" i="0" u="none" strike="noStrike" dirty="0" smtClean="0">
                          <a:solidFill>
                            <a:srgbClr val="000000"/>
                          </a:solidFill>
                          <a:effectLst/>
                          <a:latin typeface="Times New Roman"/>
                        </a:rPr>
                        <a:t>İşletme</a:t>
                      </a:r>
                      <a:r>
                        <a:rPr lang="tr-TR" sz="1300" b="1" i="0" u="none" strike="noStrike" baseline="0" dirty="0" smtClean="0">
                          <a:solidFill>
                            <a:srgbClr val="000000"/>
                          </a:solidFill>
                          <a:effectLst/>
                          <a:latin typeface="Times New Roman"/>
                        </a:rPr>
                        <a:t> Sayısı</a:t>
                      </a:r>
                      <a:endParaRPr lang="tr-TR" sz="1300" b="1" i="0" u="none" strike="noStrike" dirty="0" smtClean="0">
                        <a:solidFill>
                          <a:srgbClr val="000000"/>
                        </a:solidFill>
                        <a:effectLst/>
                        <a:latin typeface="Times New Roman"/>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rtl="0" fontAlgn="ctr"/>
                      <a:r>
                        <a:rPr lang="tr-TR" sz="1300" b="1" i="0" u="none" strike="noStrike" dirty="0" smtClean="0">
                          <a:solidFill>
                            <a:schemeClr val="tx1"/>
                          </a:solidFill>
                          <a:effectLst/>
                          <a:latin typeface="Times New Roman"/>
                        </a:rPr>
                        <a:t>Geri Ödemeli </a:t>
                      </a:r>
                      <a:br>
                        <a:rPr lang="tr-TR" sz="1300" b="1" i="0" u="none" strike="noStrike" dirty="0" smtClean="0">
                          <a:solidFill>
                            <a:schemeClr val="tx1"/>
                          </a:solidFill>
                          <a:effectLst/>
                          <a:latin typeface="Times New Roman"/>
                        </a:rPr>
                      </a:br>
                      <a:r>
                        <a:rPr lang="tr-TR" sz="1300" b="1" i="0" u="none" strike="noStrike" dirty="0" smtClean="0">
                          <a:solidFill>
                            <a:schemeClr val="tx1"/>
                          </a:solidFill>
                          <a:effectLst/>
                          <a:latin typeface="Times New Roman"/>
                        </a:rPr>
                        <a:t>Destek</a:t>
                      </a:r>
                      <a:r>
                        <a:rPr lang="tr-TR" sz="1300" b="1" i="0" u="none" strike="noStrike" baseline="0" dirty="0" smtClean="0">
                          <a:solidFill>
                            <a:schemeClr val="tx1"/>
                          </a:solidFill>
                          <a:effectLst/>
                          <a:latin typeface="Times New Roman"/>
                        </a:rPr>
                        <a:t> Tutarı (TL)</a:t>
                      </a:r>
                      <a:endParaRPr lang="tr-TR" sz="1300" b="1" i="0" u="none" strike="noStrike" dirty="0">
                        <a:solidFill>
                          <a:schemeClr val="tx1"/>
                        </a:solidFill>
                        <a:effectLst/>
                        <a:latin typeface="Times New Roman"/>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rtl="0" fontAlgn="ctr"/>
                      <a:r>
                        <a:rPr lang="tr-TR" sz="1300" b="1" i="0" u="none" strike="noStrike" dirty="0" smtClean="0">
                          <a:solidFill>
                            <a:srgbClr val="000000"/>
                          </a:solidFill>
                          <a:effectLst/>
                          <a:latin typeface="Times New Roman"/>
                        </a:rPr>
                        <a:t>Yüzde</a:t>
                      </a:r>
                      <a:endParaRPr lang="tr-TR" sz="1300" b="1" i="0" u="none" strike="noStrike" dirty="0">
                        <a:solidFill>
                          <a:srgbClr val="000000"/>
                        </a:solidFill>
                        <a:effectLst/>
                        <a:latin typeface="Times New Roman"/>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extLst>
                  <a:ext uri="{0D108BD9-81ED-4DB2-BD59-A6C34878D82A}">
                    <a16:rowId xmlns:a16="http://schemas.microsoft.com/office/drawing/2014/main" val="10000"/>
                  </a:ext>
                </a:extLst>
              </a:tr>
              <a:tr h="251165">
                <a:tc>
                  <a:txBody>
                    <a:bodyPr/>
                    <a:lstStyle/>
                    <a:p>
                      <a:pPr algn="l" fontAlgn="ctr"/>
                      <a:r>
                        <a:rPr lang="tr-TR" sz="1400" b="0" i="0" u="none" strike="noStrike" dirty="0">
                          <a:solidFill>
                            <a:srgbClr val="000000"/>
                          </a:solidFill>
                          <a:effectLst/>
                          <a:latin typeface="+mn-lt"/>
                        </a:rPr>
                        <a:t>AR-GE, İNOVASYON VE ENDÜSTRİYEL UYGULAMA D.P.</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5.34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310.009.76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29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tr-TR" sz="1400" b="0" i="0" u="none" strike="noStrike" dirty="0">
                          <a:solidFill>
                            <a:srgbClr val="000000"/>
                          </a:solidFill>
                          <a:effectLst/>
                          <a:latin typeface="+mn-lt"/>
                        </a:rPr>
                        <a:t>45.179.46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r>
                        <a:rPr lang="tr-TR" sz="1400" b="0" i="0" u="none" strike="noStrike" kern="1200" dirty="0" smtClean="0">
                          <a:solidFill>
                            <a:srgbClr val="000000"/>
                          </a:solidFill>
                          <a:effectLst/>
                          <a:latin typeface="+mn-lt"/>
                          <a:ea typeface="+mn-ea"/>
                          <a:cs typeface="+mn-cs"/>
                        </a:rPr>
                        <a:t>5,92</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51165">
                <a:tc>
                  <a:txBody>
                    <a:bodyPr/>
                    <a:lstStyle/>
                    <a:p>
                      <a:pPr algn="l" fontAlgn="ctr"/>
                      <a:r>
                        <a:rPr lang="tr-TR" sz="1400" b="0" i="0" u="none" strike="noStrike" dirty="0">
                          <a:solidFill>
                            <a:srgbClr val="000000"/>
                          </a:solidFill>
                          <a:effectLst/>
                          <a:latin typeface="+mn-lt"/>
                        </a:rPr>
                        <a:t>GELİŞEN İŞLETMELER PİYASASI KOBİ DESTEK PROGRAMI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181.73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r>
                        <a:rPr lang="tr-TR" sz="1400" b="0" i="0" u="none" strike="noStrike" kern="1200" dirty="0" smtClean="0">
                          <a:solidFill>
                            <a:srgbClr val="000000"/>
                          </a:solidFill>
                          <a:effectLst/>
                          <a:latin typeface="+mn-lt"/>
                          <a:ea typeface="+mn-ea"/>
                          <a:cs typeface="+mn-cs"/>
                        </a:rPr>
                        <a:t>0,01</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51165">
                <a:tc>
                  <a:txBody>
                    <a:bodyPr/>
                    <a:lstStyle/>
                    <a:p>
                      <a:pPr algn="l" fontAlgn="ctr"/>
                      <a:r>
                        <a:rPr lang="tr-TR" sz="1400" b="0" i="0" u="none" strike="noStrike" dirty="0">
                          <a:solidFill>
                            <a:srgbClr val="000000"/>
                          </a:solidFill>
                          <a:effectLst/>
                          <a:latin typeface="+mn-lt"/>
                        </a:rPr>
                        <a:t>GENEL DESTEK PROGRAMI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121.99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1.137.925.34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r>
                        <a:rPr lang="tr-TR" sz="1400" b="0" i="0" u="none" strike="noStrike" kern="1200" dirty="0" smtClean="0">
                          <a:solidFill>
                            <a:srgbClr val="000000"/>
                          </a:solidFill>
                          <a:effectLst/>
                          <a:latin typeface="+mn-lt"/>
                          <a:ea typeface="+mn-ea"/>
                          <a:cs typeface="+mn-cs"/>
                        </a:rPr>
                        <a:t>18,98</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51165">
                <a:tc>
                  <a:txBody>
                    <a:bodyPr/>
                    <a:lstStyle/>
                    <a:p>
                      <a:pPr algn="l" fontAlgn="ctr"/>
                      <a:r>
                        <a:rPr lang="tr-TR" sz="1400" b="0" i="0" u="none" strike="noStrike" dirty="0">
                          <a:solidFill>
                            <a:srgbClr val="000000"/>
                          </a:solidFill>
                          <a:effectLst/>
                          <a:latin typeface="+mn-lt"/>
                        </a:rPr>
                        <a:t>GİRİŞİMCİLİK DESTEK PROGRAMI</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104.91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1.686.742.15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2.99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tr-TR" sz="1400" b="0" i="0" u="none" strike="noStrike" dirty="0">
                          <a:solidFill>
                            <a:srgbClr val="000000"/>
                          </a:solidFill>
                          <a:effectLst/>
                          <a:latin typeface="+mn-lt"/>
                        </a:rPr>
                        <a:t>171.883.58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r>
                        <a:rPr lang="tr-TR" sz="1400" b="0" i="0" u="none" strike="noStrike" kern="1200" dirty="0" smtClean="0">
                          <a:solidFill>
                            <a:srgbClr val="000000"/>
                          </a:solidFill>
                          <a:effectLst/>
                          <a:latin typeface="+mn-lt"/>
                          <a:ea typeface="+mn-ea"/>
                          <a:cs typeface="+mn-cs"/>
                        </a:rPr>
                        <a:t>31</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51165">
                <a:tc>
                  <a:txBody>
                    <a:bodyPr/>
                    <a:lstStyle/>
                    <a:p>
                      <a:pPr algn="l" fontAlgn="ctr"/>
                      <a:r>
                        <a:rPr lang="tr-TR" sz="1400" b="0" i="0" u="none" strike="noStrike" dirty="0">
                          <a:solidFill>
                            <a:srgbClr val="000000"/>
                          </a:solidFill>
                          <a:effectLst/>
                          <a:latin typeface="+mn-lt"/>
                        </a:rPr>
                        <a:t>İŞBİRLİĞİ-GÜÇBİRLİĞİ DESTEK PROGRAMI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1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21.103.71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4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tr-TR" sz="1400" b="0" i="0" u="none" strike="noStrike" dirty="0">
                          <a:solidFill>
                            <a:srgbClr val="000000"/>
                          </a:solidFill>
                          <a:effectLst/>
                          <a:latin typeface="+mn-lt"/>
                        </a:rPr>
                        <a:t>12.837.70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r>
                        <a:rPr lang="tr-TR" sz="1400" b="0" i="0" u="none" strike="noStrike" kern="1200" dirty="0" smtClean="0">
                          <a:solidFill>
                            <a:srgbClr val="000000"/>
                          </a:solidFill>
                          <a:effectLst/>
                          <a:latin typeface="+mn-lt"/>
                          <a:ea typeface="+mn-ea"/>
                          <a:cs typeface="+mn-cs"/>
                        </a:rPr>
                        <a:t>0,56</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51165">
                <a:tc>
                  <a:txBody>
                    <a:bodyPr/>
                    <a:lstStyle/>
                    <a:p>
                      <a:pPr algn="l" fontAlgn="ctr"/>
                      <a:r>
                        <a:rPr lang="tr-TR" sz="1400" b="0" i="0" u="none" strike="noStrike" dirty="0">
                          <a:solidFill>
                            <a:srgbClr val="000000"/>
                          </a:solidFill>
                          <a:effectLst/>
                          <a:latin typeface="+mn-lt"/>
                        </a:rPr>
                        <a:t>KOBİ PROJE DESTEK PROGRAMI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1.03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27.688.59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tr-TR" sz="1400" b="0" i="0" u="none" strike="noStrike" kern="1200" dirty="0" smtClean="0">
                          <a:solidFill>
                            <a:srgbClr val="000000"/>
                          </a:solidFill>
                          <a:effectLst/>
                          <a:latin typeface="+mn-lt"/>
                          <a:ea typeface="+mn-ea"/>
                          <a:cs typeface="+mn-cs"/>
                        </a:rPr>
                        <a:t>0,46</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251165">
                <a:tc>
                  <a:txBody>
                    <a:bodyPr/>
                    <a:lstStyle/>
                    <a:p>
                      <a:pPr algn="l" fontAlgn="ctr"/>
                      <a:r>
                        <a:rPr lang="tr-TR" sz="1400" b="0" i="0" u="none" strike="noStrike" dirty="0">
                          <a:solidFill>
                            <a:srgbClr val="000000"/>
                          </a:solidFill>
                          <a:effectLst/>
                          <a:latin typeface="+mn-lt"/>
                        </a:rPr>
                        <a:t>KOBİGEL - KOBİ GELİŞİM DESTEK PROGRAMI</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8.16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709.306.09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1.91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334.476.89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tr-TR" sz="1400" b="0" i="0" u="none" strike="noStrike" kern="1200" dirty="0" smtClean="0">
                          <a:solidFill>
                            <a:srgbClr val="000000"/>
                          </a:solidFill>
                          <a:effectLst/>
                          <a:latin typeface="+mn-lt"/>
                          <a:ea typeface="+mn-ea"/>
                          <a:cs typeface="+mn-cs"/>
                        </a:rPr>
                        <a:t>17,41</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251165">
                <a:tc>
                  <a:txBody>
                    <a:bodyPr/>
                    <a:lstStyle/>
                    <a:p>
                      <a:pPr algn="l" fontAlgn="ctr"/>
                      <a:r>
                        <a:rPr lang="tr-TR" sz="1400" b="0" i="0" u="none" strike="noStrike">
                          <a:solidFill>
                            <a:srgbClr val="000000"/>
                          </a:solidFill>
                          <a:effectLst/>
                          <a:latin typeface="+mn-lt"/>
                        </a:rPr>
                        <a:t>TEKNOPAZAR - TEKNOLOJİK ÜRÜN TANITIM VE PAZARLAMA D.P.</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33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8.097.3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tr-TR" sz="1400" b="0" i="0" u="none" strike="noStrike" kern="1200" dirty="0" smtClean="0">
                          <a:solidFill>
                            <a:srgbClr val="000000"/>
                          </a:solidFill>
                          <a:effectLst/>
                          <a:latin typeface="+mn-lt"/>
                          <a:ea typeface="+mn-ea"/>
                          <a:cs typeface="+mn-cs"/>
                        </a:rPr>
                        <a:t>0,13</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251165">
                <a:tc>
                  <a:txBody>
                    <a:bodyPr/>
                    <a:lstStyle/>
                    <a:p>
                      <a:pPr algn="l" fontAlgn="ctr"/>
                      <a:r>
                        <a:rPr lang="tr-TR" sz="1400" b="0" i="0" u="none" strike="noStrike" dirty="0">
                          <a:solidFill>
                            <a:srgbClr val="000000"/>
                          </a:solidFill>
                          <a:effectLst/>
                          <a:latin typeface="+mn-lt"/>
                        </a:rPr>
                        <a:t>TEMİNAT GİDERLERİ DESTEĞİ</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70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770.31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tr-TR" sz="1400" b="0" i="0" u="none" strike="noStrike" kern="1200" dirty="0" smtClean="0">
                          <a:solidFill>
                            <a:srgbClr val="000000"/>
                          </a:solidFill>
                          <a:effectLst/>
                          <a:latin typeface="+mn-lt"/>
                          <a:ea typeface="+mn-ea"/>
                          <a:cs typeface="+mn-cs"/>
                        </a:rPr>
                        <a:t>0,01</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251165">
                <a:tc>
                  <a:txBody>
                    <a:bodyPr/>
                    <a:lstStyle/>
                    <a:p>
                      <a:pPr algn="l" fontAlgn="ctr"/>
                      <a:r>
                        <a:rPr lang="tr-TR" sz="1400" b="0" i="0" u="none" strike="noStrike" dirty="0">
                          <a:solidFill>
                            <a:srgbClr val="000000"/>
                          </a:solidFill>
                          <a:effectLst/>
                          <a:latin typeface="+mn-lt"/>
                        </a:rPr>
                        <a:t>STRATEJİK ÜRÜN DESTEK PROGRAMI</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14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179.891.61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6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tr-TR" sz="1400" b="0" i="0" u="none" strike="noStrike" dirty="0">
                          <a:solidFill>
                            <a:srgbClr val="000000"/>
                          </a:solidFill>
                          <a:effectLst/>
                          <a:latin typeface="+mn-lt"/>
                        </a:rPr>
                        <a:t>37.727.2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r>
                        <a:rPr lang="tr-TR" sz="1400" b="0" i="0" u="none" strike="noStrike" kern="1200" dirty="0" smtClean="0">
                          <a:solidFill>
                            <a:srgbClr val="000000"/>
                          </a:solidFill>
                          <a:effectLst/>
                          <a:latin typeface="+mn-lt"/>
                          <a:ea typeface="+mn-ea"/>
                          <a:cs typeface="+mn-cs"/>
                        </a:rPr>
                        <a:t>3,62</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51165">
                <a:tc>
                  <a:txBody>
                    <a:bodyPr/>
                    <a:lstStyle/>
                    <a:p>
                      <a:pPr algn="l" fontAlgn="ctr"/>
                      <a:r>
                        <a:rPr lang="tr-TR" sz="1400" b="0" i="0" u="none" strike="noStrike" dirty="0">
                          <a:solidFill>
                            <a:srgbClr val="000000"/>
                          </a:solidFill>
                          <a:effectLst/>
                          <a:latin typeface="+mn-lt"/>
                        </a:rPr>
                        <a:t>KOBİ TEKNOYATIRIM - KOBİ TEKNOLOJİK ÜRÜN YATIRIM D.P.</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1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178.146.05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8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tr-TR" sz="1400" b="0" i="0" u="none" strike="noStrike" dirty="0">
                          <a:solidFill>
                            <a:srgbClr val="000000"/>
                          </a:solidFill>
                          <a:effectLst/>
                          <a:latin typeface="+mn-lt"/>
                        </a:rPr>
                        <a:t>70.339.70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r>
                        <a:rPr lang="tr-TR" sz="1400" b="0" i="0" u="none" strike="noStrike" kern="1200" dirty="0" smtClean="0">
                          <a:solidFill>
                            <a:srgbClr val="000000"/>
                          </a:solidFill>
                          <a:effectLst/>
                          <a:latin typeface="+mn-lt"/>
                          <a:ea typeface="+mn-ea"/>
                          <a:cs typeface="+mn-cs"/>
                        </a:rPr>
                        <a:t>4,14</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51165">
                <a:tc>
                  <a:txBody>
                    <a:bodyPr/>
                    <a:lstStyle/>
                    <a:p>
                      <a:pPr algn="l" fontAlgn="ctr"/>
                      <a:r>
                        <a:rPr lang="tr-TR" sz="1400" b="0" i="0" u="none" strike="noStrike" dirty="0" smtClean="0">
                          <a:solidFill>
                            <a:srgbClr val="000000"/>
                          </a:solidFill>
                          <a:effectLst/>
                          <a:latin typeface="+mn-lt"/>
                        </a:rPr>
                        <a:t>İŞLETME </a:t>
                      </a:r>
                      <a:r>
                        <a:rPr lang="tr-TR" sz="1400" b="0" i="0" u="none" strike="noStrike" dirty="0">
                          <a:solidFill>
                            <a:srgbClr val="000000"/>
                          </a:solidFill>
                          <a:effectLst/>
                          <a:latin typeface="+mn-lt"/>
                        </a:rPr>
                        <a:t>GELİŞTRME DESTEK PROGRAMI</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32.54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436.645.67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tr-TR" sz="1400" b="0" i="0" u="none" strike="noStrike" dirty="0" smtClean="0">
                          <a:solidFill>
                            <a:srgbClr val="000000"/>
                          </a:solidFill>
                          <a:effectLst/>
                          <a:latin typeface="+mn-lt"/>
                        </a:rPr>
                        <a:t>7,28</a:t>
                      </a:r>
                      <a:endParaRPr lang="tr-TR"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193199232"/>
                  </a:ext>
                </a:extLst>
              </a:tr>
              <a:tr h="251165">
                <a:tc>
                  <a:txBody>
                    <a:bodyPr/>
                    <a:lstStyle/>
                    <a:p>
                      <a:pPr algn="l" fontAlgn="ctr"/>
                      <a:r>
                        <a:rPr lang="tr-TR" sz="1400" b="0" i="0" u="none" strike="noStrike" dirty="0">
                          <a:solidFill>
                            <a:srgbClr val="000000"/>
                          </a:solidFill>
                          <a:effectLst/>
                          <a:latin typeface="+mn-lt"/>
                        </a:rPr>
                        <a:t>ULUSLARARASI KULUÇKA MERKEZİ VE HIZLANDIRICI D.P.</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4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12.443.10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tr-TR" sz="1400" b="0" i="0" u="none" strike="noStrike" dirty="0" smtClean="0">
                          <a:solidFill>
                            <a:srgbClr val="000000"/>
                          </a:solidFill>
                          <a:effectLst/>
                          <a:latin typeface="+mn-lt"/>
                        </a:rPr>
                        <a:t>0,20</a:t>
                      </a:r>
                      <a:endParaRPr lang="tr-TR"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645090828"/>
                  </a:ext>
                </a:extLst>
              </a:tr>
              <a:tr h="251165">
                <a:tc>
                  <a:txBody>
                    <a:bodyPr/>
                    <a:lstStyle/>
                    <a:p>
                      <a:pPr algn="l" fontAlgn="ctr"/>
                      <a:r>
                        <a:rPr lang="tr-TR" sz="1400" b="0" i="0" u="none" strike="noStrike" dirty="0">
                          <a:solidFill>
                            <a:srgbClr val="000000"/>
                          </a:solidFill>
                          <a:effectLst/>
                          <a:latin typeface="+mn-lt"/>
                        </a:rPr>
                        <a:t>GİRİŞİMCİLİĞİ GELİŞTİRME D.P.</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5.29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127.667.8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tr-TR" sz="1400" b="0" i="0" u="none" strike="noStrike" dirty="0" smtClean="0">
                          <a:solidFill>
                            <a:srgbClr val="000000"/>
                          </a:solidFill>
                          <a:effectLst/>
                          <a:latin typeface="+mn-lt"/>
                        </a:rPr>
                        <a:t>2,12</a:t>
                      </a:r>
                      <a:endParaRPr lang="tr-TR"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751845456"/>
                  </a:ext>
                </a:extLst>
              </a:tr>
              <a:tr h="251165">
                <a:tc>
                  <a:txBody>
                    <a:bodyPr/>
                    <a:lstStyle/>
                    <a:p>
                      <a:pPr algn="l" fontAlgn="ctr"/>
                      <a:r>
                        <a:rPr lang="tr-TR" sz="1400" b="0" i="0" u="none" strike="noStrike" dirty="0">
                          <a:solidFill>
                            <a:srgbClr val="000000"/>
                          </a:solidFill>
                          <a:effectLst/>
                          <a:latin typeface="+mn-lt"/>
                        </a:rPr>
                        <a:t>GELENEKSEL GİRİŞİMCİ D.P</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11.76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74.318.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tr-TR" sz="1400" b="0" i="0" u="none" strike="noStrike" dirty="0" smtClean="0">
                          <a:solidFill>
                            <a:srgbClr val="000000"/>
                          </a:solidFill>
                          <a:effectLst/>
                          <a:latin typeface="+mn-lt"/>
                        </a:rPr>
                        <a:t>1,23</a:t>
                      </a:r>
                      <a:endParaRPr lang="tr-TR"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432477786"/>
                  </a:ext>
                </a:extLst>
              </a:tr>
              <a:tr h="251165">
                <a:tc>
                  <a:txBody>
                    <a:bodyPr/>
                    <a:lstStyle/>
                    <a:p>
                      <a:pPr algn="l" fontAlgn="ctr"/>
                      <a:r>
                        <a:rPr lang="tr-TR" sz="1400" b="0" i="0" u="none" strike="noStrike" dirty="0">
                          <a:solidFill>
                            <a:srgbClr val="000000"/>
                          </a:solidFill>
                          <a:effectLst/>
                          <a:latin typeface="+mn-lt"/>
                        </a:rPr>
                        <a:t>İLERİ GİRİŞİMCİ D.P.</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6.0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372.926.06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tr-TR" sz="1400" b="0" i="0" u="none" strike="noStrike" dirty="0" smtClean="0">
                          <a:solidFill>
                            <a:srgbClr val="000000"/>
                          </a:solidFill>
                          <a:effectLst/>
                          <a:latin typeface="+mn-lt"/>
                        </a:rPr>
                        <a:t>6,22</a:t>
                      </a:r>
                      <a:endParaRPr lang="tr-TR"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863734012"/>
                  </a:ext>
                </a:extLst>
              </a:tr>
              <a:tr h="251165">
                <a:tc>
                  <a:txBody>
                    <a:bodyPr/>
                    <a:lstStyle/>
                    <a:p>
                      <a:pPr algn="l" fontAlgn="ctr"/>
                      <a:r>
                        <a:rPr lang="tr-TR" sz="1400" b="0" i="0" u="none" strike="noStrike" dirty="0">
                          <a:solidFill>
                            <a:srgbClr val="000000"/>
                          </a:solidFill>
                          <a:effectLst/>
                          <a:latin typeface="+mn-lt"/>
                        </a:rPr>
                        <a:t>İŞBİRLİĞİ DESTEK PROGRAMI</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20.005.16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smtClean="0">
                          <a:solidFill>
                            <a:srgbClr val="000000"/>
                          </a:solidFill>
                          <a:effectLst/>
                          <a:latin typeface="+mn-lt"/>
                        </a:rPr>
                        <a:t>30</a:t>
                      </a:r>
                      <a:endParaRPr lang="tr-TR"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tr-TR" sz="1400" b="0" i="0" u="none" strike="noStrike" dirty="0">
                          <a:solidFill>
                            <a:srgbClr val="000000"/>
                          </a:solidFill>
                          <a:effectLst/>
                          <a:latin typeface="+mn-lt"/>
                        </a:rPr>
                        <a:t>10.917.84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r>
                        <a:rPr lang="tr-TR" sz="1400" b="0" i="0" u="none" strike="noStrike" kern="1200" dirty="0" smtClean="0">
                          <a:solidFill>
                            <a:srgbClr val="000000"/>
                          </a:solidFill>
                          <a:effectLst/>
                          <a:latin typeface="+mn-lt"/>
                          <a:ea typeface="+mn-ea"/>
                          <a:cs typeface="+mn-cs"/>
                        </a:rPr>
                        <a:t>0,51</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920896122"/>
                  </a:ext>
                </a:extLst>
              </a:tr>
              <a:tr h="251165">
                <a:tc>
                  <a:txBody>
                    <a:bodyPr/>
                    <a:lstStyle/>
                    <a:p>
                      <a:pPr algn="l" fontAlgn="ctr"/>
                      <a:r>
                        <a:rPr lang="tr-TR" sz="1400" b="0" i="0" u="none" strike="noStrike" dirty="0">
                          <a:solidFill>
                            <a:srgbClr val="000000"/>
                          </a:solidFill>
                          <a:effectLst/>
                          <a:latin typeface="+mn-lt"/>
                        </a:rPr>
                        <a:t>YURT DIŞI PAZAR DESTEK PROGRAMI</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4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4.886.81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smtClean="0">
                          <a:solidFill>
                            <a:srgbClr val="000000"/>
                          </a:solidFill>
                          <a:effectLst/>
                          <a:latin typeface="+mn-lt"/>
                        </a:rPr>
                        <a:t>142</a:t>
                      </a:r>
                      <a:endParaRPr lang="tr-TR"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tr-TR" sz="1400" b="0" i="0" u="none" strike="noStrike" dirty="0">
                          <a:solidFill>
                            <a:srgbClr val="000000"/>
                          </a:solidFill>
                          <a:effectLst/>
                          <a:latin typeface="+mn-lt"/>
                        </a:rPr>
                        <a:t>1.521.7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r>
                        <a:rPr lang="tr-TR" sz="1400" b="0" i="0" u="none" strike="noStrike" kern="1200" dirty="0" smtClean="0">
                          <a:solidFill>
                            <a:srgbClr val="000000"/>
                          </a:solidFill>
                          <a:effectLst/>
                          <a:latin typeface="+mn-lt"/>
                          <a:ea typeface="+mn-ea"/>
                          <a:cs typeface="+mn-cs"/>
                        </a:rPr>
                        <a:t>0,10</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068895209"/>
                  </a:ext>
                </a:extLst>
              </a:tr>
              <a:tr h="251165">
                <a:tc>
                  <a:txBody>
                    <a:bodyPr/>
                    <a:lstStyle/>
                    <a:p>
                      <a:pPr algn="l" fontAlgn="ctr"/>
                      <a:r>
                        <a:rPr lang="tr-TR" sz="1400" b="0" i="0" u="none" strike="noStrike" dirty="0">
                          <a:solidFill>
                            <a:srgbClr val="000000"/>
                          </a:solidFill>
                          <a:effectLst/>
                          <a:latin typeface="+mn-lt"/>
                        </a:rPr>
                        <a:t>İŞGEM/TEKMER PROGRAMI</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6.59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r>
                        <a:rPr lang="tr-TR" sz="1400" b="0" i="0" u="none" strike="noStrike" kern="1200" dirty="0" smtClean="0">
                          <a:solidFill>
                            <a:srgbClr val="000000"/>
                          </a:solidFill>
                          <a:effectLst/>
                          <a:latin typeface="+mn-lt"/>
                          <a:ea typeface="+mn-ea"/>
                          <a:cs typeface="+mn-cs"/>
                        </a:rPr>
                        <a:t>0,01</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919905590"/>
                  </a:ext>
                </a:extLst>
              </a:tr>
              <a:tr h="251165">
                <a:tc>
                  <a:txBody>
                    <a:bodyPr/>
                    <a:lstStyle/>
                    <a:p>
                      <a:pPr algn="l" fontAlgn="ctr"/>
                      <a:r>
                        <a:rPr lang="tr-TR" sz="1400" b="0" i="0" u="none" strike="noStrike" dirty="0">
                          <a:solidFill>
                            <a:srgbClr val="000000"/>
                          </a:solidFill>
                          <a:effectLst/>
                          <a:latin typeface="+mn-lt"/>
                        </a:rPr>
                        <a:t>TEMATİK PROJE DESTEK PROGRAMI</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a:solidFill>
                            <a:srgbClr val="000000"/>
                          </a:solidFill>
                          <a:effectLst/>
                          <a:latin typeface="+mn-lt"/>
                        </a:rPr>
                        <a:t>4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tr-TR" sz="1400" b="0" i="0" u="none" strike="noStrike" dirty="0">
                          <a:solidFill>
                            <a:srgbClr val="000000"/>
                          </a:solidFill>
                          <a:effectLst/>
                          <a:latin typeface="+mn-lt"/>
                        </a:rPr>
                        <a:t>1.463.09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endParaRPr lang="tr-TR" sz="1400" b="0" i="0" u="none" strike="noStrike" dirty="0">
                        <a:solidFill>
                          <a:srgbClr val="000000"/>
                        </a:solidFill>
                        <a:effectLst/>
                        <a:latin typeface="+mn-lt"/>
                      </a:endParaRPr>
                    </a:p>
                  </a:txBody>
                  <a:tcPr marL="9560" marR="956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r>
                        <a:rPr lang="tr-TR" sz="1400" b="0" i="0" u="none" strike="noStrike" kern="1200" dirty="0" smtClean="0">
                          <a:solidFill>
                            <a:srgbClr val="000000"/>
                          </a:solidFill>
                          <a:effectLst/>
                          <a:latin typeface="+mn-lt"/>
                          <a:ea typeface="+mn-ea"/>
                          <a:cs typeface="+mn-cs"/>
                        </a:rPr>
                        <a:t>0,02</a:t>
                      </a:r>
                      <a:endParaRPr lang="tr-TR" sz="1400" b="0" i="0" u="none" strike="noStrike" kern="1200" dirty="0">
                        <a:solidFill>
                          <a:srgbClr val="000000"/>
                        </a:solidFill>
                        <a:effectLst/>
                        <a:latin typeface="+mn-lt"/>
                        <a:ea typeface="+mn-ea"/>
                        <a:cs typeface="+mn-cs"/>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211076459"/>
                  </a:ext>
                </a:extLst>
              </a:tr>
              <a:tr h="462826">
                <a:tc>
                  <a:txBody>
                    <a:bodyPr/>
                    <a:lstStyle/>
                    <a:p>
                      <a:pPr algn="ctr" rtl="0" fontAlgn="ctr"/>
                      <a:r>
                        <a:rPr lang="tr-TR" sz="1400" b="1" i="0" u="none" strike="noStrike" dirty="0">
                          <a:solidFill>
                            <a:srgbClr val="000000"/>
                          </a:solidFill>
                          <a:effectLst/>
                          <a:latin typeface="+mn-lt"/>
                        </a:rPr>
                        <a:t>TOPLAM</a:t>
                      </a: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3CDDD"/>
                    </a:solidFill>
                  </a:tcPr>
                </a:tc>
                <a:tc>
                  <a:txBody>
                    <a:bodyPr/>
                    <a:lstStyle/>
                    <a:p>
                      <a:pPr algn="r" fontAlgn="ctr"/>
                      <a:r>
                        <a:rPr lang="tr-TR" sz="1400" b="1" i="0" u="none" strike="noStrike" dirty="0">
                          <a:solidFill>
                            <a:srgbClr val="000000"/>
                          </a:solidFill>
                          <a:effectLst/>
                          <a:latin typeface="+mn-lt"/>
                        </a:rPr>
                        <a:t>277.16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r" fontAlgn="ctr"/>
                      <a:r>
                        <a:rPr lang="tr-TR" sz="1400" b="1" i="0" u="none" strike="noStrike" dirty="0">
                          <a:solidFill>
                            <a:srgbClr val="000000"/>
                          </a:solidFill>
                          <a:effectLst/>
                          <a:latin typeface="+mn-lt"/>
                        </a:rPr>
                        <a:t>5.310.225.15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r" fontAlgn="ctr"/>
                      <a:r>
                        <a:rPr lang="tr-TR" sz="1400" b="1" i="0" u="none" strike="noStrike" dirty="0">
                          <a:solidFill>
                            <a:srgbClr val="000000"/>
                          </a:solidFill>
                          <a:effectLst/>
                          <a:latin typeface="+mn-lt"/>
                        </a:rPr>
                        <a:t>5.47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r" fontAlgn="ctr"/>
                      <a:r>
                        <a:rPr lang="tr-TR" sz="1400" b="1" i="0" u="none" strike="noStrike" dirty="0">
                          <a:solidFill>
                            <a:srgbClr val="000000"/>
                          </a:solidFill>
                          <a:effectLst/>
                          <a:latin typeface="+mn-lt"/>
                        </a:rPr>
                        <a:t>684.884.1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rtl="0" fontAlgn="ctr"/>
                      <a:r>
                        <a:rPr lang="tr-TR" sz="1400" b="1" i="0" u="none" strike="noStrike" dirty="0" smtClean="0">
                          <a:solidFill>
                            <a:srgbClr val="000000"/>
                          </a:solidFill>
                          <a:effectLst/>
                          <a:latin typeface="+mn-lt"/>
                        </a:rPr>
                        <a:t>100</a:t>
                      </a:r>
                      <a:endParaRPr lang="tr-TR" sz="1400" b="1" i="0" u="none" strike="noStrike" dirty="0">
                        <a:solidFill>
                          <a:srgbClr val="000000"/>
                        </a:solidFill>
                        <a:effectLst/>
                        <a:latin typeface="+mn-lt"/>
                      </a:endParaRPr>
                    </a:p>
                  </a:txBody>
                  <a:tcPr marL="9387" marR="9387" marT="93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7813614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 3"/>
          <p:cNvGrpSpPr/>
          <p:nvPr/>
        </p:nvGrpSpPr>
        <p:grpSpPr>
          <a:xfrm>
            <a:off x="1522959" y="1395543"/>
            <a:ext cx="9508504" cy="5412858"/>
            <a:chOff x="726606" y="1684343"/>
            <a:chExt cx="7690789" cy="4526570"/>
          </a:xfrm>
        </p:grpSpPr>
        <p:grpSp>
          <p:nvGrpSpPr>
            <p:cNvPr id="68" name="Group 67"/>
            <p:cNvGrpSpPr>
              <a:grpSpLocks noChangeAspect="1"/>
            </p:cNvGrpSpPr>
            <p:nvPr/>
          </p:nvGrpSpPr>
          <p:grpSpPr>
            <a:xfrm>
              <a:off x="6947321" y="2270743"/>
              <a:ext cx="1470074" cy="1483078"/>
              <a:chOff x="9268877" y="1596791"/>
              <a:chExt cx="1005840" cy="1014737"/>
            </a:xfrm>
          </p:grpSpPr>
          <p:sp>
            <p:nvSpPr>
              <p:cNvPr id="67"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65"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grpSp>
        <p:cxnSp>
          <p:nvCxnSpPr>
            <p:cNvPr id="6" name="Straight Connector 5"/>
            <p:cNvCxnSpPr/>
            <p:nvPr/>
          </p:nvCxnSpPr>
          <p:spPr>
            <a:xfrm>
              <a:off x="1132084" y="2270743"/>
              <a:ext cx="6561161"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p:cNvSpPr>
              <a:spLocks noChangeAspect="1"/>
            </p:cNvSpPr>
            <p:nvPr/>
          </p:nvSpPr>
          <p:spPr>
            <a:xfrm>
              <a:off x="1986872"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31" name="Oval 30"/>
            <p:cNvSpPr>
              <a:spLocks noChangeAspect="1"/>
            </p:cNvSpPr>
            <p:nvPr/>
          </p:nvSpPr>
          <p:spPr>
            <a:xfrm>
              <a:off x="4203139"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32" name="Oval 31"/>
            <p:cNvSpPr>
              <a:spLocks noChangeAspect="1"/>
            </p:cNvSpPr>
            <p:nvPr/>
          </p:nvSpPr>
          <p:spPr>
            <a:xfrm>
              <a:off x="6419407"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cxnSp>
          <p:nvCxnSpPr>
            <p:cNvPr id="8" name="Straight Connector 7"/>
            <p:cNvCxnSpPr/>
            <p:nvPr/>
          </p:nvCxnSpPr>
          <p:spPr>
            <a:xfrm flipV="1">
              <a:off x="1484729" y="3753769"/>
              <a:ext cx="6210000" cy="51"/>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483987" y="5236796"/>
              <a:ext cx="6210000" cy="51"/>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1624211" y="2321280"/>
              <a:ext cx="898777" cy="335509"/>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Başvuru</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3" name="TextBox 92"/>
            <p:cNvSpPr txBox="1"/>
            <p:nvPr/>
          </p:nvSpPr>
          <p:spPr>
            <a:xfrm>
              <a:off x="3875667" y="2338611"/>
              <a:ext cx="853397" cy="335509"/>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Kontrol</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5" name="TextBox 94"/>
            <p:cNvSpPr txBox="1"/>
            <p:nvPr/>
          </p:nvSpPr>
          <p:spPr>
            <a:xfrm>
              <a:off x="967683" y="2576801"/>
              <a:ext cx="2273429" cy="490815"/>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E-devlet üzerinden</a:t>
              </a:r>
              <a:r>
                <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Uygulama</a:t>
              </a:r>
              <a:r>
                <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Birimlerine</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6" name="TextBox 95"/>
            <p:cNvSpPr txBox="1"/>
            <p:nvPr/>
          </p:nvSpPr>
          <p:spPr>
            <a:xfrm>
              <a:off x="3407942" y="2656085"/>
              <a:ext cx="1735063" cy="284156"/>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E</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ksiklerin</a:t>
              </a: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bildirilmesi</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4" name="TextBox 93"/>
            <p:cNvSpPr txBox="1"/>
            <p:nvPr/>
          </p:nvSpPr>
          <p:spPr>
            <a:xfrm>
              <a:off x="6035032" y="2324855"/>
              <a:ext cx="992129" cy="335509"/>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Düzeltme</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7" name="TextBox 96"/>
            <p:cNvSpPr txBox="1"/>
            <p:nvPr/>
          </p:nvSpPr>
          <p:spPr>
            <a:xfrm>
              <a:off x="5128821" y="2549044"/>
              <a:ext cx="2854482" cy="490527"/>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Düzeltme istenen başvurunun tekrar sunulması </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nvGrpSpPr>
            <p:cNvPr id="85" name="POWER_USER_ID_ICONS_Gavel"/>
            <p:cNvGrpSpPr>
              <a:grpSpLocks noChangeAspect="1"/>
            </p:cNvGrpSpPr>
            <p:nvPr>
              <p:custDataLst>
                <p:tags r:id="rId8"/>
              </p:custDataLst>
            </p:nvPr>
          </p:nvGrpSpPr>
          <p:grpSpPr>
            <a:xfrm>
              <a:off x="4083508" y="1731573"/>
              <a:ext cx="403436" cy="326506"/>
              <a:chOff x="-1958181" y="55563"/>
              <a:chExt cx="715963" cy="579438"/>
            </a:xfrm>
            <a:solidFill>
              <a:schemeClr val="tx2"/>
            </a:solidFill>
          </p:grpSpPr>
          <p:sp>
            <p:nvSpPr>
              <p:cNvPr id="86" name="POWER_USER_ID_ICONS_Gavel"/>
              <p:cNvSpPr>
                <a:spLocks noChangeArrowheads="1"/>
              </p:cNvSpPr>
              <p:nvPr>
                <p:custDataLst>
                  <p:tags r:id="rId48"/>
                </p:custDataLst>
              </p:nvPr>
            </p:nvSpPr>
            <p:spPr bwMode="auto">
              <a:xfrm>
                <a:off x="-1532731" y="560388"/>
                <a:ext cx="209550" cy="74613"/>
              </a:xfrm>
              <a:prstGeom prst="rect">
                <a:avLst/>
              </a:prstGeom>
              <a:grpFill/>
              <a:ln w="9525">
                <a:noFill/>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7" name="POWER_USER_ID_ICONS_Gavel"/>
              <p:cNvSpPr>
                <a:spLocks noChangeArrowheads="1"/>
              </p:cNvSpPr>
              <p:nvPr>
                <p:custDataLst>
                  <p:tags r:id="rId49"/>
                </p:custDataLst>
              </p:nvPr>
            </p:nvSpPr>
            <p:spPr bwMode="auto">
              <a:xfrm>
                <a:off x="-1643856" y="604838"/>
                <a:ext cx="401638" cy="30163"/>
              </a:xfrm>
              <a:prstGeom prst="rect">
                <a:avLst/>
              </a:prstGeom>
              <a:grpFill/>
              <a:ln w="9525">
                <a:noFill/>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8" name="POWER_USER_ID_ICONS_Gavel"/>
              <p:cNvSpPr>
                <a:spLocks/>
              </p:cNvSpPr>
              <p:nvPr>
                <p:custDataLst>
                  <p:tags r:id="rId50"/>
                </p:custDataLst>
              </p:nvPr>
            </p:nvSpPr>
            <p:spPr bwMode="auto">
              <a:xfrm>
                <a:off x="-1593056" y="176213"/>
                <a:ext cx="152400" cy="161925"/>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grpFill/>
              <a:ln w="9525">
                <a:noFill/>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00" name="POWER_USER_ID_ICONS_Gavel"/>
              <p:cNvSpPr>
                <a:spLocks/>
              </p:cNvSpPr>
              <p:nvPr>
                <p:custDataLst>
                  <p:tags r:id="rId51"/>
                </p:custDataLst>
              </p:nvPr>
            </p:nvSpPr>
            <p:spPr bwMode="auto">
              <a:xfrm>
                <a:off x="-1575594" y="273050"/>
                <a:ext cx="231775" cy="184150"/>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grpFill/>
              <a:ln w="9525">
                <a:noFill/>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01" name="POWER_USER_ID_ICONS_Gavel"/>
              <p:cNvSpPr>
                <a:spLocks/>
              </p:cNvSpPr>
              <p:nvPr>
                <p:custDataLst>
                  <p:tags r:id="rId52"/>
                </p:custDataLst>
              </p:nvPr>
            </p:nvSpPr>
            <p:spPr bwMode="auto">
              <a:xfrm>
                <a:off x="-1958181" y="268288"/>
                <a:ext cx="396875" cy="231775"/>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grpFill/>
              <a:ln w="9525">
                <a:noFill/>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09" name="POWER_USER_ID_ICONS_Gavel"/>
              <p:cNvSpPr>
                <a:spLocks/>
              </p:cNvSpPr>
              <p:nvPr>
                <p:custDataLst>
                  <p:tags r:id="rId53"/>
                </p:custDataLst>
              </p:nvPr>
            </p:nvSpPr>
            <p:spPr bwMode="auto">
              <a:xfrm>
                <a:off x="-1696244" y="55563"/>
                <a:ext cx="231775" cy="185738"/>
              </a:xfrm>
              <a:custGeom>
                <a:avLst/>
                <a:gdLst>
                  <a:gd name="T0" fmla="*/ 12 w 388"/>
                  <a:gd name="T1" fmla="*/ 213 h 310"/>
                  <a:gd name="T2" fmla="*/ 30 w 388"/>
                  <a:gd name="T3" fmla="*/ 150 h 310"/>
                  <a:gd name="T4" fmla="*/ 277 w 388"/>
                  <a:gd name="T5" fmla="*/ 13 h 310"/>
                  <a:gd name="T6" fmla="*/ 340 w 388"/>
                  <a:gd name="T7" fmla="*/ 31 h 310"/>
                  <a:gd name="T8" fmla="*/ 375 w 388"/>
                  <a:gd name="T9" fmla="*/ 97 h 310"/>
                  <a:gd name="T10" fmla="*/ 357 w 388"/>
                  <a:gd name="T11" fmla="*/ 161 h 310"/>
                  <a:gd name="T12" fmla="*/ 110 w 388"/>
                  <a:gd name="T13" fmla="*/ 298 h 310"/>
                  <a:gd name="T14" fmla="*/ 47 w 388"/>
                  <a:gd name="T15" fmla="*/ 279 h 310"/>
                  <a:gd name="T16" fmla="*/ 12 w 388"/>
                  <a:gd name="T17" fmla="*/ 21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10">
                    <a:moveTo>
                      <a:pt x="12" y="213"/>
                    </a:moveTo>
                    <a:cubicBezTo>
                      <a:pt x="0" y="191"/>
                      <a:pt x="8" y="162"/>
                      <a:pt x="30" y="150"/>
                    </a:cubicBezTo>
                    <a:lnTo>
                      <a:pt x="277" y="13"/>
                    </a:lnTo>
                    <a:cubicBezTo>
                      <a:pt x="300" y="0"/>
                      <a:pt x="328" y="9"/>
                      <a:pt x="340" y="31"/>
                    </a:cubicBezTo>
                    <a:lnTo>
                      <a:pt x="375" y="97"/>
                    </a:lnTo>
                    <a:cubicBezTo>
                      <a:pt x="388" y="120"/>
                      <a:pt x="379" y="148"/>
                      <a:pt x="357" y="161"/>
                    </a:cubicBezTo>
                    <a:lnTo>
                      <a:pt x="110" y="298"/>
                    </a:lnTo>
                    <a:cubicBezTo>
                      <a:pt x="87" y="310"/>
                      <a:pt x="59" y="302"/>
                      <a:pt x="47" y="279"/>
                    </a:cubicBezTo>
                    <a:lnTo>
                      <a:pt x="12" y="213"/>
                    </a:lnTo>
                    <a:close/>
                  </a:path>
                </a:pathLst>
              </a:custGeom>
              <a:grpFill/>
              <a:ln w="9525">
                <a:noFill/>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110" name="POWER_USER_ID_ICONS_Big_Idea"/>
            <p:cNvGrpSpPr>
              <a:grpSpLocks noChangeAspect="1"/>
            </p:cNvGrpSpPr>
            <p:nvPr>
              <p:custDataLst>
                <p:tags r:id="rId9"/>
              </p:custDataLst>
            </p:nvPr>
          </p:nvGrpSpPr>
          <p:grpSpPr bwMode="auto">
            <a:xfrm>
              <a:off x="1903977" y="1684343"/>
              <a:ext cx="353773" cy="372365"/>
              <a:chOff x="3544" y="-299"/>
              <a:chExt cx="4110" cy="4326"/>
            </a:xfrm>
            <a:solidFill>
              <a:schemeClr val="tx2"/>
            </a:solidFill>
          </p:grpSpPr>
          <p:sp>
            <p:nvSpPr>
              <p:cNvPr id="111" name="Freeform 1368"/>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2" name="Freeform 1369"/>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3" name="Freeform 1370"/>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4" name="Freeform 1371"/>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5" name="Freeform 1372"/>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6" name="Freeform 1373"/>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7" name="Freeform 1374"/>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8" name="Freeform 1375"/>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9" name="Freeform 1376"/>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sp>
          <p:nvSpPr>
            <p:cNvPr id="126" name="POWER_USER_ID_ICONS_Crossroads"/>
            <p:cNvSpPr>
              <a:spLocks noChangeAspect="1"/>
            </p:cNvSpPr>
            <p:nvPr>
              <p:custDataLst>
                <p:tags r:id="rId10"/>
              </p:custDataLst>
            </p:nvPr>
          </p:nvSpPr>
          <p:spPr bwMode="auto">
            <a:xfrm>
              <a:off x="6319772" y="1697828"/>
              <a:ext cx="397348" cy="432556"/>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tx2"/>
            </a:solidFill>
            <a:ln>
              <a:noFill/>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nvGrpSpPr>
            <p:cNvPr id="134" name="POWER_USER_ID_ICONS_Cup"/>
            <p:cNvGrpSpPr>
              <a:grpSpLocks noChangeAspect="1"/>
            </p:cNvGrpSpPr>
            <p:nvPr>
              <p:custDataLst>
                <p:tags r:id="rId11"/>
              </p:custDataLst>
            </p:nvPr>
          </p:nvGrpSpPr>
          <p:grpSpPr bwMode="auto">
            <a:xfrm>
              <a:off x="7787205" y="4771529"/>
              <a:ext cx="559408" cy="603779"/>
              <a:chOff x="69" y="56"/>
              <a:chExt cx="353" cy="381"/>
            </a:xfrm>
            <a:solidFill>
              <a:schemeClr val="tx2"/>
            </a:solidFill>
          </p:grpSpPr>
          <p:sp>
            <p:nvSpPr>
              <p:cNvPr id="135" name="POWER_USER_ID_ICONS_Cup"/>
              <p:cNvSpPr>
                <a:spLocks/>
              </p:cNvSpPr>
              <p:nvPr>
                <p:custDataLst>
                  <p:tags r:id="rId43"/>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36" name="POWER_USER_ID_ICONS_Cup"/>
              <p:cNvSpPr>
                <a:spLocks/>
              </p:cNvSpPr>
              <p:nvPr>
                <p:custDataLst>
                  <p:tags r:id="rId44"/>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37" name="POWER_USER_ID_ICONS_Cup"/>
              <p:cNvSpPr>
                <a:spLocks/>
              </p:cNvSpPr>
              <p:nvPr>
                <p:custDataLst>
                  <p:tags r:id="rId45"/>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38" name="POWER_USER_ID_ICONS_Cup"/>
              <p:cNvSpPr>
                <a:spLocks/>
              </p:cNvSpPr>
              <p:nvPr>
                <p:custDataLst>
                  <p:tags r:id="rId46"/>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39" name="POWER_USER_ID_ICONS_Cup"/>
              <p:cNvSpPr>
                <a:spLocks/>
              </p:cNvSpPr>
              <p:nvPr>
                <p:custDataLst>
                  <p:tags r:id="rId47"/>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140" name="POWER_USER_ID_ICONS_Flag5"/>
            <p:cNvGrpSpPr>
              <a:grpSpLocks noChangeAspect="1"/>
            </p:cNvGrpSpPr>
            <p:nvPr>
              <p:custDataLst>
                <p:tags r:id="rId12"/>
              </p:custDataLst>
            </p:nvPr>
          </p:nvGrpSpPr>
          <p:grpSpPr bwMode="auto">
            <a:xfrm>
              <a:off x="726606" y="1935356"/>
              <a:ext cx="362108" cy="466410"/>
              <a:chOff x="8" y="5"/>
              <a:chExt cx="368" cy="474"/>
            </a:xfrm>
            <a:solidFill>
              <a:schemeClr val="tx2"/>
            </a:solidFill>
          </p:grpSpPr>
          <p:sp>
            <p:nvSpPr>
              <p:cNvPr id="141" name="POWER_USER_ID_ICONS_Flag5"/>
              <p:cNvSpPr>
                <a:spLocks/>
              </p:cNvSpPr>
              <p:nvPr>
                <p:custDataLst>
                  <p:tags r:id="rId29"/>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2" name="POWER_USER_ID_ICONS_Flag5"/>
              <p:cNvSpPr>
                <a:spLocks noChangeArrowheads="1"/>
              </p:cNvSpPr>
              <p:nvPr>
                <p:custDataLst>
                  <p:tags r:id="rId30"/>
                </p:custDataLst>
              </p:nvPr>
            </p:nvSpPr>
            <p:spPr bwMode="auto">
              <a:xfrm>
                <a:off x="34" y="26"/>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3" name="POWER_USER_ID_ICONS_Flag5"/>
              <p:cNvSpPr>
                <a:spLocks noChangeArrowheads="1"/>
              </p:cNvSpPr>
              <p:nvPr>
                <p:custDataLst>
                  <p:tags r:id="rId31"/>
                </p:custDataLst>
              </p:nvPr>
            </p:nvSpPr>
            <p:spPr bwMode="auto">
              <a:xfrm>
                <a:off x="88" y="81"/>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4" name="POWER_USER_ID_ICONS_Flag5"/>
              <p:cNvSpPr>
                <a:spLocks noChangeArrowheads="1"/>
              </p:cNvSpPr>
              <p:nvPr>
                <p:custDataLst>
                  <p:tags r:id="rId32"/>
                </p:custDataLst>
              </p:nvPr>
            </p:nvSpPr>
            <p:spPr bwMode="auto">
              <a:xfrm>
                <a:off x="34" y="136"/>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5" name="POWER_USER_ID_ICONS_Flag5"/>
              <p:cNvSpPr>
                <a:spLocks noChangeArrowheads="1"/>
              </p:cNvSpPr>
              <p:nvPr>
                <p:custDataLst>
                  <p:tags r:id="rId33"/>
                </p:custDataLst>
              </p:nvPr>
            </p:nvSpPr>
            <p:spPr bwMode="auto">
              <a:xfrm>
                <a:off x="88" y="191"/>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6" name="POWER_USER_ID_ICONS_Flag5"/>
              <p:cNvSpPr>
                <a:spLocks noChangeArrowheads="1"/>
              </p:cNvSpPr>
              <p:nvPr>
                <p:custDataLst>
                  <p:tags r:id="rId34"/>
                </p:custDataLst>
              </p:nvPr>
            </p:nvSpPr>
            <p:spPr bwMode="auto">
              <a:xfrm>
                <a:off x="144" y="26"/>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7" name="POWER_USER_ID_ICONS_Flag5"/>
              <p:cNvSpPr>
                <a:spLocks noChangeArrowheads="1"/>
              </p:cNvSpPr>
              <p:nvPr>
                <p:custDataLst>
                  <p:tags r:id="rId35"/>
                </p:custDataLst>
              </p:nvPr>
            </p:nvSpPr>
            <p:spPr bwMode="auto">
              <a:xfrm>
                <a:off x="198" y="81"/>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8" name="POWER_USER_ID_ICONS_Flag5"/>
              <p:cNvSpPr>
                <a:spLocks noChangeArrowheads="1"/>
              </p:cNvSpPr>
              <p:nvPr>
                <p:custDataLst>
                  <p:tags r:id="rId36"/>
                </p:custDataLst>
              </p:nvPr>
            </p:nvSpPr>
            <p:spPr bwMode="auto">
              <a:xfrm>
                <a:off x="144" y="136"/>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9" name="POWER_USER_ID_ICONS_Flag5"/>
              <p:cNvSpPr>
                <a:spLocks noChangeArrowheads="1"/>
              </p:cNvSpPr>
              <p:nvPr>
                <p:custDataLst>
                  <p:tags r:id="rId37"/>
                </p:custDataLst>
              </p:nvPr>
            </p:nvSpPr>
            <p:spPr bwMode="auto">
              <a:xfrm>
                <a:off x="198" y="191"/>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50" name="POWER_USER_ID_ICONS_Flag5"/>
              <p:cNvSpPr>
                <a:spLocks noChangeArrowheads="1"/>
              </p:cNvSpPr>
              <p:nvPr>
                <p:custDataLst>
                  <p:tags r:id="rId38"/>
                </p:custDataLst>
              </p:nvPr>
            </p:nvSpPr>
            <p:spPr bwMode="auto">
              <a:xfrm>
                <a:off x="253" y="26"/>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51" name="POWER_USER_ID_ICONS_Flag5"/>
              <p:cNvSpPr>
                <a:spLocks noChangeArrowheads="1"/>
              </p:cNvSpPr>
              <p:nvPr>
                <p:custDataLst>
                  <p:tags r:id="rId39"/>
                </p:custDataLst>
              </p:nvPr>
            </p:nvSpPr>
            <p:spPr bwMode="auto">
              <a:xfrm>
                <a:off x="309" y="81"/>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52" name="POWER_USER_ID_ICONS_Flag5"/>
              <p:cNvSpPr>
                <a:spLocks noChangeArrowheads="1"/>
              </p:cNvSpPr>
              <p:nvPr>
                <p:custDataLst>
                  <p:tags r:id="rId40"/>
                </p:custDataLst>
              </p:nvPr>
            </p:nvSpPr>
            <p:spPr bwMode="auto">
              <a:xfrm>
                <a:off x="253" y="136"/>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53" name="POWER_USER_ID_ICONS_Flag5"/>
              <p:cNvSpPr>
                <a:spLocks noChangeArrowheads="1"/>
              </p:cNvSpPr>
              <p:nvPr>
                <p:custDataLst>
                  <p:tags r:id="rId41"/>
                </p:custDataLst>
              </p:nvPr>
            </p:nvSpPr>
            <p:spPr bwMode="auto">
              <a:xfrm>
                <a:off x="309" y="191"/>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54" name="POWER_USER_ID_ICONS_Flag5"/>
              <p:cNvSpPr>
                <a:spLocks noEditPoints="1"/>
              </p:cNvSpPr>
              <p:nvPr>
                <p:custDataLst>
                  <p:tags r:id="rId42"/>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155" name="Group 154"/>
            <p:cNvGrpSpPr>
              <a:grpSpLocks noChangeAspect="1"/>
            </p:cNvGrpSpPr>
            <p:nvPr/>
          </p:nvGrpSpPr>
          <p:grpSpPr>
            <a:xfrm rot="10800000">
              <a:off x="777435" y="3753770"/>
              <a:ext cx="1470074" cy="1483078"/>
              <a:chOff x="9268877" y="1596791"/>
              <a:chExt cx="1005840" cy="1014737"/>
            </a:xfrm>
          </p:grpSpPr>
          <p:sp>
            <p:nvSpPr>
              <p:cNvPr id="156"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57" name="Arc 156"/>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grpSp>
        <p:sp>
          <p:nvSpPr>
            <p:cNvPr id="158" name="Oval 157"/>
            <p:cNvSpPr>
              <a:spLocks noChangeAspect="1"/>
            </p:cNvSpPr>
            <p:nvPr/>
          </p:nvSpPr>
          <p:spPr>
            <a:xfrm>
              <a:off x="1986872"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59" name="Oval 158"/>
            <p:cNvSpPr>
              <a:spLocks noChangeAspect="1"/>
            </p:cNvSpPr>
            <p:nvPr/>
          </p:nvSpPr>
          <p:spPr>
            <a:xfrm>
              <a:off x="4203139"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60" name="Oval 159"/>
            <p:cNvSpPr>
              <a:spLocks noChangeAspect="1"/>
            </p:cNvSpPr>
            <p:nvPr/>
          </p:nvSpPr>
          <p:spPr>
            <a:xfrm>
              <a:off x="6419407"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61" name="TextBox 160"/>
            <p:cNvSpPr txBox="1"/>
            <p:nvPr/>
          </p:nvSpPr>
          <p:spPr>
            <a:xfrm>
              <a:off x="6156168" y="3806958"/>
              <a:ext cx="744486" cy="335509"/>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en-US" sz="2007" b="1" i="0" u="none" strike="noStrike" kern="0" cap="none" spc="0" normalizeH="0" baseline="0" noProof="0" dirty="0" err="1">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Kurul</a:t>
              </a:r>
              <a:r>
                <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 </a:t>
              </a:r>
            </a:p>
          </p:txBody>
        </p:sp>
        <p:sp>
          <p:nvSpPr>
            <p:cNvPr id="162" name="TextBox 161"/>
            <p:cNvSpPr txBox="1"/>
            <p:nvPr/>
          </p:nvSpPr>
          <p:spPr>
            <a:xfrm>
              <a:off x="956391" y="3865530"/>
              <a:ext cx="2453354" cy="335509"/>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Faaliyetlerin Yürütülmesi</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63" name="TextBox 162"/>
            <p:cNvSpPr txBox="1"/>
            <p:nvPr/>
          </p:nvSpPr>
          <p:spPr>
            <a:xfrm>
              <a:off x="5601157" y="4149000"/>
              <a:ext cx="2056315" cy="284156"/>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K</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abul</a:t>
              </a:r>
              <a:r>
                <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ret,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görüş</a:t>
              </a:r>
              <a:r>
                <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revizyon</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64" name="TextBox 163"/>
            <p:cNvSpPr txBox="1"/>
            <p:nvPr/>
          </p:nvSpPr>
          <p:spPr>
            <a:xfrm>
              <a:off x="1084145" y="4129476"/>
              <a:ext cx="2075895" cy="284156"/>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4 aylık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dönemsel</a:t>
              </a:r>
              <a:r>
                <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izleme</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65" name="TextBox 164"/>
            <p:cNvSpPr txBox="1"/>
            <p:nvPr/>
          </p:nvSpPr>
          <p:spPr>
            <a:xfrm>
              <a:off x="1648783" y="5370649"/>
              <a:ext cx="831794" cy="336736"/>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en-US" sz="2007" b="1" i="0" u="none" strike="noStrike" kern="0" cap="none" spc="0" normalizeH="0" baseline="0" noProof="0" dirty="0" err="1">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Ödeme</a:t>
              </a:r>
              <a:r>
                <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 </a:t>
              </a:r>
            </a:p>
          </p:txBody>
        </p:sp>
        <p:sp>
          <p:nvSpPr>
            <p:cNvPr id="166" name="TextBox 165"/>
            <p:cNvSpPr txBox="1"/>
            <p:nvPr/>
          </p:nvSpPr>
          <p:spPr>
            <a:xfrm>
              <a:off x="1088714" y="5720386"/>
              <a:ext cx="1792070" cy="490527"/>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Dönemsel İzleme Formu ve Ödeme Talep Formu</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67" name="Oval 166"/>
            <p:cNvSpPr>
              <a:spLocks noChangeAspect="1"/>
            </p:cNvSpPr>
            <p:nvPr/>
          </p:nvSpPr>
          <p:spPr>
            <a:xfrm>
              <a:off x="1986872"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68" name="Oval 167"/>
            <p:cNvSpPr>
              <a:spLocks noChangeAspect="1"/>
            </p:cNvSpPr>
            <p:nvPr/>
          </p:nvSpPr>
          <p:spPr>
            <a:xfrm>
              <a:off x="4203139"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69" name="Oval 168"/>
            <p:cNvSpPr>
              <a:spLocks noChangeAspect="1"/>
            </p:cNvSpPr>
            <p:nvPr/>
          </p:nvSpPr>
          <p:spPr>
            <a:xfrm>
              <a:off x="6419407"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70" name="TextBox 169"/>
            <p:cNvSpPr txBox="1"/>
            <p:nvPr/>
          </p:nvSpPr>
          <p:spPr>
            <a:xfrm>
              <a:off x="3050457" y="5335788"/>
              <a:ext cx="2361298" cy="335509"/>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Projenin Tamamlanması</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71" name="TextBox 170"/>
            <p:cNvSpPr txBox="1"/>
            <p:nvPr/>
          </p:nvSpPr>
          <p:spPr>
            <a:xfrm>
              <a:off x="3743643" y="3878056"/>
              <a:ext cx="1395359" cy="335509"/>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Taahhütname</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72" name="TextBox 171"/>
            <p:cNvSpPr txBox="1"/>
            <p:nvPr/>
          </p:nvSpPr>
          <p:spPr>
            <a:xfrm>
              <a:off x="2982494" y="5659948"/>
              <a:ext cx="2879110" cy="490527"/>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Ar-ge ve </a:t>
              </a:r>
              <a:r>
                <a:rPr kumimoji="0" lang="tr-TR"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İnovasyon</a:t>
              </a: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projesinin</a:t>
              </a:r>
              <a:r>
                <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başarılı</a:t>
              </a:r>
              <a:r>
                <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tamamlanması</a:t>
              </a: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tamamlanmaması</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73" name="TextBox 172"/>
            <p:cNvSpPr txBox="1"/>
            <p:nvPr/>
          </p:nvSpPr>
          <p:spPr>
            <a:xfrm>
              <a:off x="3301226" y="4123877"/>
              <a:ext cx="2174360" cy="283871"/>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Girişimci 6 ay içerisinde</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74" name="TextBox 173"/>
            <p:cNvSpPr txBox="1"/>
            <p:nvPr/>
          </p:nvSpPr>
          <p:spPr>
            <a:xfrm>
              <a:off x="5825238" y="5357758"/>
              <a:ext cx="1816743" cy="335509"/>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Projenin İzlenmesi</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75" name="TextBox 174"/>
            <p:cNvSpPr txBox="1"/>
            <p:nvPr/>
          </p:nvSpPr>
          <p:spPr>
            <a:xfrm>
              <a:off x="5518474" y="5780824"/>
              <a:ext cx="2604654" cy="284156"/>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Bir yıl sonra 1 defa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izle</a:t>
              </a: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me</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76" name="POWER_USER_ID_ICONS_Board"/>
            <p:cNvSpPr>
              <a:spLocks noChangeAspect="1" noEditPoints="1"/>
            </p:cNvSpPr>
            <p:nvPr>
              <p:custDataLst>
                <p:tags r:id="rId13"/>
              </p:custDataLst>
            </p:nvPr>
          </p:nvSpPr>
          <p:spPr bwMode="auto">
            <a:xfrm>
              <a:off x="1926114" y="3147118"/>
              <a:ext cx="309499" cy="393233"/>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tx2"/>
            </a:solidFill>
            <a:ln>
              <a:noFill/>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82" name="POWER_USER_ID_ICONS_Stopwatch5"/>
            <p:cNvSpPr>
              <a:spLocks noChangeAspect="1" noEditPoints="1"/>
            </p:cNvSpPr>
            <p:nvPr>
              <p:custDataLst>
                <p:tags r:id="rId14"/>
              </p:custDataLst>
            </p:nvPr>
          </p:nvSpPr>
          <p:spPr bwMode="auto">
            <a:xfrm>
              <a:off x="4075508" y="4621422"/>
              <a:ext cx="405224" cy="300563"/>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tx2"/>
            </a:solidFill>
            <a:ln>
              <a:noFill/>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nvGrpSpPr>
            <p:cNvPr id="184" name="POWER_USER_ID_ICONS_Government"/>
            <p:cNvGrpSpPr>
              <a:grpSpLocks noChangeAspect="1"/>
            </p:cNvGrpSpPr>
            <p:nvPr>
              <p:custDataLst>
                <p:tags r:id="rId15"/>
              </p:custDataLst>
            </p:nvPr>
          </p:nvGrpSpPr>
          <p:grpSpPr bwMode="auto">
            <a:xfrm>
              <a:off x="4083186" y="3066244"/>
              <a:ext cx="439341" cy="450056"/>
              <a:chOff x="58" y="-1221"/>
              <a:chExt cx="369" cy="378"/>
            </a:xfrm>
            <a:solidFill>
              <a:schemeClr val="tx2"/>
            </a:solidFill>
          </p:grpSpPr>
          <p:sp>
            <p:nvSpPr>
              <p:cNvPr id="185" name="POWER_USER_ID_ICONS_Government"/>
              <p:cNvSpPr>
                <a:spLocks noEditPoints="1"/>
              </p:cNvSpPr>
              <p:nvPr>
                <p:custDataLst>
                  <p:tags r:id="rId27"/>
                </p:custDataLst>
              </p:nvPr>
            </p:nvSpPr>
            <p:spPr bwMode="auto">
              <a:xfrm>
                <a:off x="58" y="-1150"/>
                <a:ext cx="369" cy="307"/>
              </a:xfrm>
              <a:custGeom>
                <a:avLst/>
                <a:gdLst>
                  <a:gd name="T0" fmla="*/ 207 w 218"/>
                  <a:gd name="T1" fmla="*/ 117 h 161"/>
                  <a:gd name="T2" fmla="*/ 189 w 218"/>
                  <a:gd name="T3" fmla="*/ 117 h 161"/>
                  <a:gd name="T4" fmla="*/ 189 w 218"/>
                  <a:gd name="T5" fmla="*/ 22 h 161"/>
                  <a:gd name="T6" fmla="*/ 207 w 218"/>
                  <a:gd name="T7" fmla="*/ 22 h 161"/>
                  <a:gd name="T8" fmla="*/ 207 w 218"/>
                  <a:gd name="T9" fmla="*/ 0 h 161"/>
                  <a:gd name="T10" fmla="*/ 13 w 218"/>
                  <a:gd name="T11" fmla="*/ 0 h 161"/>
                  <a:gd name="T12" fmla="*/ 13 w 218"/>
                  <a:gd name="T13" fmla="*/ 22 h 161"/>
                  <a:gd name="T14" fmla="*/ 27 w 218"/>
                  <a:gd name="T15" fmla="*/ 22 h 161"/>
                  <a:gd name="T16" fmla="*/ 27 w 218"/>
                  <a:gd name="T17" fmla="*/ 117 h 161"/>
                  <a:gd name="T18" fmla="*/ 13 w 218"/>
                  <a:gd name="T19" fmla="*/ 117 h 161"/>
                  <a:gd name="T20" fmla="*/ 13 w 218"/>
                  <a:gd name="T21" fmla="*/ 139 h 161"/>
                  <a:gd name="T22" fmla="*/ 0 w 218"/>
                  <a:gd name="T23" fmla="*/ 139 h 161"/>
                  <a:gd name="T24" fmla="*/ 0 w 218"/>
                  <a:gd name="T25" fmla="*/ 161 h 161"/>
                  <a:gd name="T26" fmla="*/ 218 w 218"/>
                  <a:gd name="T27" fmla="*/ 161 h 161"/>
                  <a:gd name="T28" fmla="*/ 218 w 218"/>
                  <a:gd name="T29" fmla="*/ 139 h 161"/>
                  <a:gd name="T30" fmla="*/ 207 w 218"/>
                  <a:gd name="T31" fmla="*/ 139 h 161"/>
                  <a:gd name="T32" fmla="*/ 207 w 218"/>
                  <a:gd name="T33" fmla="*/ 117 h 161"/>
                  <a:gd name="T34" fmla="*/ 97 w 218"/>
                  <a:gd name="T35" fmla="*/ 117 h 161"/>
                  <a:gd name="T36" fmla="*/ 97 w 218"/>
                  <a:gd name="T37" fmla="*/ 22 h 161"/>
                  <a:gd name="T38" fmla="*/ 120 w 218"/>
                  <a:gd name="T39" fmla="*/ 22 h 161"/>
                  <a:gd name="T40" fmla="*/ 120 w 218"/>
                  <a:gd name="T41" fmla="*/ 117 h 161"/>
                  <a:gd name="T42" fmla="*/ 97 w 218"/>
                  <a:gd name="T43" fmla="*/ 117 h 161"/>
                  <a:gd name="T44" fmla="*/ 167 w 218"/>
                  <a:gd name="T45" fmla="*/ 117 h 161"/>
                  <a:gd name="T46" fmla="*/ 143 w 218"/>
                  <a:gd name="T47" fmla="*/ 117 h 161"/>
                  <a:gd name="T48" fmla="*/ 143 w 218"/>
                  <a:gd name="T49" fmla="*/ 22 h 161"/>
                  <a:gd name="T50" fmla="*/ 167 w 218"/>
                  <a:gd name="T51" fmla="*/ 22 h 161"/>
                  <a:gd name="T52" fmla="*/ 167 w 218"/>
                  <a:gd name="T53" fmla="*/ 117 h 161"/>
                  <a:gd name="T54" fmla="*/ 49 w 218"/>
                  <a:gd name="T55" fmla="*/ 22 h 161"/>
                  <a:gd name="T56" fmla="*/ 73 w 218"/>
                  <a:gd name="T57" fmla="*/ 22 h 161"/>
                  <a:gd name="T58" fmla="*/ 73 w 218"/>
                  <a:gd name="T59" fmla="*/ 117 h 161"/>
                  <a:gd name="T60" fmla="*/ 49 w 218"/>
                  <a:gd name="T61" fmla="*/ 117 h 161"/>
                  <a:gd name="T62" fmla="*/ 49 w 218"/>
                  <a:gd name="T63" fmla="*/ 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8" h="161">
                    <a:moveTo>
                      <a:pt x="207" y="117"/>
                    </a:moveTo>
                    <a:lnTo>
                      <a:pt x="189" y="117"/>
                    </a:lnTo>
                    <a:lnTo>
                      <a:pt x="189" y="22"/>
                    </a:lnTo>
                    <a:lnTo>
                      <a:pt x="207" y="22"/>
                    </a:lnTo>
                    <a:lnTo>
                      <a:pt x="207" y="0"/>
                    </a:lnTo>
                    <a:lnTo>
                      <a:pt x="13" y="0"/>
                    </a:lnTo>
                    <a:lnTo>
                      <a:pt x="13" y="22"/>
                    </a:lnTo>
                    <a:lnTo>
                      <a:pt x="27" y="22"/>
                    </a:lnTo>
                    <a:lnTo>
                      <a:pt x="27" y="117"/>
                    </a:lnTo>
                    <a:lnTo>
                      <a:pt x="13" y="117"/>
                    </a:lnTo>
                    <a:lnTo>
                      <a:pt x="13" y="139"/>
                    </a:lnTo>
                    <a:lnTo>
                      <a:pt x="0" y="139"/>
                    </a:lnTo>
                    <a:lnTo>
                      <a:pt x="0" y="161"/>
                    </a:lnTo>
                    <a:lnTo>
                      <a:pt x="218" y="161"/>
                    </a:lnTo>
                    <a:lnTo>
                      <a:pt x="218" y="139"/>
                    </a:lnTo>
                    <a:lnTo>
                      <a:pt x="207" y="139"/>
                    </a:lnTo>
                    <a:lnTo>
                      <a:pt x="207" y="117"/>
                    </a:lnTo>
                    <a:close/>
                    <a:moveTo>
                      <a:pt x="97" y="117"/>
                    </a:moveTo>
                    <a:lnTo>
                      <a:pt x="97" y="22"/>
                    </a:lnTo>
                    <a:lnTo>
                      <a:pt x="120" y="22"/>
                    </a:lnTo>
                    <a:lnTo>
                      <a:pt x="120" y="117"/>
                    </a:lnTo>
                    <a:lnTo>
                      <a:pt x="97" y="117"/>
                    </a:lnTo>
                    <a:close/>
                    <a:moveTo>
                      <a:pt x="167" y="117"/>
                    </a:moveTo>
                    <a:lnTo>
                      <a:pt x="143" y="117"/>
                    </a:lnTo>
                    <a:lnTo>
                      <a:pt x="143" y="22"/>
                    </a:lnTo>
                    <a:lnTo>
                      <a:pt x="167" y="22"/>
                    </a:lnTo>
                    <a:lnTo>
                      <a:pt x="167" y="117"/>
                    </a:lnTo>
                    <a:close/>
                    <a:moveTo>
                      <a:pt x="49" y="22"/>
                    </a:moveTo>
                    <a:lnTo>
                      <a:pt x="73" y="22"/>
                    </a:lnTo>
                    <a:lnTo>
                      <a:pt x="73" y="117"/>
                    </a:lnTo>
                    <a:lnTo>
                      <a:pt x="49" y="117"/>
                    </a:lnTo>
                    <a:lnTo>
                      <a:pt x="49" y="22"/>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86" name="POWER_USER_ID_ICONS_Government"/>
              <p:cNvSpPr>
                <a:spLocks/>
              </p:cNvSpPr>
              <p:nvPr>
                <p:custDataLst>
                  <p:tags r:id="rId28"/>
                </p:custDataLst>
              </p:nvPr>
            </p:nvSpPr>
            <p:spPr bwMode="auto">
              <a:xfrm>
                <a:off x="58" y="-1221"/>
                <a:ext cx="369" cy="94"/>
              </a:xfrm>
              <a:custGeom>
                <a:avLst/>
                <a:gdLst>
                  <a:gd name="T0" fmla="*/ 218 w 218"/>
                  <a:gd name="T1" fmla="*/ 27 h 50"/>
                  <a:gd name="T2" fmla="*/ 218 w 218"/>
                  <a:gd name="T3" fmla="*/ 27 h 50"/>
                  <a:gd name="T4" fmla="*/ 218 w 218"/>
                  <a:gd name="T5" fmla="*/ 27 h 50"/>
                  <a:gd name="T6" fmla="*/ 218 w 218"/>
                  <a:gd name="T7" fmla="*/ 27 h 50"/>
                  <a:gd name="T8" fmla="*/ 109 w 218"/>
                  <a:gd name="T9" fmla="*/ 0 h 50"/>
                  <a:gd name="T10" fmla="*/ 0 w 218"/>
                  <a:gd name="T11" fmla="*/ 27 h 50"/>
                  <a:gd name="T12" fmla="*/ 0 w 218"/>
                  <a:gd name="T13" fmla="*/ 27 h 50"/>
                  <a:gd name="T14" fmla="*/ 0 w 218"/>
                  <a:gd name="T15" fmla="*/ 27 h 50"/>
                  <a:gd name="T16" fmla="*/ 0 w 218"/>
                  <a:gd name="T17" fmla="*/ 27 h 50"/>
                  <a:gd name="T18" fmla="*/ 0 w 218"/>
                  <a:gd name="T19" fmla="*/ 27 h 50"/>
                  <a:gd name="T20" fmla="*/ 0 w 218"/>
                  <a:gd name="T21" fmla="*/ 50 h 50"/>
                  <a:gd name="T22" fmla="*/ 218 w 218"/>
                  <a:gd name="T23" fmla="*/ 50 h 50"/>
                  <a:gd name="T24" fmla="*/ 218 w 218"/>
                  <a:gd name="T25"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50">
                    <a:moveTo>
                      <a:pt x="218" y="27"/>
                    </a:moveTo>
                    <a:lnTo>
                      <a:pt x="218" y="27"/>
                    </a:lnTo>
                    <a:lnTo>
                      <a:pt x="218" y="27"/>
                    </a:lnTo>
                    <a:lnTo>
                      <a:pt x="218" y="27"/>
                    </a:lnTo>
                    <a:lnTo>
                      <a:pt x="109" y="0"/>
                    </a:lnTo>
                    <a:lnTo>
                      <a:pt x="0" y="27"/>
                    </a:lnTo>
                    <a:lnTo>
                      <a:pt x="0" y="27"/>
                    </a:lnTo>
                    <a:lnTo>
                      <a:pt x="0" y="27"/>
                    </a:lnTo>
                    <a:lnTo>
                      <a:pt x="0" y="27"/>
                    </a:lnTo>
                    <a:lnTo>
                      <a:pt x="0" y="27"/>
                    </a:lnTo>
                    <a:lnTo>
                      <a:pt x="0" y="50"/>
                    </a:lnTo>
                    <a:lnTo>
                      <a:pt x="218" y="50"/>
                    </a:lnTo>
                    <a:lnTo>
                      <a:pt x="218" y="27"/>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187" name="POWER_USER_ID_ICONS_Poll"/>
            <p:cNvGrpSpPr>
              <a:grpSpLocks noChangeAspect="1"/>
            </p:cNvGrpSpPr>
            <p:nvPr>
              <p:custDataLst>
                <p:tags r:id="rId16"/>
              </p:custDataLst>
            </p:nvPr>
          </p:nvGrpSpPr>
          <p:grpSpPr bwMode="auto">
            <a:xfrm>
              <a:off x="6277098" y="4519266"/>
              <a:ext cx="361475" cy="468868"/>
              <a:chOff x="74" y="94"/>
              <a:chExt cx="276" cy="358"/>
            </a:xfrm>
            <a:solidFill>
              <a:schemeClr val="tx2"/>
            </a:solidFill>
          </p:grpSpPr>
          <p:sp>
            <p:nvSpPr>
              <p:cNvPr id="188" name="POWER_USER_ID_ICONS_Poll"/>
              <p:cNvSpPr>
                <a:spLocks/>
              </p:cNvSpPr>
              <p:nvPr>
                <p:custDataLst>
                  <p:tags r:id="rId17"/>
                </p:custDataLst>
              </p:nvPr>
            </p:nvSpPr>
            <p:spPr bwMode="auto">
              <a:xfrm>
                <a:off x="74" y="94"/>
                <a:ext cx="273" cy="280"/>
              </a:xfrm>
              <a:custGeom>
                <a:avLst/>
                <a:gdLst>
                  <a:gd name="T0" fmla="*/ 900 w 900"/>
                  <a:gd name="T1" fmla="*/ 900 h 900"/>
                  <a:gd name="T2" fmla="*/ 0 w 900"/>
                  <a:gd name="T3" fmla="*/ 900 h 900"/>
                  <a:gd name="T4" fmla="*/ 0 w 900"/>
                  <a:gd name="T5" fmla="*/ 0 h 900"/>
                  <a:gd name="T6" fmla="*/ 15 w 900"/>
                  <a:gd name="T7" fmla="*/ 0 h 900"/>
                  <a:gd name="T8" fmla="*/ 15 w 900"/>
                  <a:gd name="T9" fmla="*/ 885 h 900"/>
                  <a:gd name="T10" fmla="*/ 900 w 900"/>
                  <a:gd name="T11" fmla="*/ 885 h 900"/>
                  <a:gd name="T12" fmla="*/ 900 w 900"/>
                  <a:gd name="T13" fmla="*/ 900 h 900"/>
                </a:gdLst>
                <a:ahLst/>
                <a:cxnLst>
                  <a:cxn ang="0">
                    <a:pos x="T0" y="T1"/>
                  </a:cxn>
                  <a:cxn ang="0">
                    <a:pos x="T2" y="T3"/>
                  </a:cxn>
                  <a:cxn ang="0">
                    <a:pos x="T4" y="T5"/>
                  </a:cxn>
                  <a:cxn ang="0">
                    <a:pos x="T6" y="T7"/>
                  </a:cxn>
                  <a:cxn ang="0">
                    <a:pos x="T8" y="T9"/>
                  </a:cxn>
                  <a:cxn ang="0">
                    <a:pos x="T10" y="T11"/>
                  </a:cxn>
                  <a:cxn ang="0">
                    <a:pos x="T12" y="T13"/>
                  </a:cxn>
                </a:cxnLst>
                <a:rect l="0" t="0" r="r" b="b"/>
                <a:pathLst>
                  <a:path w="900" h="900">
                    <a:moveTo>
                      <a:pt x="900" y="900"/>
                    </a:moveTo>
                    <a:lnTo>
                      <a:pt x="0" y="900"/>
                    </a:lnTo>
                    <a:lnTo>
                      <a:pt x="0" y="0"/>
                    </a:lnTo>
                    <a:lnTo>
                      <a:pt x="15" y="0"/>
                    </a:lnTo>
                    <a:lnTo>
                      <a:pt x="15" y="885"/>
                    </a:lnTo>
                    <a:lnTo>
                      <a:pt x="900" y="885"/>
                    </a:lnTo>
                    <a:lnTo>
                      <a:pt x="900" y="900"/>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89" name="POWER_USER_ID_ICONS_Poll"/>
              <p:cNvSpPr>
                <a:spLocks noEditPoints="1"/>
              </p:cNvSpPr>
              <p:nvPr>
                <p:custDataLst>
                  <p:tags r:id="rId18"/>
                </p:custDataLst>
              </p:nvPr>
            </p:nvSpPr>
            <p:spPr bwMode="auto">
              <a:xfrm>
                <a:off x="113" y="129"/>
                <a:ext cx="52" cy="210"/>
              </a:xfrm>
              <a:custGeom>
                <a:avLst/>
                <a:gdLst>
                  <a:gd name="T0" fmla="*/ 172 w 172"/>
                  <a:gd name="T1" fmla="*/ 676 h 676"/>
                  <a:gd name="T2" fmla="*/ 0 w 172"/>
                  <a:gd name="T3" fmla="*/ 676 h 676"/>
                  <a:gd name="T4" fmla="*/ 0 w 172"/>
                  <a:gd name="T5" fmla="*/ 0 h 676"/>
                  <a:gd name="T6" fmla="*/ 172 w 172"/>
                  <a:gd name="T7" fmla="*/ 0 h 676"/>
                  <a:gd name="T8" fmla="*/ 172 w 172"/>
                  <a:gd name="T9" fmla="*/ 676 h 676"/>
                  <a:gd name="T10" fmla="*/ 15 w 172"/>
                  <a:gd name="T11" fmla="*/ 661 h 676"/>
                  <a:gd name="T12" fmla="*/ 157 w 172"/>
                  <a:gd name="T13" fmla="*/ 661 h 676"/>
                  <a:gd name="T14" fmla="*/ 157 w 172"/>
                  <a:gd name="T15" fmla="*/ 15 h 676"/>
                  <a:gd name="T16" fmla="*/ 15 w 172"/>
                  <a:gd name="T17" fmla="*/ 15 h 676"/>
                  <a:gd name="T18" fmla="*/ 15 w 172"/>
                  <a:gd name="T19" fmla="*/ 661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676">
                    <a:moveTo>
                      <a:pt x="172" y="676"/>
                    </a:moveTo>
                    <a:lnTo>
                      <a:pt x="0" y="676"/>
                    </a:lnTo>
                    <a:lnTo>
                      <a:pt x="0" y="0"/>
                    </a:lnTo>
                    <a:lnTo>
                      <a:pt x="172" y="0"/>
                    </a:lnTo>
                    <a:lnTo>
                      <a:pt x="172" y="676"/>
                    </a:lnTo>
                    <a:close/>
                    <a:moveTo>
                      <a:pt x="15" y="661"/>
                    </a:moveTo>
                    <a:lnTo>
                      <a:pt x="157" y="661"/>
                    </a:lnTo>
                    <a:lnTo>
                      <a:pt x="157" y="15"/>
                    </a:lnTo>
                    <a:lnTo>
                      <a:pt x="15" y="15"/>
                    </a:lnTo>
                    <a:lnTo>
                      <a:pt x="15" y="661"/>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0" name="POWER_USER_ID_ICONS_Poll"/>
              <p:cNvSpPr>
                <a:spLocks noEditPoints="1"/>
              </p:cNvSpPr>
              <p:nvPr>
                <p:custDataLst>
                  <p:tags r:id="rId19"/>
                </p:custDataLst>
              </p:nvPr>
            </p:nvSpPr>
            <p:spPr bwMode="auto">
              <a:xfrm>
                <a:off x="200" y="201"/>
                <a:ext cx="53" cy="138"/>
              </a:xfrm>
              <a:custGeom>
                <a:avLst/>
                <a:gdLst>
                  <a:gd name="T0" fmla="*/ 172 w 172"/>
                  <a:gd name="T1" fmla="*/ 444 h 444"/>
                  <a:gd name="T2" fmla="*/ 0 w 172"/>
                  <a:gd name="T3" fmla="*/ 444 h 444"/>
                  <a:gd name="T4" fmla="*/ 0 w 172"/>
                  <a:gd name="T5" fmla="*/ 0 h 444"/>
                  <a:gd name="T6" fmla="*/ 172 w 172"/>
                  <a:gd name="T7" fmla="*/ 0 h 444"/>
                  <a:gd name="T8" fmla="*/ 172 w 172"/>
                  <a:gd name="T9" fmla="*/ 444 h 444"/>
                  <a:gd name="T10" fmla="*/ 15 w 172"/>
                  <a:gd name="T11" fmla="*/ 429 h 444"/>
                  <a:gd name="T12" fmla="*/ 157 w 172"/>
                  <a:gd name="T13" fmla="*/ 429 h 444"/>
                  <a:gd name="T14" fmla="*/ 157 w 172"/>
                  <a:gd name="T15" fmla="*/ 15 h 444"/>
                  <a:gd name="T16" fmla="*/ 15 w 172"/>
                  <a:gd name="T17" fmla="*/ 15 h 444"/>
                  <a:gd name="T18" fmla="*/ 15 w 172"/>
                  <a:gd name="T19" fmla="*/ 42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444">
                    <a:moveTo>
                      <a:pt x="172" y="444"/>
                    </a:moveTo>
                    <a:lnTo>
                      <a:pt x="0" y="444"/>
                    </a:lnTo>
                    <a:lnTo>
                      <a:pt x="0" y="0"/>
                    </a:lnTo>
                    <a:lnTo>
                      <a:pt x="172" y="0"/>
                    </a:lnTo>
                    <a:lnTo>
                      <a:pt x="172" y="444"/>
                    </a:lnTo>
                    <a:close/>
                    <a:moveTo>
                      <a:pt x="15" y="429"/>
                    </a:moveTo>
                    <a:lnTo>
                      <a:pt x="157" y="429"/>
                    </a:lnTo>
                    <a:lnTo>
                      <a:pt x="157" y="15"/>
                    </a:lnTo>
                    <a:lnTo>
                      <a:pt x="15" y="15"/>
                    </a:lnTo>
                    <a:lnTo>
                      <a:pt x="15" y="429"/>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1" name="POWER_USER_ID_ICONS_Poll"/>
              <p:cNvSpPr>
                <a:spLocks noEditPoints="1"/>
              </p:cNvSpPr>
              <p:nvPr>
                <p:custDataLst>
                  <p:tags r:id="rId20"/>
                </p:custDataLst>
              </p:nvPr>
            </p:nvSpPr>
            <p:spPr bwMode="auto">
              <a:xfrm>
                <a:off x="287" y="172"/>
                <a:ext cx="53" cy="167"/>
              </a:xfrm>
              <a:custGeom>
                <a:avLst/>
                <a:gdLst>
                  <a:gd name="T0" fmla="*/ 172 w 172"/>
                  <a:gd name="T1" fmla="*/ 539 h 539"/>
                  <a:gd name="T2" fmla="*/ 0 w 172"/>
                  <a:gd name="T3" fmla="*/ 539 h 539"/>
                  <a:gd name="T4" fmla="*/ 0 w 172"/>
                  <a:gd name="T5" fmla="*/ 0 h 539"/>
                  <a:gd name="T6" fmla="*/ 172 w 172"/>
                  <a:gd name="T7" fmla="*/ 0 h 539"/>
                  <a:gd name="T8" fmla="*/ 172 w 172"/>
                  <a:gd name="T9" fmla="*/ 539 h 539"/>
                  <a:gd name="T10" fmla="*/ 15 w 172"/>
                  <a:gd name="T11" fmla="*/ 524 h 539"/>
                  <a:gd name="T12" fmla="*/ 157 w 172"/>
                  <a:gd name="T13" fmla="*/ 524 h 539"/>
                  <a:gd name="T14" fmla="*/ 157 w 172"/>
                  <a:gd name="T15" fmla="*/ 15 h 539"/>
                  <a:gd name="T16" fmla="*/ 15 w 172"/>
                  <a:gd name="T17" fmla="*/ 15 h 539"/>
                  <a:gd name="T18" fmla="*/ 15 w 172"/>
                  <a:gd name="T19" fmla="*/ 52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539">
                    <a:moveTo>
                      <a:pt x="172" y="539"/>
                    </a:moveTo>
                    <a:lnTo>
                      <a:pt x="0" y="539"/>
                    </a:lnTo>
                    <a:lnTo>
                      <a:pt x="0" y="0"/>
                    </a:lnTo>
                    <a:lnTo>
                      <a:pt x="172" y="0"/>
                    </a:lnTo>
                    <a:lnTo>
                      <a:pt x="172" y="539"/>
                    </a:lnTo>
                    <a:close/>
                    <a:moveTo>
                      <a:pt x="15" y="524"/>
                    </a:moveTo>
                    <a:lnTo>
                      <a:pt x="157" y="524"/>
                    </a:lnTo>
                    <a:lnTo>
                      <a:pt x="157" y="15"/>
                    </a:lnTo>
                    <a:lnTo>
                      <a:pt x="15" y="15"/>
                    </a:lnTo>
                    <a:lnTo>
                      <a:pt x="15" y="524"/>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2" name="POWER_USER_ID_ICONS_Poll"/>
              <p:cNvSpPr>
                <a:spLocks noChangeArrowheads="1"/>
              </p:cNvSpPr>
              <p:nvPr>
                <p:custDataLst>
                  <p:tags r:id="rId21"/>
                </p:custDataLst>
              </p:nvPr>
            </p:nvSpPr>
            <p:spPr bwMode="auto">
              <a:xfrm>
                <a:off x="129" y="384"/>
                <a:ext cx="32" cy="31"/>
              </a:xfrm>
              <a:prstGeom prst="ellipse">
                <a:avLst/>
              </a:pr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3" name="POWER_USER_ID_ICONS_Poll"/>
              <p:cNvSpPr>
                <a:spLocks/>
              </p:cNvSpPr>
              <p:nvPr>
                <p:custDataLst>
                  <p:tags r:id="rId22"/>
                </p:custDataLst>
              </p:nvPr>
            </p:nvSpPr>
            <p:spPr bwMode="auto">
              <a:xfrm>
                <a:off x="115"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4" y="4"/>
                      <a:pt x="125" y="0"/>
                    </a:cubicBezTo>
                    <a:cubicBezTo>
                      <a:pt x="115" y="14"/>
                      <a:pt x="99" y="23"/>
                      <a:pt x="81" y="23"/>
                    </a:cubicBezTo>
                    <a:cubicBezTo>
                      <a:pt x="63" y="23"/>
                      <a:pt x="47" y="14"/>
                      <a:pt x="37" y="0"/>
                    </a:cubicBezTo>
                    <a:cubicBezTo>
                      <a:pt x="29" y="4"/>
                      <a:pt x="21" y="9"/>
                      <a:pt x="17" y="16"/>
                    </a:cubicBezTo>
                    <a:cubicBezTo>
                      <a:pt x="3" y="38"/>
                      <a:pt x="0" y="72"/>
                      <a:pt x="0" y="98"/>
                    </a:cubicBezTo>
                    <a:cubicBezTo>
                      <a:pt x="0" y="98"/>
                      <a:pt x="36" y="108"/>
                      <a:pt x="81" y="108"/>
                    </a:cubicBezTo>
                    <a:cubicBezTo>
                      <a:pt x="127" y="108"/>
                      <a:pt x="162" y="98"/>
                      <a:pt x="162" y="98"/>
                    </a:cubicBezTo>
                    <a:cubicBezTo>
                      <a:pt x="162" y="72"/>
                      <a:pt x="159" y="38"/>
                      <a:pt x="145" y="1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4" name="POWER_USER_ID_ICONS_Poll"/>
              <p:cNvSpPr>
                <a:spLocks noChangeArrowheads="1"/>
              </p:cNvSpPr>
              <p:nvPr>
                <p:custDataLst>
                  <p:tags r:id="rId23"/>
                </p:custDataLst>
              </p:nvPr>
            </p:nvSpPr>
            <p:spPr bwMode="auto">
              <a:xfrm>
                <a:off x="216" y="384"/>
                <a:ext cx="32" cy="31"/>
              </a:xfrm>
              <a:prstGeom prst="ellipse">
                <a:avLst/>
              </a:pr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5" name="POWER_USER_ID_ICONS_Poll"/>
              <p:cNvSpPr>
                <a:spLocks/>
              </p:cNvSpPr>
              <p:nvPr>
                <p:custDataLst>
                  <p:tags r:id="rId24"/>
                </p:custDataLst>
              </p:nvPr>
            </p:nvSpPr>
            <p:spPr bwMode="auto">
              <a:xfrm>
                <a:off x="202"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7" y="14"/>
                      <a:pt x="37" y="0"/>
                    </a:cubicBezTo>
                    <a:cubicBezTo>
                      <a:pt x="28" y="4"/>
                      <a:pt x="21" y="9"/>
                      <a:pt x="17" y="16"/>
                    </a:cubicBezTo>
                    <a:cubicBezTo>
                      <a:pt x="3" y="38"/>
                      <a:pt x="0" y="72"/>
                      <a:pt x="0" y="98"/>
                    </a:cubicBezTo>
                    <a:cubicBezTo>
                      <a:pt x="0" y="98"/>
                      <a:pt x="36" y="108"/>
                      <a:pt x="81" y="108"/>
                    </a:cubicBezTo>
                    <a:cubicBezTo>
                      <a:pt x="126" y="108"/>
                      <a:pt x="162" y="98"/>
                      <a:pt x="162" y="98"/>
                    </a:cubicBezTo>
                    <a:cubicBezTo>
                      <a:pt x="162" y="72"/>
                      <a:pt x="159" y="38"/>
                      <a:pt x="145" y="1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6" name="POWER_USER_ID_ICONS_Poll"/>
              <p:cNvSpPr>
                <a:spLocks noChangeArrowheads="1"/>
              </p:cNvSpPr>
              <p:nvPr>
                <p:custDataLst>
                  <p:tags r:id="rId25"/>
                </p:custDataLst>
              </p:nvPr>
            </p:nvSpPr>
            <p:spPr bwMode="auto">
              <a:xfrm>
                <a:off x="304" y="384"/>
                <a:ext cx="31" cy="31"/>
              </a:xfrm>
              <a:prstGeom prst="ellipse">
                <a:avLst/>
              </a:pr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7" name="POWER_USER_ID_ICONS_Poll"/>
              <p:cNvSpPr>
                <a:spLocks/>
              </p:cNvSpPr>
              <p:nvPr>
                <p:custDataLst>
                  <p:tags r:id="rId26"/>
                </p:custDataLst>
              </p:nvPr>
            </p:nvSpPr>
            <p:spPr bwMode="auto">
              <a:xfrm>
                <a:off x="289"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6" y="14"/>
                      <a:pt x="37" y="0"/>
                    </a:cubicBezTo>
                    <a:cubicBezTo>
                      <a:pt x="28" y="4"/>
                      <a:pt x="21" y="9"/>
                      <a:pt x="17" y="16"/>
                    </a:cubicBezTo>
                    <a:cubicBezTo>
                      <a:pt x="3" y="38"/>
                      <a:pt x="0" y="72"/>
                      <a:pt x="0" y="98"/>
                    </a:cubicBezTo>
                    <a:cubicBezTo>
                      <a:pt x="0" y="98"/>
                      <a:pt x="35" y="108"/>
                      <a:pt x="81" y="108"/>
                    </a:cubicBezTo>
                    <a:cubicBezTo>
                      <a:pt x="126" y="108"/>
                      <a:pt x="162" y="98"/>
                      <a:pt x="162" y="98"/>
                    </a:cubicBezTo>
                    <a:cubicBezTo>
                      <a:pt x="162" y="72"/>
                      <a:pt x="158" y="38"/>
                      <a:pt x="145" y="1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grpSp>
        <p:nvGrpSpPr>
          <p:cNvPr id="131" name="Rocket2"/>
          <p:cNvGrpSpPr>
            <a:grpSpLocks noChangeAspect="1"/>
          </p:cNvGrpSpPr>
          <p:nvPr>
            <p:custDataLst>
              <p:tags r:id="rId2"/>
            </p:custDataLst>
          </p:nvPr>
        </p:nvGrpSpPr>
        <p:grpSpPr bwMode="auto">
          <a:xfrm>
            <a:off x="2941762" y="4788716"/>
            <a:ext cx="549875" cy="544912"/>
            <a:chOff x="2506" y="943"/>
            <a:chExt cx="2548" cy="2525"/>
          </a:xfrm>
          <a:solidFill>
            <a:srgbClr val="1F497D"/>
          </a:solidFill>
        </p:grpSpPr>
        <p:sp>
          <p:nvSpPr>
            <p:cNvPr id="132" name="Freeform 619"/>
            <p:cNvSpPr>
              <a:spLocks/>
            </p:cNvSpPr>
            <p:nvPr/>
          </p:nvSpPr>
          <p:spPr bwMode="auto">
            <a:xfrm>
              <a:off x="2510" y="2410"/>
              <a:ext cx="1044" cy="1046"/>
            </a:xfrm>
            <a:custGeom>
              <a:avLst/>
              <a:gdLst>
                <a:gd name="T0" fmla="*/ 263 w 263"/>
                <a:gd name="T1" fmla="*/ 94 h 263"/>
                <a:gd name="T2" fmla="*/ 253 w 263"/>
                <a:gd name="T3" fmla="*/ 94 h 263"/>
                <a:gd name="T4" fmla="*/ 234 w 263"/>
                <a:gd name="T5" fmla="*/ 94 h 263"/>
                <a:gd name="T6" fmla="*/ 151 w 263"/>
                <a:gd name="T7" fmla="*/ 159 h 263"/>
                <a:gd name="T8" fmla="*/ 118 w 263"/>
                <a:gd name="T9" fmla="*/ 178 h 263"/>
                <a:gd name="T10" fmla="*/ 95 w 263"/>
                <a:gd name="T11" fmla="*/ 167 h 263"/>
                <a:gd name="T12" fmla="*/ 85 w 263"/>
                <a:gd name="T13" fmla="*/ 144 h 263"/>
                <a:gd name="T14" fmla="*/ 104 w 263"/>
                <a:gd name="T15" fmla="*/ 112 h 263"/>
                <a:gd name="T16" fmla="*/ 106 w 263"/>
                <a:gd name="T17" fmla="*/ 109 h 263"/>
                <a:gd name="T18" fmla="*/ 169 w 263"/>
                <a:gd name="T19" fmla="*/ 29 h 263"/>
                <a:gd name="T20" fmla="*/ 168 w 263"/>
                <a:gd name="T21" fmla="*/ 0 h 263"/>
                <a:gd name="T22" fmla="*/ 146 w 263"/>
                <a:gd name="T23" fmla="*/ 20 h 263"/>
                <a:gd name="T24" fmla="*/ 11 w 263"/>
                <a:gd name="T25" fmla="*/ 252 h 263"/>
                <a:gd name="T26" fmla="*/ 243 w 263"/>
                <a:gd name="T27" fmla="*/ 117 h 263"/>
                <a:gd name="T28" fmla="*/ 263 w 263"/>
                <a:gd name="T29" fmla="*/ 9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263">
                  <a:moveTo>
                    <a:pt x="263" y="94"/>
                  </a:moveTo>
                  <a:cubicBezTo>
                    <a:pt x="259" y="94"/>
                    <a:pt x="256" y="94"/>
                    <a:pt x="253" y="94"/>
                  </a:cubicBezTo>
                  <a:cubicBezTo>
                    <a:pt x="246" y="94"/>
                    <a:pt x="240" y="94"/>
                    <a:pt x="234" y="94"/>
                  </a:cubicBezTo>
                  <a:lnTo>
                    <a:pt x="151" y="159"/>
                  </a:lnTo>
                  <a:cubicBezTo>
                    <a:pt x="142" y="168"/>
                    <a:pt x="132" y="178"/>
                    <a:pt x="118" y="178"/>
                  </a:cubicBezTo>
                  <a:cubicBezTo>
                    <a:pt x="110" y="178"/>
                    <a:pt x="102" y="174"/>
                    <a:pt x="95" y="167"/>
                  </a:cubicBezTo>
                  <a:cubicBezTo>
                    <a:pt x="88" y="160"/>
                    <a:pt x="85" y="153"/>
                    <a:pt x="85" y="144"/>
                  </a:cubicBezTo>
                  <a:cubicBezTo>
                    <a:pt x="85" y="130"/>
                    <a:pt x="95" y="121"/>
                    <a:pt x="104" y="112"/>
                  </a:cubicBezTo>
                  <a:lnTo>
                    <a:pt x="106" y="109"/>
                  </a:lnTo>
                  <a:lnTo>
                    <a:pt x="169" y="29"/>
                  </a:lnTo>
                  <a:cubicBezTo>
                    <a:pt x="168" y="20"/>
                    <a:pt x="168" y="11"/>
                    <a:pt x="168" y="0"/>
                  </a:cubicBezTo>
                  <a:cubicBezTo>
                    <a:pt x="161" y="6"/>
                    <a:pt x="154" y="12"/>
                    <a:pt x="146" y="20"/>
                  </a:cubicBezTo>
                  <a:cubicBezTo>
                    <a:pt x="62" y="104"/>
                    <a:pt x="0" y="242"/>
                    <a:pt x="11" y="252"/>
                  </a:cubicBezTo>
                  <a:cubicBezTo>
                    <a:pt x="21" y="263"/>
                    <a:pt x="158" y="201"/>
                    <a:pt x="243" y="117"/>
                  </a:cubicBezTo>
                  <a:cubicBezTo>
                    <a:pt x="251" y="109"/>
                    <a:pt x="257" y="102"/>
                    <a:pt x="263" y="94"/>
                  </a:cubicBezTo>
                  <a:close/>
                </a:path>
              </a:pathLst>
            </a:cu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33" name="Freeform 620"/>
            <p:cNvSpPr>
              <a:spLocks/>
            </p:cNvSpPr>
            <p:nvPr/>
          </p:nvSpPr>
          <p:spPr bwMode="auto">
            <a:xfrm>
              <a:off x="2994" y="2040"/>
              <a:ext cx="941" cy="931"/>
            </a:xfrm>
            <a:custGeom>
              <a:avLst/>
              <a:gdLst>
                <a:gd name="T0" fmla="*/ 0 w 237"/>
                <a:gd name="T1" fmla="*/ 234 h 234"/>
                <a:gd name="T2" fmla="*/ 5 w 237"/>
                <a:gd name="T3" fmla="*/ 228 h 234"/>
                <a:gd name="T4" fmla="*/ 10 w 237"/>
                <a:gd name="T5" fmla="*/ 224 h 234"/>
                <a:gd name="T6" fmla="*/ 221 w 237"/>
                <a:gd name="T7" fmla="*/ 60 h 234"/>
                <a:gd name="T8" fmla="*/ 232 w 237"/>
                <a:gd name="T9" fmla="*/ 1 h 234"/>
                <a:gd name="T10" fmla="*/ 223 w 237"/>
                <a:gd name="T11" fmla="*/ 0 h 234"/>
                <a:gd name="T12" fmla="*/ 174 w 237"/>
                <a:gd name="T13" fmla="*/ 13 h 234"/>
                <a:gd name="T14" fmla="*/ 5 w 237"/>
                <a:gd name="T15" fmla="*/ 228 h 234"/>
                <a:gd name="T16" fmla="*/ 0 w 237"/>
                <a:gd name="T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34">
                  <a:moveTo>
                    <a:pt x="0" y="234"/>
                  </a:moveTo>
                  <a:cubicBezTo>
                    <a:pt x="2" y="232"/>
                    <a:pt x="4" y="230"/>
                    <a:pt x="5" y="228"/>
                  </a:cubicBezTo>
                  <a:lnTo>
                    <a:pt x="10" y="224"/>
                  </a:lnTo>
                  <a:lnTo>
                    <a:pt x="221" y="60"/>
                  </a:lnTo>
                  <a:cubicBezTo>
                    <a:pt x="228" y="51"/>
                    <a:pt x="237" y="13"/>
                    <a:pt x="232" y="1"/>
                  </a:cubicBezTo>
                  <a:cubicBezTo>
                    <a:pt x="231" y="1"/>
                    <a:pt x="228" y="0"/>
                    <a:pt x="223" y="0"/>
                  </a:cubicBezTo>
                  <a:cubicBezTo>
                    <a:pt x="203" y="0"/>
                    <a:pt x="180" y="8"/>
                    <a:pt x="174" y="13"/>
                  </a:cubicBezTo>
                  <a:lnTo>
                    <a:pt x="5" y="228"/>
                  </a:lnTo>
                  <a:cubicBezTo>
                    <a:pt x="4" y="230"/>
                    <a:pt x="2" y="232"/>
                    <a:pt x="0" y="234"/>
                  </a:cubicBezTo>
                  <a:close/>
                </a:path>
              </a:pathLst>
            </a:cu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83" name="Freeform 621"/>
            <p:cNvSpPr>
              <a:spLocks/>
            </p:cNvSpPr>
            <p:nvPr/>
          </p:nvSpPr>
          <p:spPr bwMode="auto">
            <a:xfrm>
              <a:off x="3359" y="2514"/>
              <a:ext cx="1100" cy="954"/>
            </a:xfrm>
            <a:custGeom>
              <a:avLst/>
              <a:gdLst>
                <a:gd name="T0" fmla="*/ 73 w 277"/>
                <a:gd name="T1" fmla="*/ 67 h 240"/>
                <a:gd name="T2" fmla="*/ 11 w 277"/>
                <a:gd name="T3" fmla="*/ 205 h 240"/>
                <a:gd name="T4" fmla="*/ 55 w 277"/>
                <a:gd name="T5" fmla="*/ 221 h 240"/>
                <a:gd name="T6" fmla="*/ 190 w 277"/>
                <a:gd name="T7" fmla="*/ 147 h 240"/>
                <a:gd name="T8" fmla="*/ 276 w 277"/>
                <a:gd name="T9" fmla="*/ 13 h 240"/>
                <a:gd name="T10" fmla="*/ 275 w 277"/>
                <a:gd name="T11" fmla="*/ 0 h 240"/>
                <a:gd name="T12" fmla="*/ 73 w 277"/>
                <a:gd name="T13" fmla="*/ 67 h 240"/>
              </a:gdLst>
              <a:ahLst/>
              <a:cxnLst>
                <a:cxn ang="0">
                  <a:pos x="T0" y="T1"/>
                </a:cxn>
                <a:cxn ang="0">
                  <a:pos x="T2" y="T3"/>
                </a:cxn>
                <a:cxn ang="0">
                  <a:pos x="T4" y="T5"/>
                </a:cxn>
                <a:cxn ang="0">
                  <a:pos x="T6" y="T7"/>
                </a:cxn>
                <a:cxn ang="0">
                  <a:pos x="T8" y="T9"/>
                </a:cxn>
                <a:cxn ang="0">
                  <a:pos x="T10" y="T11"/>
                </a:cxn>
                <a:cxn ang="0">
                  <a:pos x="T12" y="T13"/>
                </a:cxn>
              </a:cxnLst>
              <a:rect l="0" t="0" r="r" b="b"/>
              <a:pathLst>
                <a:path w="277" h="240">
                  <a:moveTo>
                    <a:pt x="73" y="67"/>
                  </a:moveTo>
                  <a:cubicBezTo>
                    <a:pt x="43" y="128"/>
                    <a:pt x="11" y="205"/>
                    <a:pt x="11" y="205"/>
                  </a:cubicBezTo>
                  <a:cubicBezTo>
                    <a:pt x="0" y="225"/>
                    <a:pt x="17" y="240"/>
                    <a:pt x="55" y="221"/>
                  </a:cubicBezTo>
                  <a:lnTo>
                    <a:pt x="190" y="147"/>
                  </a:lnTo>
                  <a:cubicBezTo>
                    <a:pt x="263" y="106"/>
                    <a:pt x="277" y="96"/>
                    <a:pt x="276" y="13"/>
                  </a:cubicBezTo>
                  <a:lnTo>
                    <a:pt x="275" y="0"/>
                  </a:lnTo>
                  <a:cubicBezTo>
                    <a:pt x="209" y="46"/>
                    <a:pt x="134" y="63"/>
                    <a:pt x="73" y="67"/>
                  </a:cubicBezTo>
                  <a:close/>
                </a:path>
              </a:pathLst>
            </a:cu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8" name="Freeform 622"/>
            <p:cNvSpPr>
              <a:spLocks/>
            </p:cNvSpPr>
            <p:nvPr/>
          </p:nvSpPr>
          <p:spPr bwMode="auto">
            <a:xfrm>
              <a:off x="2506" y="1511"/>
              <a:ext cx="937" cy="1102"/>
            </a:xfrm>
            <a:custGeom>
              <a:avLst/>
              <a:gdLst>
                <a:gd name="T0" fmla="*/ 35 w 236"/>
                <a:gd name="T1" fmla="*/ 266 h 277"/>
                <a:gd name="T2" fmla="*/ 170 w 236"/>
                <a:gd name="T3" fmla="*/ 206 h 277"/>
                <a:gd name="T4" fmla="*/ 236 w 236"/>
                <a:gd name="T5" fmla="*/ 2 h 277"/>
                <a:gd name="T6" fmla="*/ 227 w 236"/>
                <a:gd name="T7" fmla="*/ 1 h 277"/>
                <a:gd name="T8" fmla="*/ 94 w 236"/>
                <a:gd name="T9" fmla="*/ 87 h 277"/>
                <a:gd name="T10" fmla="*/ 20 w 236"/>
                <a:gd name="T11" fmla="*/ 223 h 277"/>
                <a:gd name="T12" fmla="*/ 35 w 236"/>
                <a:gd name="T13" fmla="*/ 266 h 277"/>
              </a:gdLst>
              <a:ahLst/>
              <a:cxnLst>
                <a:cxn ang="0">
                  <a:pos x="T0" y="T1"/>
                </a:cxn>
                <a:cxn ang="0">
                  <a:pos x="T2" y="T3"/>
                </a:cxn>
                <a:cxn ang="0">
                  <a:pos x="T4" y="T5"/>
                </a:cxn>
                <a:cxn ang="0">
                  <a:pos x="T6" y="T7"/>
                </a:cxn>
                <a:cxn ang="0">
                  <a:pos x="T8" y="T9"/>
                </a:cxn>
                <a:cxn ang="0">
                  <a:pos x="T10" y="T11"/>
                </a:cxn>
                <a:cxn ang="0">
                  <a:pos x="T12" y="T13"/>
                </a:cxn>
              </a:cxnLst>
              <a:rect l="0" t="0" r="r" b="b"/>
              <a:pathLst>
                <a:path w="236" h="277">
                  <a:moveTo>
                    <a:pt x="35" y="266"/>
                  </a:moveTo>
                  <a:cubicBezTo>
                    <a:pt x="35" y="266"/>
                    <a:pt x="109" y="235"/>
                    <a:pt x="170" y="206"/>
                  </a:cubicBezTo>
                  <a:cubicBezTo>
                    <a:pt x="174" y="147"/>
                    <a:pt x="189" y="70"/>
                    <a:pt x="236" y="2"/>
                  </a:cubicBezTo>
                  <a:lnTo>
                    <a:pt x="227" y="1"/>
                  </a:lnTo>
                  <a:cubicBezTo>
                    <a:pt x="145" y="0"/>
                    <a:pt x="134" y="14"/>
                    <a:pt x="94" y="87"/>
                  </a:cubicBezTo>
                  <a:lnTo>
                    <a:pt x="20" y="223"/>
                  </a:lnTo>
                  <a:cubicBezTo>
                    <a:pt x="0" y="260"/>
                    <a:pt x="15" y="277"/>
                    <a:pt x="35" y="266"/>
                  </a:cubicBezTo>
                </a:path>
              </a:pathLst>
            </a:cu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9" name="Freeform 623"/>
            <p:cNvSpPr>
              <a:spLocks noEditPoints="1"/>
            </p:cNvSpPr>
            <p:nvPr/>
          </p:nvSpPr>
          <p:spPr bwMode="auto">
            <a:xfrm>
              <a:off x="3316" y="943"/>
              <a:ext cx="1738" cy="1706"/>
            </a:xfrm>
            <a:custGeom>
              <a:avLst/>
              <a:gdLst>
                <a:gd name="T0" fmla="*/ 367 w 438"/>
                <a:gd name="T1" fmla="*/ 111 h 429"/>
                <a:gd name="T2" fmla="*/ 320 w 438"/>
                <a:gd name="T3" fmla="*/ 111 h 429"/>
                <a:gd name="T4" fmla="*/ 320 w 438"/>
                <a:gd name="T5" fmla="*/ 64 h 429"/>
                <a:gd name="T6" fmla="*/ 367 w 438"/>
                <a:gd name="T7" fmla="*/ 64 h 429"/>
                <a:gd name="T8" fmla="*/ 367 w 438"/>
                <a:gd name="T9" fmla="*/ 111 h 429"/>
                <a:gd name="T10" fmla="*/ 296 w 438"/>
                <a:gd name="T11" fmla="*/ 229 h 429"/>
                <a:gd name="T12" fmla="*/ 202 w 438"/>
                <a:gd name="T13" fmla="*/ 229 h 429"/>
                <a:gd name="T14" fmla="*/ 202 w 438"/>
                <a:gd name="T15" fmla="*/ 135 h 429"/>
                <a:gd name="T16" fmla="*/ 296 w 438"/>
                <a:gd name="T17" fmla="*/ 135 h 429"/>
                <a:gd name="T18" fmla="*/ 296 w 438"/>
                <a:gd name="T19" fmla="*/ 229 h 429"/>
                <a:gd name="T20" fmla="*/ 383 w 438"/>
                <a:gd name="T21" fmla="*/ 0 h 429"/>
                <a:gd name="T22" fmla="*/ 93 w 438"/>
                <a:gd name="T23" fmla="*/ 124 h 429"/>
                <a:gd name="T24" fmla="*/ 0 w 438"/>
                <a:gd name="T25" fmla="*/ 354 h 429"/>
                <a:gd name="T26" fmla="*/ 69 w 438"/>
                <a:gd name="T27" fmla="*/ 265 h 429"/>
                <a:gd name="T28" fmla="*/ 142 w 438"/>
                <a:gd name="T29" fmla="*/ 243 h 429"/>
                <a:gd name="T30" fmla="*/ 175 w 438"/>
                <a:gd name="T31" fmla="*/ 254 h 429"/>
                <a:gd name="T32" fmla="*/ 163 w 438"/>
                <a:gd name="T33" fmla="*/ 360 h 429"/>
                <a:gd name="T34" fmla="*/ 162 w 438"/>
                <a:gd name="T35" fmla="*/ 361 h 429"/>
                <a:gd name="T36" fmla="*/ 74 w 438"/>
                <a:gd name="T37" fmla="*/ 429 h 429"/>
                <a:gd name="T38" fmla="*/ 304 w 438"/>
                <a:gd name="T39" fmla="*/ 336 h 429"/>
                <a:gd name="T40" fmla="*/ 422 w 438"/>
                <a:gd name="T41" fmla="*/ 6 h 429"/>
                <a:gd name="T42" fmla="*/ 383 w 438"/>
                <a:gd name="T43"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8" h="429">
                  <a:moveTo>
                    <a:pt x="367" y="111"/>
                  </a:moveTo>
                  <a:cubicBezTo>
                    <a:pt x="354" y="124"/>
                    <a:pt x="333" y="124"/>
                    <a:pt x="320" y="111"/>
                  </a:cubicBezTo>
                  <a:cubicBezTo>
                    <a:pt x="307" y="98"/>
                    <a:pt x="307" y="77"/>
                    <a:pt x="320" y="64"/>
                  </a:cubicBezTo>
                  <a:cubicBezTo>
                    <a:pt x="333" y="51"/>
                    <a:pt x="354" y="51"/>
                    <a:pt x="367" y="64"/>
                  </a:cubicBezTo>
                  <a:cubicBezTo>
                    <a:pt x="380" y="77"/>
                    <a:pt x="380" y="98"/>
                    <a:pt x="367" y="111"/>
                  </a:cubicBezTo>
                  <a:close/>
                  <a:moveTo>
                    <a:pt x="296" y="229"/>
                  </a:moveTo>
                  <a:cubicBezTo>
                    <a:pt x="270" y="255"/>
                    <a:pt x="228" y="255"/>
                    <a:pt x="202" y="229"/>
                  </a:cubicBezTo>
                  <a:cubicBezTo>
                    <a:pt x="176" y="203"/>
                    <a:pt x="176" y="161"/>
                    <a:pt x="202" y="135"/>
                  </a:cubicBezTo>
                  <a:cubicBezTo>
                    <a:pt x="228" y="109"/>
                    <a:pt x="270" y="109"/>
                    <a:pt x="296" y="135"/>
                  </a:cubicBezTo>
                  <a:cubicBezTo>
                    <a:pt x="322" y="161"/>
                    <a:pt x="322" y="203"/>
                    <a:pt x="296" y="229"/>
                  </a:cubicBezTo>
                  <a:close/>
                  <a:moveTo>
                    <a:pt x="383" y="0"/>
                  </a:moveTo>
                  <a:cubicBezTo>
                    <a:pt x="303" y="0"/>
                    <a:pt x="178" y="39"/>
                    <a:pt x="93" y="124"/>
                  </a:cubicBezTo>
                  <a:cubicBezTo>
                    <a:pt x="22" y="195"/>
                    <a:pt x="3" y="288"/>
                    <a:pt x="0" y="354"/>
                  </a:cubicBezTo>
                  <a:lnTo>
                    <a:pt x="69" y="265"/>
                  </a:lnTo>
                  <a:cubicBezTo>
                    <a:pt x="82" y="252"/>
                    <a:pt x="117" y="243"/>
                    <a:pt x="142" y="243"/>
                  </a:cubicBezTo>
                  <a:cubicBezTo>
                    <a:pt x="157" y="243"/>
                    <a:pt x="168" y="247"/>
                    <a:pt x="175" y="254"/>
                  </a:cubicBezTo>
                  <a:cubicBezTo>
                    <a:pt x="197" y="276"/>
                    <a:pt x="180" y="343"/>
                    <a:pt x="163" y="360"/>
                  </a:cubicBezTo>
                  <a:lnTo>
                    <a:pt x="162" y="361"/>
                  </a:lnTo>
                  <a:lnTo>
                    <a:pt x="74" y="429"/>
                  </a:lnTo>
                  <a:cubicBezTo>
                    <a:pt x="145" y="426"/>
                    <a:pt x="235" y="405"/>
                    <a:pt x="304" y="336"/>
                  </a:cubicBezTo>
                  <a:cubicBezTo>
                    <a:pt x="431" y="210"/>
                    <a:pt x="438" y="26"/>
                    <a:pt x="422" y="6"/>
                  </a:cubicBezTo>
                  <a:cubicBezTo>
                    <a:pt x="421" y="5"/>
                    <a:pt x="410" y="0"/>
                    <a:pt x="383" y="0"/>
                  </a:cubicBezTo>
                </a:path>
              </a:pathLst>
            </a:cu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200" name="Clipboard3"/>
          <p:cNvGrpSpPr>
            <a:grpSpLocks noChangeAspect="1"/>
          </p:cNvGrpSpPr>
          <p:nvPr>
            <p:custDataLst>
              <p:tags r:id="rId3"/>
            </p:custDataLst>
          </p:nvPr>
        </p:nvGrpSpPr>
        <p:grpSpPr bwMode="auto">
          <a:xfrm>
            <a:off x="8458555" y="3051898"/>
            <a:ext cx="408370" cy="544912"/>
            <a:chOff x="63" y="9"/>
            <a:chExt cx="326" cy="435"/>
          </a:xfrm>
          <a:solidFill>
            <a:srgbClr val="1F497D"/>
          </a:solidFill>
        </p:grpSpPr>
        <p:sp>
          <p:nvSpPr>
            <p:cNvPr id="201" name="Clipboard3"/>
            <p:cNvSpPr>
              <a:spLocks noEditPoints="1"/>
            </p:cNvSpPr>
            <p:nvPr>
              <p:custDataLst>
                <p:tags r:id="rId4"/>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solidFill>
              <a:srgbClr val="1F497D"/>
            </a:solidFill>
            <a:ln w="0">
              <a:solidFill>
                <a:srgbClr val="1F497D"/>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202" name="Clipboard3"/>
            <p:cNvSpPr>
              <a:spLocks/>
            </p:cNvSpPr>
            <p:nvPr>
              <p:custDataLst>
                <p:tags r:id="rId5"/>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rgbClr val="1F497D"/>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203" name="Clipboard3"/>
            <p:cNvSpPr>
              <a:spLocks/>
            </p:cNvSpPr>
            <p:nvPr>
              <p:custDataLst>
                <p:tags r:id="rId6"/>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rgbClr val="1F497D"/>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204" name="Clipboard3"/>
            <p:cNvSpPr>
              <a:spLocks/>
            </p:cNvSpPr>
            <p:nvPr>
              <p:custDataLst>
                <p:tags r:id="rId7"/>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rgbClr val="1F497D"/>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sp>
        <p:nvSpPr>
          <p:cNvPr id="122" name="Dikdörtgen 121"/>
          <p:cNvSpPr/>
          <p:nvPr/>
        </p:nvSpPr>
        <p:spPr>
          <a:xfrm>
            <a:off x="2895770" y="778798"/>
            <a:ext cx="6081421" cy="46335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9" b="1" i="0" u="none" strike="noStrike" kern="1200" cap="none" spc="0" normalizeH="0" baseline="0" noProof="0" dirty="0">
                <a:ln>
                  <a:noFill/>
                </a:ln>
                <a:solidFill>
                  <a:srgbClr val="FFC000"/>
                </a:solidFill>
                <a:effectLst/>
                <a:uLnTx/>
                <a:uFillTx/>
                <a:latin typeface="Times New Roman" panose="02020603050405020304" pitchFamily="18" charset="0"/>
                <a:ea typeface="ヒラギノ角ゴ Pro W3" pitchFamily="1" charset="-128"/>
                <a:cs typeface="Times New Roman" panose="02020603050405020304" pitchFamily="18" charset="0"/>
              </a:rPr>
              <a:t>DESTEK PROGRAMI SÜRECİ</a:t>
            </a:r>
          </a:p>
        </p:txBody>
      </p:sp>
      <p:sp>
        <p:nvSpPr>
          <p:cNvPr id="120" name="Oval 119"/>
          <p:cNvSpPr>
            <a:spLocks noChangeAspect="1"/>
          </p:cNvSpPr>
          <p:nvPr/>
        </p:nvSpPr>
        <p:spPr>
          <a:xfrm>
            <a:off x="1502522" y="4713943"/>
            <a:ext cx="202978" cy="196320"/>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21" name="TextBox 164"/>
          <p:cNvSpPr txBox="1"/>
          <p:nvPr/>
        </p:nvSpPr>
        <p:spPr>
          <a:xfrm>
            <a:off x="439573" y="4482456"/>
            <a:ext cx="1024639" cy="710066"/>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Erken </a:t>
            </a:r>
          </a:p>
          <a:p>
            <a:pPr marL="0" marR="0" lvl="0" indent="0" algn="ctr" defTabSz="688311" rtl="0" eaLnBrk="1" fontAlgn="auto" latinLnBrk="0" hangingPunct="1">
              <a:lnSpc>
                <a:spcPct val="100000"/>
              </a:lnSpc>
              <a:spcBef>
                <a:spcPts val="0"/>
              </a:spcBef>
              <a:spcAft>
                <a:spcPts val="0"/>
              </a:spcAft>
              <a:buClrTx/>
              <a:buSzTx/>
              <a:buFontTx/>
              <a:buNone/>
              <a:tabLst/>
              <a:defRPr/>
            </a:pPr>
            <a:r>
              <a:rPr kumimoji="0" lang="en-US" sz="2007" b="1" i="0" u="none" strike="noStrike" kern="0" cap="none" spc="0" normalizeH="0" baseline="0" noProof="0" dirty="0" err="1">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Ödeme</a:t>
            </a:r>
            <a:r>
              <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 </a:t>
            </a:r>
          </a:p>
        </p:txBody>
      </p:sp>
      <p:sp>
        <p:nvSpPr>
          <p:cNvPr id="124" name="TextBox 165"/>
          <p:cNvSpPr txBox="1"/>
          <p:nvPr/>
        </p:nvSpPr>
        <p:spPr>
          <a:xfrm>
            <a:off x="4785" y="5281995"/>
            <a:ext cx="1828920" cy="1080809"/>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Geri ödemesiz destek tutarının yüzde %50’sine kadar</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pic>
        <p:nvPicPr>
          <p:cNvPr id="127" name="Picture 3"/>
          <p:cNvPicPr>
            <a:picLocks noChangeAspect="1" noChangeArrowheads="1"/>
          </p:cNvPicPr>
          <p:nvPr/>
        </p:nvPicPr>
        <p:blipFill>
          <a:blip r:embed="rId56" cstate="print"/>
          <a:srcRect/>
          <a:stretch>
            <a:fillRect/>
          </a:stretch>
        </p:blipFill>
        <p:spPr bwMode="auto">
          <a:xfrm>
            <a:off x="726797" y="176315"/>
            <a:ext cx="960106" cy="677217"/>
          </a:xfrm>
          <a:prstGeom prst="rect">
            <a:avLst/>
          </a:prstGeom>
          <a:noFill/>
          <a:ln w="9525">
            <a:noFill/>
            <a:miter lim="800000"/>
            <a:headEnd/>
            <a:tailEnd/>
          </a:ln>
        </p:spPr>
      </p:pic>
      <p:sp>
        <p:nvSpPr>
          <p:cNvPr id="123" name="4 Metin kutusu">
            <a:extLst>
              <a:ext uri="{FF2B5EF4-FFF2-40B4-BE49-F238E27FC236}">
                <a16:creationId xmlns:a16="http://schemas.microsoft.com/office/drawing/2014/main" id="{352E9597-2F82-465C-B341-B40B506E3D33}"/>
              </a:ext>
            </a:extLst>
          </p:cNvPr>
          <p:cNvSpPr txBox="1"/>
          <p:nvPr/>
        </p:nvSpPr>
        <p:spPr>
          <a:xfrm>
            <a:off x="2602023" y="270285"/>
            <a:ext cx="7844019"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Ar-G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Ür</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Ge v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İnovasyon</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 Destek Programı</a:t>
            </a:r>
          </a:p>
        </p:txBody>
      </p:sp>
      <p:sp>
        <p:nvSpPr>
          <p:cNvPr id="3" name="Slayt Numarası Yer Tutucusu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868692343"/>
      </p:ext>
    </p:extLst>
  </p:cSld>
  <p:clrMapOvr>
    <a:masterClrMapping/>
  </p:clrMapOvr>
  <mc:AlternateContent xmlns:mc="http://schemas.openxmlformats.org/markup-compatibility/2006" xmlns:p14="http://schemas.microsoft.com/office/powerpoint/2010/main">
    <mc:Choice Requires="p14">
      <p:transition p14:dur="0" advTm="257412"/>
    </mc:Choice>
    <mc:Fallback xmlns="">
      <p:transition advTm="257412"/>
    </mc:Fallback>
  </mc:AlternateContent>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3000" r="-27000"/>
          </a:stretch>
        </a:blipFill>
        <a:effectLst/>
      </p:bgPr>
    </p:bg>
    <p:spTree>
      <p:nvGrpSpPr>
        <p:cNvPr id="1" name=""/>
        <p:cNvGrpSpPr/>
        <p:nvPr/>
      </p:nvGrpSpPr>
      <p:grpSpPr>
        <a:xfrm>
          <a:off x="0" y="0"/>
          <a:ext cx="0" cy="0"/>
          <a:chOff x="0" y="0"/>
          <a:chExt cx="0" cy="0"/>
        </a:xfrm>
      </p:grpSpPr>
      <p:sp>
        <p:nvSpPr>
          <p:cNvPr id="15" name="5 Başlık"/>
          <p:cNvSpPr txBox="1">
            <a:spLocks/>
          </p:cNvSpPr>
          <p:nvPr/>
        </p:nvSpPr>
        <p:spPr>
          <a:xfrm>
            <a:off x="3485089" y="2962622"/>
            <a:ext cx="4697920" cy="2310435"/>
          </a:xfrm>
          <a:prstGeom prst="rect">
            <a:avLst/>
          </a:prstGeom>
        </p:spPr>
        <p:txBody>
          <a:bodyPr vert="horz" lIns="91751" tIns="45876" rIns="91751" bIns="45876" rtlCol="0" anchor="b">
            <a:noAutofit/>
          </a:bodyPr>
          <a:lstStyle/>
          <a:p>
            <a:pPr marL="0" marR="0" lvl="0" indent="0" algn="l" defTabSz="917783" rtl="0" eaLnBrk="1" fontAlgn="auto" latinLnBrk="0" hangingPunct="1">
              <a:lnSpc>
                <a:spcPct val="100000"/>
              </a:lnSpc>
              <a:spcBef>
                <a:spcPct val="0"/>
              </a:spcBef>
              <a:spcAft>
                <a:spcPts val="0"/>
              </a:spcAft>
              <a:buClrTx/>
              <a:buSzTx/>
              <a:buFontTx/>
              <a:buNone/>
              <a:tabLst/>
              <a:defRPr/>
            </a:pPr>
            <a:r>
              <a:rPr kumimoji="0" lang="tr-TR" sz="4015" b="1" i="0" u="none" strike="noStrike" kern="1200" cap="none" spc="0" normalizeH="0" baseline="0" noProof="0" dirty="0">
                <a:ln>
                  <a:noFill/>
                </a:ln>
                <a:solidFill>
                  <a:prstClr val="white"/>
                </a:solidFill>
                <a:effectLst/>
                <a:uLnTx/>
                <a:uFillTx/>
                <a:latin typeface="Calibri"/>
                <a:ea typeface="ヒラギノ角ゴ Pro W3" pitchFamily="1" charset="-128"/>
                <a:cs typeface="+mn-cs"/>
              </a:rPr>
              <a:t/>
            </a:r>
            <a:br>
              <a:rPr kumimoji="0" lang="tr-TR" sz="4015" b="1" i="0" u="none" strike="noStrike" kern="1200" cap="none" spc="0" normalizeH="0" baseline="0" noProof="0" dirty="0">
                <a:ln>
                  <a:noFill/>
                </a:ln>
                <a:solidFill>
                  <a:prstClr val="white"/>
                </a:solidFill>
                <a:effectLst/>
                <a:uLnTx/>
                <a:uFillTx/>
                <a:latin typeface="Calibri"/>
                <a:ea typeface="ヒラギノ角ゴ Pro W3" pitchFamily="1" charset="-128"/>
                <a:cs typeface="+mn-cs"/>
              </a:rPr>
            </a:br>
            <a:endParaRPr kumimoji="0" lang="tr-TR" sz="2409" b="1" i="0" u="none" strike="noStrike" kern="1200" cap="none" spc="0" normalizeH="0" baseline="0" noProof="0" dirty="0">
              <a:ln>
                <a:noFill/>
              </a:ln>
              <a:solidFill>
                <a:prstClr val="white"/>
              </a:solidFill>
              <a:effectLst/>
              <a:uLnTx/>
              <a:uFillTx/>
              <a:latin typeface="Calibri"/>
              <a:ea typeface="ヒラギノ角ゴ Pro W3" pitchFamily="1" charset="-128"/>
              <a:cs typeface="+mn-cs"/>
            </a:endParaRPr>
          </a:p>
        </p:txBody>
      </p:sp>
      <p:sp>
        <p:nvSpPr>
          <p:cNvPr id="3" name="Metin kutusu 2"/>
          <p:cNvSpPr txBox="1"/>
          <p:nvPr/>
        </p:nvSpPr>
        <p:spPr>
          <a:xfrm>
            <a:off x="2193113" y="2125742"/>
            <a:ext cx="3848777" cy="1328331"/>
          </a:xfrm>
          <a:prstGeom prst="rect">
            <a:avLst/>
          </a:prstGeom>
          <a:noFill/>
        </p:spPr>
        <p:txBody>
          <a:bodyPr wrap="square" lIns="91751" tIns="45876" rIns="91751" bIns="45876" rtlCol="0">
            <a:spAutoFit/>
          </a:bodyPr>
          <a:lstStyle/>
          <a:p>
            <a:pPr marL="0" marR="0" lvl="0" indent="0" algn="r" defTabSz="917783" rtl="0" eaLnBrk="1" fontAlgn="base" latinLnBrk="0" hangingPunct="1">
              <a:lnSpc>
                <a:spcPct val="100000"/>
              </a:lnSpc>
              <a:spcBef>
                <a:spcPct val="0"/>
              </a:spcBef>
              <a:spcAft>
                <a:spcPct val="0"/>
              </a:spcAft>
              <a:buClrTx/>
              <a:buSzTx/>
              <a:buFontTx/>
              <a:buNone/>
              <a:tabLst/>
              <a:defRPr/>
            </a:pPr>
            <a:r>
              <a:rPr kumimoji="0" lang="tr-TR" sz="803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 </a:t>
            </a:r>
          </a:p>
        </p:txBody>
      </p:sp>
      <p:sp>
        <p:nvSpPr>
          <p:cNvPr id="4" name="Metin kutusu 3"/>
          <p:cNvSpPr txBox="1"/>
          <p:nvPr/>
        </p:nvSpPr>
        <p:spPr>
          <a:xfrm>
            <a:off x="2084700" y="3104647"/>
            <a:ext cx="8239428" cy="648706"/>
          </a:xfrm>
          <a:prstGeom prst="rect">
            <a:avLst/>
          </a:prstGeom>
          <a:noFill/>
        </p:spPr>
        <p:txBody>
          <a:bodyPr wrap="square" lIns="91751" tIns="45876" rIns="91751" bIns="45876" rtlCol="0">
            <a:spAutoFit/>
          </a:bodyPr>
          <a:lstStyle/>
          <a:p>
            <a:pPr marL="0" marR="0" lvl="0" indent="0" algn="ctr" defTabSz="917783" rtl="0" eaLnBrk="1" fontAlgn="base" latinLnBrk="0" hangingPunct="1">
              <a:lnSpc>
                <a:spcPct val="100000"/>
              </a:lnSpc>
              <a:spcBef>
                <a:spcPct val="0"/>
              </a:spcBef>
              <a:spcAft>
                <a:spcPct val="0"/>
              </a:spcAft>
              <a:buClrTx/>
              <a:buSzTx/>
              <a:buFontTx/>
              <a:buNone/>
              <a:tabLst/>
              <a:defRPr/>
            </a:pPr>
            <a:endParaRPr kumimoji="0" lang="tr-TR" sz="3613"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endParaRPr>
          </a:p>
        </p:txBody>
      </p:sp>
      <p:sp>
        <p:nvSpPr>
          <p:cNvPr id="5" name="Slayt Numarası Yer Tutucusu 4"/>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a:ln>
                  <a:noFill/>
                </a:ln>
                <a:solidFill>
                  <a:prstClr val="black">
                    <a:tint val="75000"/>
                  </a:prstClr>
                </a:solidFill>
                <a:effectLst/>
                <a:uLnTx/>
                <a:uFillTx/>
                <a:latin typeface="Calibri" pitchFamily="34" charset="0"/>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120</a:t>
            </a:fld>
            <a:endParaRPr kumimoji="0" lang="en-CA" sz="1204" b="0" i="0" u="none" strike="noStrike" kern="1200" cap="none" spc="0" normalizeH="0" baseline="0" noProof="0" dirty="0">
              <a:ln>
                <a:noFill/>
              </a:ln>
              <a:solidFill>
                <a:prstClr val="black">
                  <a:tint val="75000"/>
                </a:prstClr>
              </a:solidFill>
              <a:effectLst/>
              <a:uLnTx/>
              <a:uFillTx/>
              <a:latin typeface="Calibri" pitchFamily="34" charset="0"/>
              <a:ea typeface="ヒラギノ角ゴ Pro W3" pitchFamily="1" charset="-128"/>
              <a:cs typeface="+mn-cs"/>
            </a:endParaRPr>
          </a:p>
        </p:txBody>
      </p:sp>
      <p:sp>
        <p:nvSpPr>
          <p:cNvPr id="6" name="Metin kutusu 5"/>
          <p:cNvSpPr txBox="1"/>
          <p:nvPr/>
        </p:nvSpPr>
        <p:spPr>
          <a:xfrm>
            <a:off x="1759459" y="3125645"/>
            <a:ext cx="8745358" cy="926407"/>
          </a:xfrm>
          <a:prstGeom prst="rect">
            <a:avLst/>
          </a:prstGeom>
          <a:noFill/>
        </p:spPr>
        <p:txBody>
          <a:bodyPr wrap="square" rtlCol="0">
            <a:spAutoFit/>
          </a:bodyPr>
          <a:lstStyle/>
          <a:p>
            <a:pPr marL="0" marR="0" lvl="0" indent="0" algn="ctr" defTabSz="917783" rtl="0" eaLnBrk="1" fontAlgn="base" latinLnBrk="0" hangingPunct="1">
              <a:lnSpc>
                <a:spcPct val="100000"/>
              </a:lnSpc>
              <a:spcBef>
                <a:spcPct val="0"/>
              </a:spcBef>
              <a:spcAft>
                <a:spcPct val="0"/>
              </a:spcAft>
              <a:buClrTx/>
              <a:buSzTx/>
              <a:buFontTx/>
              <a:buNone/>
              <a:tabLst/>
              <a:defRPr/>
            </a:pPr>
            <a:r>
              <a:rPr kumimoji="0" lang="tr-TR" sz="5420" b="1" i="0" u="none" strike="noStrike" kern="1200" cap="none" spc="0" normalizeH="0" baseline="0" noProof="0" dirty="0" smtClean="0">
                <a:ln>
                  <a:noFill/>
                </a:ln>
                <a:solidFill>
                  <a:prstClr val="white"/>
                </a:solidFill>
                <a:effectLst/>
                <a:uLnTx/>
                <a:uFillTx/>
                <a:latin typeface="Calibri" pitchFamily="34" charset="0"/>
                <a:ea typeface="ヒラギノ角ゴ Pro W3" pitchFamily="1" charset="-128"/>
                <a:cs typeface="+mn-cs"/>
              </a:rPr>
              <a:t>TEŞEKKÜRLER</a:t>
            </a:r>
            <a:endParaRPr kumimoji="0" lang="tr-TR" sz="5420" b="1" i="0" u="none" strike="noStrike" kern="1200" cap="none" spc="0" normalizeH="0" baseline="0" noProof="0" dirty="0">
              <a:ln>
                <a:noFill/>
              </a:ln>
              <a:solidFill>
                <a:prstClr val="white"/>
              </a:solidFill>
              <a:effectLst/>
              <a:uLnTx/>
              <a:uFillTx/>
              <a:latin typeface="Calibri" pitchFamily="34" charset="0"/>
              <a:ea typeface="ヒラギノ角ゴ Pro W3" pitchFamily="1" charset="-128"/>
              <a:cs typeface="+mn-cs"/>
            </a:endParaRPr>
          </a:p>
        </p:txBody>
      </p:sp>
      <p:pic>
        <p:nvPicPr>
          <p:cNvPr id="7" name="Resim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106" y="948147"/>
            <a:ext cx="1653007" cy="1070519"/>
          </a:xfrm>
          <a:prstGeom prst="rect">
            <a:avLst/>
          </a:prstGeom>
        </p:spPr>
      </p:pic>
    </p:spTree>
    <p:extLst>
      <p:ext uri="{BB962C8B-B14F-4D97-AF65-F5344CB8AC3E}">
        <p14:creationId xmlns:p14="http://schemas.microsoft.com/office/powerpoint/2010/main" val="25346424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Dikdörtgen 5"/>
          <p:cNvSpPr/>
          <p:nvPr/>
        </p:nvSpPr>
        <p:spPr>
          <a:xfrm>
            <a:off x="243355" y="936816"/>
            <a:ext cx="7118027" cy="46307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r-TR" sz="2409" b="1" i="0" u="none" strike="noStrike" kern="1200" cap="none" spc="0" normalizeH="0" baseline="0" noProof="0" dirty="0" smtClean="0">
                <a:ln>
                  <a:noFill/>
                </a:ln>
                <a:solidFill>
                  <a:srgbClr val="FFC000"/>
                </a:solidFill>
                <a:effectLst/>
                <a:uLnTx/>
                <a:uFillTx/>
                <a:latin typeface="Times New Roman" panose="02020603050405020304" pitchFamily="18" charset="0"/>
                <a:ea typeface="ヒラギノ角ゴ Pro W3" pitchFamily="1" charset="-128"/>
                <a:cs typeface="Times New Roman" panose="02020603050405020304" pitchFamily="18" charset="0"/>
              </a:rPr>
              <a:t>ÇAĞRI ESASLI</a:t>
            </a:r>
            <a:r>
              <a:rPr kumimoji="0" lang="tr-TR" sz="2409" b="1" i="0" u="none" strike="noStrike" kern="1200" cap="none" spc="0" normalizeH="0" noProof="0" dirty="0" smtClean="0">
                <a:ln>
                  <a:noFill/>
                </a:ln>
                <a:solidFill>
                  <a:srgbClr val="FFC000"/>
                </a:solidFill>
                <a:effectLst/>
                <a:uLnTx/>
                <a:uFillTx/>
                <a:latin typeface="Times New Roman" panose="02020603050405020304" pitchFamily="18" charset="0"/>
                <a:ea typeface="ヒラギノ角ゴ Pro W3" pitchFamily="1" charset="-128"/>
                <a:cs typeface="Times New Roman" panose="02020603050405020304" pitchFamily="18" charset="0"/>
              </a:rPr>
              <a:t> UYGULAMA </a:t>
            </a:r>
            <a:endParaRPr kumimoji="0" lang="tr-TR" sz="2409" b="1" i="0" u="none" strike="noStrike" kern="1200" cap="none" spc="0" normalizeH="0" baseline="0" noProof="0" dirty="0">
              <a:ln>
                <a:noFill/>
              </a:ln>
              <a:solidFill>
                <a:srgbClr val="FFC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pic>
        <p:nvPicPr>
          <p:cNvPr id="9" name="Picture 3"/>
          <p:cNvPicPr>
            <a:picLocks noChangeAspect="1" noChangeArrowheads="1"/>
          </p:cNvPicPr>
          <p:nvPr/>
        </p:nvPicPr>
        <p:blipFill>
          <a:blip r:embed="rId2" cstate="print"/>
          <a:srcRect/>
          <a:stretch>
            <a:fillRect/>
          </a:stretch>
        </p:blipFill>
        <p:spPr bwMode="auto">
          <a:xfrm>
            <a:off x="10938190" y="332996"/>
            <a:ext cx="960106" cy="677217"/>
          </a:xfrm>
          <a:prstGeom prst="rect">
            <a:avLst/>
          </a:prstGeom>
          <a:noFill/>
          <a:ln w="9525">
            <a:noFill/>
            <a:miter lim="800000"/>
            <a:headEnd/>
            <a:tailEnd/>
          </a:ln>
        </p:spPr>
      </p:pic>
      <p:sp>
        <p:nvSpPr>
          <p:cNvPr id="10" name="4 Metin kutusu">
            <a:extLst>
              <a:ext uri="{FF2B5EF4-FFF2-40B4-BE49-F238E27FC236}">
                <a16:creationId xmlns:a16="http://schemas.microsoft.com/office/drawing/2014/main" id="{0F5DDB26-F8EF-4635-9715-6609DA33135B}"/>
              </a:ext>
            </a:extLst>
          </p:cNvPr>
          <p:cNvSpPr txBox="1"/>
          <p:nvPr/>
        </p:nvSpPr>
        <p:spPr>
          <a:xfrm>
            <a:off x="242010" y="348225"/>
            <a:ext cx="10849205"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Ar-G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Ür</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Ge v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İnovasyon</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 Destek Programı</a:t>
            </a:r>
          </a:p>
        </p:txBody>
      </p:sp>
      <p:sp>
        <p:nvSpPr>
          <p:cNvPr id="8" name="Metin kutusu 7"/>
          <p:cNvSpPr txBox="1"/>
          <p:nvPr/>
        </p:nvSpPr>
        <p:spPr>
          <a:xfrm>
            <a:off x="242010" y="1676044"/>
            <a:ext cx="11068156" cy="4524315"/>
          </a:xfrm>
          <a:prstGeom prst="rect">
            <a:avLst/>
          </a:prstGeom>
          <a:noFill/>
        </p:spPr>
        <p:txBody>
          <a:bodyPr wrap="square" rtlCol="0">
            <a:spAutoFit/>
          </a:bodyPr>
          <a:lstStyle/>
          <a:p>
            <a:pPr marL="800100" marR="0" lvl="1"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4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Çağrı Amacı </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tr-TR" sz="24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İmalat </a:t>
            </a:r>
            <a:r>
              <a:rPr kumimoji="0" lang="tr-T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anayii sektörlerinde teknoloji, yenilik, ürün kalitesi ve verimlilik artışı sağlanması, endüstriyel kapasitenin dönüştürülerek daha rekabetçi hale getirilmesi ve yüksek katma değerli üretimin artırılması amacıyla öncelikle orta yüksek ve yüksek teknoloji düzeyinde faaliyet gösteren işletmelerin öncelikli sektörlerde, güçlü bir Ar-Ge ve yenilik yaklaşımı uygulamaya konularak kritik teknolojilere </a:t>
            </a:r>
            <a:r>
              <a:rPr kumimoji="0" lang="tr-TR" sz="24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yoğunlaşılarak</a:t>
            </a:r>
            <a:r>
              <a:rPr kumimoji="0" lang="tr-T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daha nitelikli bir şekilde desteklenmesini sağlamaktır.</a:t>
            </a:r>
          </a:p>
          <a:p>
            <a:pPr marL="800100" marR="0" lvl="1"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tr-TR"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800100" marR="0" lvl="1"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400" b="1" i="0" u="none" strike="noStrike" kern="1200" cap="none" spc="0" normalizeH="0" baseline="0" noProof="0" dirty="0" smtClean="0">
                <a:ln>
                  <a:noFill/>
                </a:ln>
                <a:solidFill>
                  <a:schemeClr val="accent2"/>
                </a:solidFill>
                <a:effectLst/>
                <a:uLnTx/>
                <a:uFillTx/>
                <a:latin typeface="Times New Roman" panose="02020603050405020304" pitchFamily="18" charset="0"/>
                <a:ea typeface="+mn-ea"/>
                <a:cs typeface="Times New Roman" panose="02020603050405020304" pitchFamily="18" charset="0"/>
              </a:rPr>
              <a:t>Başvuru Tarihleri </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smtClean="0">
                <a:ln>
                  <a:noFill/>
                </a:ln>
                <a:solidFill>
                  <a:schemeClr val="accent2"/>
                </a:solidFill>
                <a:effectLst/>
                <a:uLnTx/>
                <a:uFillTx/>
                <a:latin typeface="Times New Roman" panose="02020603050405020304" pitchFamily="18" charset="0"/>
                <a:ea typeface="+mn-ea"/>
                <a:cs typeface="Times New Roman" panose="02020603050405020304" pitchFamily="18" charset="0"/>
              </a:rPr>
              <a:t>25 </a:t>
            </a:r>
            <a:r>
              <a:rPr kumimoji="0" lang="tr-TR" sz="2400" b="1" i="0" u="none" strike="noStrike" kern="1200" cap="none" spc="0" normalizeH="0" baseline="0" noProof="0" dirty="0">
                <a:ln>
                  <a:noFill/>
                </a:ln>
                <a:solidFill>
                  <a:schemeClr val="accent2"/>
                </a:solidFill>
                <a:effectLst/>
                <a:uLnTx/>
                <a:uFillTx/>
                <a:latin typeface="Times New Roman" panose="02020603050405020304" pitchFamily="18" charset="0"/>
                <a:ea typeface="+mn-ea"/>
                <a:cs typeface="Times New Roman" panose="02020603050405020304" pitchFamily="18" charset="0"/>
              </a:rPr>
              <a:t>Mart– 18 Mayıs 2021 (</a:t>
            </a:r>
            <a:r>
              <a:rPr kumimoji="0" lang="tr-TR" sz="2400" b="1" i="0" u="none" strike="noStrike" kern="1200" cap="none" spc="0" normalizeH="0" baseline="0" noProof="0" dirty="0" smtClean="0">
                <a:ln>
                  <a:noFill/>
                </a:ln>
                <a:solidFill>
                  <a:schemeClr val="accent2"/>
                </a:solidFill>
                <a:effectLst/>
                <a:uLnTx/>
                <a:uFillTx/>
                <a:latin typeface="Times New Roman" panose="02020603050405020304" pitchFamily="18" charset="0"/>
                <a:ea typeface="+mn-ea"/>
                <a:cs typeface="Times New Roman" panose="02020603050405020304" pitchFamily="18" charset="0"/>
              </a:rPr>
              <a:t>55 </a:t>
            </a:r>
            <a:r>
              <a:rPr kumimoji="0" lang="tr-TR" sz="2400" b="1" i="0" u="none" strike="noStrike" kern="1200" cap="none" spc="0" normalizeH="0" baseline="0" noProof="0" dirty="0">
                <a:ln>
                  <a:noFill/>
                </a:ln>
                <a:solidFill>
                  <a:schemeClr val="accent2"/>
                </a:solidFill>
                <a:effectLst/>
                <a:uLnTx/>
                <a:uFillTx/>
                <a:latin typeface="Times New Roman" panose="02020603050405020304" pitchFamily="18" charset="0"/>
                <a:ea typeface="+mn-ea"/>
                <a:cs typeface="Times New Roman" panose="02020603050405020304" pitchFamily="18" charset="0"/>
              </a:rPr>
              <a:t>gün)</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a:ln>
                  <a:noFill/>
                </a:ln>
                <a:solidFill>
                  <a:schemeClr val="accent2"/>
                </a:solidFill>
                <a:effectLst/>
                <a:uLnTx/>
                <a:uFillTx/>
                <a:latin typeface="Times New Roman" panose="02020603050405020304" pitchFamily="18" charset="0"/>
                <a:ea typeface="+mn-ea"/>
                <a:cs typeface="Times New Roman" panose="02020603050405020304" pitchFamily="18" charset="0"/>
              </a:rPr>
              <a:t>20 Mayıs – 24 Mayıs 2021 (Mazeretli Başvuru Onaylama Tarihleri – 5 Gün)</a:t>
            </a:r>
          </a:p>
          <a:p>
            <a:pPr marL="914400" marR="0" lvl="2" indent="0" algn="just" defTabSz="914400" rtl="0" eaLnBrk="1" fontAlgn="auto" latinLnBrk="0" hangingPunct="1">
              <a:lnSpc>
                <a:spcPct val="100000"/>
              </a:lnSpc>
              <a:spcBef>
                <a:spcPts val="0"/>
              </a:spcBef>
              <a:spcAft>
                <a:spcPts val="0"/>
              </a:spcAft>
              <a:buClrTx/>
              <a:buSzTx/>
              <a:buFontTx/>
              <a:buNone/>
              <a:tabLst/>
              <a:defRPr/>
            </a:pPr>
            <a:endParaRPr kumimoji="0" lang="tr-T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21703842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Dikdörtgen 5"/>
          <p:cNvSpPr/>
          <p:nvPr/>
        </p:nvSpPr>
        <p:spPr>
          <a:xfrm>
            <a:off x="243355" y="936816"/>
            <a:ext cx="11654941" cy="4170501"/>
          </a:xfrm>
          <a:prstGeom prst="rect">
            <a:avLst/>
          </a:prstGeom>
        </p:spPr>
        <p:txBody>
          <a:bodyPr wrap="square">
            <a:spAutoFit/>
          </a:bodyPr>
          <a:lstStyle/>
          <a:p>
            <a:pPr lvl="0" fontAlgn="base">
              <a:spcBef>
                <a:spcPct val="0"/>
              </a:spcBef>
              <a:spcAft>
                <a:spcPct val="0"/>
              </a:spcAft>
              <a:defRPr/>
            </a:pPr>
            <a:r>
              <a:rPr lang="tr-TR" sz="2409" b="1" dirty="0">
                <a:latin typeface="Times New Roman" panose="02020603050405020304" pitchFamily="18" charset="0"/>
                <a:ea typeface="ヒラギノ角ゴ Pro W3" pitchFamily="1" charset="-128"/>
                <a:cs typeface="Times New Roman" panose="02020603050405020304" pitchFamily="18" charset="0"/>
              </a:rPr>
              <a:t>Birinci Sektör ve Konular:  </a:t>
            </a:r>
            <a:endParaRPr lang="tr-TR" sz="2409" b="1" dirty="0" smtClean="0">
              <a:latin typeface="Times New Roman" panose="02020603050405020304" pitchFamily="18" charset="0"/>
              <a:ea typeface="ヒラギノ角ゴ Pro W3" pitchFamily="1" charset="-128"/>
              <a:cs typeface="Times New Roman" panose="02020603050405020304" pitchFamily="18" charset="0"/>
            </a:endParaRPr>
          </a:p>
          <a:p>
            <a:pPr lvl="0" fontAlgn="base">
              <a:spcBef>
                <a:spcPct val="0"/>
              </a:spcBef>
              <a:spcAft>
                <a:spcPct val="0"/>
              </a:spcAft>
              <a:defRPr/>
            </a:pPr>
            <a:r>
              <a:rPr lang="tr-TR" sz="2409" b="1" dirty="0" smtClean="0">
                <a:latin typeface="Times New Roman" panose="02020603050405020304" pitchFamily="18" charset="0"/>
                <a:ea typeface="ヒラギノ角ゴ Pro W3" pitchFamily="1" charset="-128"/>
                <a:cs typeface="Times New Roman" panose="02020603050405020304" pitchFamily="18" charset="0"/>
              </a:rPr>
              <a:t>Sektörler</a:t>
            </a:r>
            <a:r>
              <a:rPr lang="tr-TR" sz="2409" b="1" dirty="0">
                <a:latin typeface="Times New Roman" panose="02020603050405020304" pitchFamily="18" charset="0"/>
                <a:ea typeface="ヒラギノ角ゴ Pro W3" pitchFamily="1" charset="-128"/>
                <a:cs typeface="Times New Roman" panose="02020603050405020304" pitchFamily="18" charset="0"/>
              </a:rPr>
              <a:t>: </a:t>
            </a:r>
            <a:endParaRPr lang="tr-TR" sz="2409" b="1" dirty="0" smtClean="0">
              <a:latin typeface="Times New Roman" panose="02020603050405020304" pitchFamily="18" charset="0"/>
              <a:ea typeface="ヒラギノ角ゴ Pro W3" pitchFamily="1" charset="-128"/>
              <a:cs typeface="Times New Roman" panose="02020603050405020304" pitchFamily="18" charset="0"/>
            </a:endParaRPr>
          </a:p>
          <a:p>
            <a:pPr lvl="0" fontAlgn="base">
              <a:spcBef>
                <a:spcPct val="0"/>
              </a:spcBef>
              <a:spcAft>
                <a:spcPct val="0"/>
              </a:spcAft>
              <a:defRPr/>
            </a:pPr>
            <a:r>
              <a:rPr lang="tr-TR" sz="2409" b="1" dirty="0" smtClean="0">
                <a:latin typeface="Times New Roman" panose="02020603050405020304" pitchFamily="18" charset="0"/>
                <a:ea typeface="ヒラギノ角ゴ Pro W3" pitchFamily="1" charset="-128"/>
                <a:cs typeface="Times New Roman" panose="02020603050405020304" pitchFamily="18" charset="0"/>
              </a:rPr>
              <a:t> </a:t>
            </a:r>
            <a:r>
              <a:rPr lang="tr-TR" sz="2409" dirty="0">
                <a:latin typeface="Times New Roman" panose="02020603050405020304" pitchFamily="18" charset="0"/>
                <a:ea typeface="ヒラギノ角ゴ Pro W3" pitchFamily="1" charset="-128"/>
                <a:cs typeface="Times New Roman" panose="02020603050405020304" pitchFamily="18" charset="0"/>
              </a:rPr>
              <a:t>29.1 Motorlu kara taşıtlarının imalatı   </a:t>
            </a:r>
            <a:endParaRPr lang="tr-TR" sz="2409" dirty="0" smtClean="0">
              <a:latin typeface="Times New Roman" panose="02020603050405020304" pitchFamily="18" charset="0"/>
              <a:ea typeface="ヒラギノ角ゴ Pro W3" pitchFamily="1" charset="-128"/>
              <a:cs typeface="Times New Roman" panose="02020603050405020304" pitchFamily="18" charset="0"/>
            </a:endParaRPr>
          </a:p>
          <a:p>
            <a:pPr lvl="0" fontAlgn="base">
              <a:spcBef>
                <a:spcPct val="0"/>
              </a:spcBef>
              <a:spcAft>
                <a:spcPct val="0"/>
              </a:spcAft>
              <a:defRPr/>
            </a:pPr>
            <a:r>
              <a:rPr lang="tr-TR" sz="2409" dirty="0" smtClean="0">
                <a:latin typeface="Times New Roman" panose="02020603050405020304" pitchFamily="18" charset="0"/>
                <a:ea typeface="ヒラギノ角ゴ Pro W3" pitchFamily="1" charset="-128"/>
                <a:cs typeface="Times New Roman" panose="02020603050405020304" pitchFamily="18" charset="0"/>
              </a:rPr>
              <a:t> </a:t>
            </a:r>
            <a:r>
              <a:rPr lang="tr-TR" sz="2409" dirty="0">
                <a:latin typeface="Times New Roman" panose="02020603050405020304" pitchFamily="18" charset="0"/>
                <a:ea typeface="ヒラギノ角ゴ Pro W3" pitchFamily="1" charset="-128"/>
                <a:cs typeface="Times New Roman" panose="02020603050405020304" pitchFamily="18" charset="0"/>
              </a:rPr>
              <a:t>29.3 Motorlu kara taşıtları için parça ve aksesuar </a:t>
            </a:r>
            <a:r>
              <a:rPr lang="tr-TR" sz="2409" dirty="0" smtClean="0">
                <a:latin typeface="Times New Roman" panose="02020603050405020304" pitchFamily="18" charset="0"/>
                <a:ea typeface="ヒラギノ角ゴ Pro W3" pitchFamily="1" charset="-128"/>
                <a:cs typeface="Times New Roman" panose="02020603050405020304" pitchFamily="18" charset="0"/>
              </a:rPr>
              <a:t>imalatı</a:t>
            </a:r>
          </a:p>
          <a:p>
            <a:pPr lvl="0" fontAlgn="base">
              <a:spcBef>
                <a:spcPct val="0"/>
              </a:spcBef>
              <a:spcAft>
                <a:spcPct val="0"/>
              </a:spcAft>
              <a:defRPr/>
            </a:pPr>
            <a:r>
              <a:rPr lang="tr-TR" sz="2409" dirty="0" smtClean="0">
                <a:latin typeface="Times New Roman" panose="02020603050405020304" pitchFamily="18" charset="0"/>
                <a:ea typeface="ヒラギノ角ゴ Pro W3" pitchFamily="1" charset="-128"/>
                <a:cs typeface="Times New Roman" panose="02020603050405020304" pitchFamily="18" charset="0"/>
              </a:rPr>
              <a:t> </a:t>
            </a:r>
            <a:r>
              <a:rPr lang="tr-TR" sz="2409" dirty="0">
                <a:latin typeface="Times New Roman" panose="02020603050405020304" pitchFamily="18" charset="0"/>
                <a:ea typeface="ヒラギノ角ゴ Pro W3" pitchFamily="1" charset="-128"/>
                <a:cs typeface="Times New Roman" panose="02020603050405020304" pitchFamily="18" charset="0"/>
              </a:rPr>
              <a:t>27.2 Akümülatör ve pil imalatı faaliyet gösteren işletmeler </a:t>
            </a:r>
          </a:p>
          <a:p>
            <a:pPr lvl="0" fontAlgn="base">
              <a:spcBef>
                <a:spcPct val="0"/>
              </a:spcBef>
              <a:spcAft>
                <a:spcPct val="0"/>
              </a:spcAft>
              <a:defRPr/>
            </a:pPr>
            <a:r>
              <a:rPr lang="tr-TR" sz="2409" b="1" dirty="0">
                <a:latin typeface="Times New Roman" panose="02020603050405020304" pitchFamily="18" charset="0"/>
                <a:ea typeface="ヒラギノ角ゴ Pro W3" pitchFamily="1" charset="-128"/>
                <a:cs typeface="Times New Roman" panose="02020603050405020304" pitchFamily="18" charset="0"/>
              </a:rPr>
              <a:t>                                                                                                 </a:t>
            </a:r>
            <a:r>
              <a:rPr lang="tr-TR" sz="2409" b="1" dirty="0" smtClean="0">
                <a:latin typeface="Times New Roman" panose="02020603050405020304" pitchFamily="18" charset="0"/>
                <a:ea typeface="ヒラギノ角ゴ Pro W3" pitchFamily="1" charset="-128"/>
                <a:cs typeface="Times New Roman" panose="02020603050405020304" pitchFamily="18" charset="0"/>
              </a:rPr>
              <a:t>                                                                                                              </a:t>
            </a:r>
            <a:endParaRPr lang="tr-TR" sz="2409" b="1" dirty="0">
              <a:latin typeface="Times New Roman" panose="02020603050405020304" pitchFamily="18" charset="0"/>
              <a:ea typeface="ヒラギノ角ゴ Pro W3" pitchFamily="1" charset="-128"/>
              <a:cs typeface="Times New Roman" panose="02020603050405020304" pitchFamily="18" charset="0"/>
            </a:endParaRPr>
          </a:p>
          <a:p>
            <a:pPr lvl="0" fontAlgn="base">
              <a:spcBef>
                <a:spcPct val="0"/>
              </a:spcBef>
              <a:spcAft>
                <a:spcPct val="0"/>
              </a:spcAft>
              <a:defRPr/>
            </a:pPr>
            <a:r>
              <a:rPr lang="tr-TR" sz="2409" b="1" dirty="0">
                <a:latin typeface="Times New Roman" panose="02020603050405020304" pitchFamily="18" charset="0"/>
                <a:ea typeface="ヒラギノ角ゴ Pro W3" pitchFamily="1" charset="-128"/>
                <a:cs typeface="Times New Roman" panose="02020603050405020304" pitchFamily="18" charset="0"/>
              </a:rPr>
              <a:t> Uygun Proje Konuları:  </a:t>
            </a:r>
            <a:r>
              <a:rPr lang="tr-TR" sz="2409" dirty="0">
                <a:latin typeface="Times New Roman" panose="02020603050405020304" pitchFamily="18" charset="0"/>
                <a:ea typeface="ヒラギノ角ゴ Pro W3" pitchFamily="1" charset="-128"/>
                <a:cs typeface="Times New Roman" panose="02020603050405020304" pitchFamily="18" charset="0"/>
              </a:rPr>
              <a:t>Otomotiv sektöründe kullanılmak üzere</a:t>
            </a:r>
            <a:r>
              <a:rPr lang="tr-TR" sz="2409" dirty="0" smtClean="0">
                <a:latin typeface="Times New Roman" panose="02020603050405020304" pitchFamily="18" charset="0"/>
                <a:ea typeface="ヒラギノ角ゴ Pro W3" pitchFamily="1" charset="-128"/>
                <a:cs typeface="Times New Roman" panose="02020603050405020304" pitchFamily="18" charset="0"/>
              </a:rPr>
              <a:t>;</a:t>
            </a:r>
          </a:p>
          <a:p>
            <a:pPr lvl="0" fontAlgn="base">
              <a:spcBef>
                <a:spcPct val="0"/>
              </a:spcBef>
              <a:spcAft>
                <a:spcPct val="0"/>
              </a:spcAft>
              <a:defRPr/>
            </a:pPr>
            <a:r>
              <a:rPr lang="tr-TR" sz="2409" dirty="0" smtClean="0">
                <a:latin typeface="Times New Roman" panose="02020603050405020304" pitchFamily="18" charset="0"/>
                <a:ea typeface="ヒラギノ角ゴ Pro W3" pitchFamily="1" charset="-128"/>
                <a:cs typeface="Times New Roman" panose="02020603050405020304" pitchFamily="18" charset="0"/>
              </a:rPr>
              <a:t> </a:t>
            </a:r>
            <a:r>
              <a:rPr lang="tr-TR" sz="2409" dirty="0">
                <a:latin typeface="Times New Roman" panose="02020603050405020304" pitchFamily="18" charset="0"/>
                <a:ea typeface="ヒラギノ角ゴ Pro W3" pitchFamily="1" charset="-128"/>
                <a:cs typeface="Times New Roman" panose="02020603050405020304" pitchFamily="18" charset="0"/>
              </a:rPr>
              <a:t>1. Elektrikli ve/veya hidrojen ile çalışan motorlu kara taşıtları </a:t>
            </a:r>
            <a:endParaRPr lang="tr-TR" sz="2409" dirty="0" smtClean="0">
              <a:latin typeface="Times New Roman" panose="02020603050405020304" pitchFamily="18" charset="0"/>
              <a:ea typeface="ヒラギノ角ゴ Pro W3" pitchFamily="1" charset="-128"/>
              <a:cs typeface="Times New Roman" panose="02020603050405020304" pitchFamily="18" charset="0"/>
            </a:endParaRPr>
          </a:p>
          <a:p>
            <a:pPr lvl="0" fontAlgn="base">
              <a:spcBef>
                <a:spcPct val="0"/>
              </a:spcBef>
              <a:spcAft>
                <a:spcPct val="0"/>
              </a:spcAft>
              <a:defRPr/>
            </a:pPr>
            <a:r>
              <a:rPr lang="tr-TR" sz="2409" dirty="0" smtClean="0">
                <a:latin typeface="Times New Roman" panose="02020603050405020304" pitchFamily="18" charset="0"/>
                <a:ea typeface="ヒラギノ角ゴ Pro W3" pitchFamily="1" charset="-128"/>
                <a:cs typeface="Times New Roman" panose="02020603050405020304" pitchFamily="18" charset="0"/>
              </a:rPr>
              <a:t>2</a:t>
            </a:r>
            <a:r>
              <a:rPr lang="tr-TR" sz="2409" dirty="0">
                <a:latin typeface="Times New Roman" panose="02020603050405020304" pitchFamily="18" charset="0"/>
                <a:ea typeface="ヒラギノ角ゴ Pro W3" pitchFamily="1" charset="-128"/>
                <a:cs typeface="Times New Roman" panose="02020603050405020304" pitchFamily="18" charset="0"/>
              </a:rPr>
              <a:t>. Pil (batarya) teknolojisi </a:t>
            </a:r>
            <a:endParaRPr lang="tr-TR" sz="2409" dirty="0" smtClean="0">
              <a:latin typeface="Times New Roman" panose="02020603050405020304" pitchFamily="18" charset="0"/>
              <a:ea typeface="ヒラギノ角ゴ Pro W3" pitchFamily="1" charset="-128"/>
              <a:cs typeface="Times New Roman" panose="02020603050405020304" pitchFamily="18" charset="0"/>
            </a:endParaRPr>
          </a:p>
          <a:p>
            <a:pPr lvl="0" fontAlgn="base">
              <a:spcBef>
                <a:spcPct val="0"/>
              </a:spcBef>
              <a:spcAft>
                <a:spcPct val="0"/>
              </a:spcAft>
              <a:defRPr/>
            </a:pPr>
            <a:r>
              <a:rPr lang="tr-TR" sz="2409" dirty="0" smtClean="0">
                <a:latin typeface="Times New Roman" panose="02020603050405020304" pitchFamily="18" charset="0"/>
                <a:ea typeface="ヒラギノ角ゴ Pro W3" pitchFamily="1" charset="-128"/>
                <a:cs typeface="Times New Roman" panose="02020603050405020304" pitchFamily="18" charset="0"/>
              </a:rPr>
              <a:t>3</a:t>
            </a:r>
            <a:r>
              <a:rPr lang="tr-TR" sz="2409" dirty="0">
                <a:latin typeface="Times New Roman" panose="02020603050405020304" pitchFamily="18" charset="0"/>
                <a:ea typeface="ヒラギノ角ゴ Pro W3" pitchFamily="1" charset="-128"/>
                <a:cs typeface="Times New Roman" panose="02020603050405020304" pitchFamily="18" charset="0"/>
              </a:rPr>
              <a:t>. Yakıt hücresi </a:t>
            </a:r>
            <a:r>
              <a:rPr lang="tr-TR" sz="2409" dirty="0" smtClean="0">
                <a:latin typeface="Times New Roman" panose="02020603050405020304" pitchFamily="18" charset="0"/>
                <a:ea typeface="ヒラギノ角ゴ Pro W3" pitchFamily="1" charset="-128"/>
                <a:cs typeface="Times New Roman" panose="02020603050405020304" pitchFamily="18" charset="0"/>
              </a:rPr>
              <a:t>               </a:t>
            </a:r>
            <a:r>
              <a:rPr lang="tr-TR" sz="2409" dirty="0">
                <a:latin typeface="Times New Roman" panose="02020603050405020304" pitchFamily="18" charset="0"/>
                <a:ea typeface="ヒラギノ角ゴ Pro W3" pitchFamily="1" charset="-128"/>
                <a:cs typeface="Times New Roman" panose="02020603050405020304" pitchFamily="18" charset="0"/>
              </a:rPr>
              <a:t>konusunda ve/veya konularında </a:t>
            </a:r>
          </a:p>
          <a:p>
            <a:pPr lvl="0" fontAlgn="base">
              <a:spcBef>
                <a:spcPct val="0"/>
              </a:spcBef>
              <a:spcAft>
                <a:spcPct val="0"/>
              </a:spcAft>
              <a:defRPr/>
            </a:pPr>
            <a:endParaRPr kumimoji="0" lang="tr-TR" sz="2409" b="1" i="0" u="none" strike="noStrike" kern="1200" cap="none" spc="0" normalizeH="0" baseline="0" noProof="0" dirty="0">
              <a:ln>
                <a:noFill/>
              </a:ln>
              <a:solidFill>
                <a:srgbClr val="FFC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pic>
        <p:nvPicPr>
          <p:cNvPr id="9" name="Picture 3"/>
          <p:cNvPicPr>
            <a:picLocks noChangeAspect="1" noChangeArrowheads="1"/>
          </p:cNvPicPr>
          <p:nvPr/>
        </p:nvPicPr>
        <p:blipFill>
          <a:blip r:embed="rId2" cstate="print"/>
          <a:srcRect/>
          <a:stretch>
            <a:fillRect/>
          </a:stretch>
        </p:blipFill>
        <p:spPr bwMode="auto">
          <a:xfrm>
            <a:off x="474842" y="332996"/>
            <a:ext cx="960106" cy="677217"/>
          </a:xfrm>
          <a:prstGeom prst="rect">
            <a:avLst/>
          </a:prstGeom>
          <a:noFill/>
          <a:ln w="9525">
            <a:noFill/>
            <a:miter lim="800000"/>
            <a:headEnd/>
            <a:tailEnd/>
          </a:ln>
        </p:spPr>
      </p:pic>
      <p:sp>
        <p:nvSpPr>
          <p:cNvPr id="10" name="4 Metin kutusu">
            <a:extLst>
              <a:ext uri="{FF2B5EF4-FFF2-40B4-BE49-F238E27FC236}">
                <a16:creationId xmlns:a16="http://schemas.microsoft.com/office/drawing/2014/main" id="{0F5DDB26-F8EF-4635-9715-6609DA33135B}"/>
              </a:ext>
            </a:extLst>
          </p:cNvPr>
          <p:cNvSpPr txBox="1"/>
          <p:nvPr/>
        </p:nvSpPr>
        <p:spPr>
          <a:xfrm>
            <a:off x="2819971" y="332996"/>
            <a:ext cx="8118219"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Ar-G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Ür</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Ge v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İnovasyon</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 Destek Programı</a:t>
            </a:r>
          </a:p>
        </p:txBody>
      </p:sp>
    </p:spTree>
    <p:extLst>
      <p:ext uri="{BB962C8B-B14F-4D97-AF65-F5344CB8AC3E}">
        <p14:creationId xmlns:p14="http://schemas.microsoft.com/office/powerpoint/2010/main" val="3074347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Dikdörtgen 5"/>
          <p:cNvSpPr/>
          <p:nvPr/>
        </p:nvSpPr>
        <p:spPr>
          <a:xfrm>
            <a:off x="243355" y="936816"/>
            <a:ext cx="11654941" cy="4911986"/>
          </a:xfrm>
          <a:prstGeom prst="rect">
            <a:avLst/>
          </a:prstGeom>
        </p:spPr>
        <p:txBody>
          <a:bodyPr wrap="square">
            <a:spAutoFit/>
          </a:bodyPr>
          <a:lstStyle/>
          <a:p>
            <a:pPr lvl="0" fontAlgn="base">
              <a:spcBef>
                <a:spcPct val="0"/>
              </a:spcBef>
              <a:spcAft>
                <a:spcPct val="0"/>
              </a:spcAft>
              <a:defRPr/>
            </a:pPr>
            <a:r>
              <a:rPr lang="tr-TR" sz="2409" b="1" dirty="0">
                <a:latin typeface="Times New Roman" panose="02020603050405020304" pitchFamily="18" charset="0"/>
                <a:ea typeface="ヒラギノ角ゴ Pro W3" pitchFamily="1" charset="-128"/>
                <a:cs typeface="Times New Roman" panose="02020603050405020304" pitchFamily="18" charset="0"/>
              </a:rPr>
              <a:t>İkinci Sektör ve Konular:  Sektörler </a:t>
            </a:r>
          </a:p>
          <a:p>
            <a:pPr lvl="0" fontAlgn="base">
              <a:spcBef>
                <a:spcPct val="0"/>
              </a:spcBef>
              <a:spcAft>
                <a:spcPct val="0"/>
              </a:spcAft>
              <a:defRPr/>
            </a:pPr>
            <a:r>
              <a:rPr lang="tr-TR" sz="2409" b="1" dirty="0">
                <a:latin typeface="Times New Roman" panose="02020603050405020304" pitchFamily="18" charset="0"/>
                <a:ea typeface="ヒラギノ角ゴ Pro W3" pitchFamily="1" charset="-128"/>
                <a:cs typeface="Times New Roman" panose="02020603050405020304" pitchFamily="18" charset="0"/>
              </a:rPr>
              <a:t> </a:t>
            </a:r>
            <a:r>
              <a:rPr lang="tr-TR" sz="2409" dirty="0">
                <a:latin typeface="Times New Roman" panose="02020603050405020304" pitchFamily="18" charset="0"/>
                <a:ea typeface="ヒラギノ角ゴ Pro W3" pitchFamily="1" charset="-128"/>
                <a:cs typeface="Times New Roman" panose="02020603050405020304" pitchFamily="18" charset="0"/>
              </a:rPr>
              <a:t>26.1 Elektronik bileşenlerin ve devre kartlarının imalatı </a:t>
            </a:r>
            <a:endParaRPr lang="tr-TR" sz="2409" dirty="0" smtClean="0">
              <a:latin typeface="Times New Roman" panose="02020603050405020304" pitchFamily="18" charset="0"/>
              <a:ea typeface="ヒラギノ角ゴ Pro W3" pitchFamily="1" charset="-128"/>
              <a:cs typeface="Times New Roman" panose="02020603050405020304" pitchFamily="18" charset="0"/>
            </a:endParaRPr>
          </a:p>
          <a:p>
            <a:pPr lvl="0" fontAlgn="base">
              <a:spcBef>
                <a:spcPct val="0"/>
              </a:spcBef>
              <a:spcAft>
                <a:spcPct val="0"/>
              </a:spcAft>
              <a:defRPr/>
            </a:pPr>
            <a:r>
              <a:rPr lang="tr-TR" sz="2409" dirty="0" smtClean="0">
                <a:latin typeface="Times New Roman" panose="02020603050405020304" pitchFamily="18" charset="0"/>
                <a:ea typeface="ヒラギノ角ゴ Pro W3" pitchFamily="1" charset="-128"/>
                <a:cs typeface="Times New Roman" panose="02020603050405020304" pitchFamily="18" charset="0"/>
              </a:rPr>
              <a:t> </a:t>
            </a:r>
            <a:r>
              <a:rPr lang="tr-TR" sz="2409" dirty="0">
                <a:latin typeface="Times New Roman" panose="02020603050405020304" pitchFamily="18" charset="0"/>
                <a:ea typeface="ヒラギノ角ゴ Pro W3" pitchFamily="1" charset="-128"/>
                <a:cs typeface="Times New Roman" panose="02020603050405020304" pitchFamily="18" charset="0"/>
              </a:rPr>
              <a:t>26.3 İletişim ekipmanlarının imalatı </a:t>
            </a:r>
            <a:endParaRPr lang="tr-TR" sz="2409" dirty="0" smtClean="0">
              <a:latin typeface="Times New Roman" panose="02020603050405020304" pitchFamily="18" charset="0"/>
              <a:ea typeface="ヒラギノ角ゴ Pro W3" pitchFamily="1" charset="-128"/>
              <a:cs typeface="Times New Roman" panose="02020603050405020304" pitchFamily="18" charset="0"/>
            </a:endParaRPr>
          </a:p>
          <a:p>
            <a:pPr lvl="0" fontAlgn="base">
              <a:spcBef>
                <a:spcPct val="0"/>
              </a:spcBef>
              <a:spcAft>
                <a:spcPct val="0"/>
              </a:spcAft>
              <a:defRPr/>
            </a:pPr>
            <a:r>
              <a:rPr lang="tr-TR" sz="2409" dirty="0" smtClean="0">
                <a:latin typeface="Times New Roman" panose="02020603050405020304" pitchFamily="18" charset="0"/>
                <a:ea typeface="ヒラギノ角ゴ Pro W3" pitchFamily="1" charset="-128"/>
                <a:cs typeface="Times New Roman" panose="02020603050405020304" pitchFamily="18" charset="0"/>
              </a:rPr>
              <a:t> </a:t>
            </a:r>
            <a:r>
              <a:rPr lang="tr-TR" sz="2409" dirty="0">
                <a:latin typeface="Times New Roman" panose="02020603050405020304" pitchFamily="18" charset="0"/>
                <a:ea typeface="ヒラギノ角ゴ Pro W3" pitchFamily="1" charset="-128"/>
                <a:cs typeface="Times New Roman" panose="02020603050405020304" pitchFamily="18" charset="0"/>
              </a:rPr>
              <a:t>26.4 Tüketici elektroniği ürünlerinin imalatı </a:t>
            </a:r>
            <a:endParaRPr lang="tr-TR" sz="2409" dirty="0" smtClean="0">
              <a:latin typeface="Times New Roman" panose="02020603050405020304" pitchFamily="18" charset="0"/>
              <a:ea typeface="ヒラギノ角ゴ Pro W3" pitchFamily="1" charset="-128"/>
              <a:cs typeface="Times New Roman" panose="02020603050405020304" pitchFamily="18" charset="0"/>
            </a:endParaRPr>
          </a:p>
          <a:p>
            <a:pPr lvl="0" fontAlgn="base">
              <a:spcBef>
                <a:spcPct val="0"/>
              </a:spcBef>
              <a:spcAft>
                <a:spcPct val="0"/>
              </a:spcAft>
              <a:defRPr/>
            </a:pPr>
            <a:r>
              <a:rPr lang="tr-TR" sz="2409" dirty="0" smtClean="0">
                <a:latin typeface="Times New Roman" panose="02020603050405020304" pitchFamily="18" charset="0"/>
                <a:ea typeface="ヒラギノ角ゴ Pro W3" pitchFamily="1" charset="-128"/>
                <a:cs typeface="Times New Roman" panose="02020603050405020304" pitchFamily="18" charset="0"/>
              </a:rPr>
              <a:t> </a:t>
            </a:r>
            <a:r>
              <a:rPr lang="tr-TR" sz="2409" dirty="0">
                <a:latin typeface="Times New Roman" panose="02020603050405020304" pitchFamily="18" charset="0"/>
                <a:ea typeface="ヒラギノ角ゴ Pro W3" pitchFamily="1" charset="-128"/>
                <a:cs typeface="Times New Roman" panose="02020603050405020304" pitchFamily="18" charset="0"/>
              </a:rPr>
              <a:t>26.5 Ölçme, test ve seyrüsefer amaçlı alet ve cihazlar ile saat imalatı  </a:t>
            </a:r>
            <a:endParaRPr lang="tr-TR" sz="2409" dirty="0" smtClean="0">
              <a:latin typeface="Times New Roman" panose="02020603050405020304" pitchFamily="18" charset="0"/>
              <a:ea typeface="ヒラギノ角ゴ Pro W3" pitchFamily="1" charset="-128"/>
              <a:cs typeface="Times New Roman" panose="02020603050405020304" pitchFamily="18" charset="0"/>
            </a:endParaRPr>
          </a:p>
          <a:p>
            <a:pPr lvl="0" fontAlgn="base">
              <a:spcBef>
                <a:spcPct val="0"/>
              </a:spcBef>
              <a:spcAft>
                <a:spcPct val="0"/>
              </a:spcAft>
              <a:defRPr/>
            </a:pPr>
            <a:r>
              <a:rPr lang="tr-TR" sz="2409" dirty="0" smtClean="0">
                <a:latin typeface="Times New Roman" panose="02020603050405020304" pitchFamily="18" charset="0"/>
                <a:ea typeface="ヒラギノ角ゴ Pro W3" pitchFamily="1" charset="-128"/>
                <a:cs typeface="Times New Roman" panose="02020603050405020304" pitchFamily="18" charset="0"/>
              </a:rPr>
              <a:t>(</a:t>
            </a:r>
            <a:r>
              <a:rPr lang="tr-TR" sz="2409" dirty="0">
                <a:latin typeface="Times New Roman" panose="02020603050405020304" pitchFamily="18" charset="0"/>
                <a:ea typeface="ヒラギノ角ゴ Pro W3" pitchFamily="1" charset="-128"/>
                <a:cs typeface="Times New Roman" panose="02020603050405020304" pitchFamily="18" charset="0"/>
              </a:rPr>
              <a:t>26.52 Kol saatlerinin, masa ve duvar saatlerinin ve benzerlerinin imalatı hariçtir.) </a:t>
            </a:r>
          </a:p>
          <a:p>
            <a:pPr lvl="0" fontAlgn="base">
              <a:spcBef>
                <a:spcPct val="0"/>
              </a:spcBef>
              <a:spcAft>
                <a:spcPct val="0"/>
              </a:spcAft>
              <a:defRPr/>
            </a:pPr>
            <a:r>
              <a:rPr lang="tr-TR" sz="2409" dirty="0">
                <a:latin typeface="Times New Roman" panose="02020603050405020304" pitchFamily="18" charset="0"/>
                <a:ea typeface="ヒラギノ角ゴ Pro W3" pitchFamily="1" charset="-128"/>
                <a:cs typeface="Times New Roman" panose="02020603050405020304" pitchFamily="18" charset="0"/>
              </a:rPr>
              <a:t> </a:t>
            </a:r>
            <a:r>
              <a:rPr lang="tr-TR" sz="2409" dirty="0" smtClean="0">
                <a:latin typeface="Times New Roman" panose="02020603050405020304" pitchFamily="18" charset="0"/>
                <a:ea typeface="ヒラギノ角ゴ Pro W3" pitchFamily="1" charset="-128"/>
                <a:cs typeface="Times New Roman" panose="02020603050405020304" pitchFamily="18" charset="0"/>
              </a:rPr>
              <a:t>faaliyet </a:t>
            </a:r>
            <a:r>
              <a:rPr lang="tr-TR" sz="2409" dirty="0">
                <a:latin typeface="Times New Roman" panose="02020603050405020304" pitchFamily="18" charset="0"/>
                <a:ea typeface="ヒラギノ角ゴ Pro W3" pitchFamily="1" charset="-128"/>
                <a:cs typeface="Times New Roman" panose="02020603050405020304" pitchFamily="18" charset="0"/>
              </a:rPr>
              <a:t>gösteren işletmeler </a:t>
            </a:r>
          </a:p>
          <a:p>
            <a:pPr lvl="0" fontAlgn="base">
              <a:spcBef>
                <a:spcPct val="0"/>
              </a:spcBef>
              <a:spcAft>
                <a:spcPct val="0"/>
              </a:spcAft>
              <a:defRPr/>
            </a:pPr>
            <a:r>
              <a:rPr lang="tr-TR" sz="2409" b="1" dirty="0">
                <a:latin typeface="Times New Roman" panose="02020603050405020304" pitchFamily="18" charset="0"/>
                <a:ea typeface="ヒラギノ角ゴ Pro W3" pitchFamily="1" charset="-128"/>
                <a:cs typeface="Times New Roman" panose="02020603050405020304" pitchFamily="18" charset="0"/>
              </a:rPr>
              <a:t> </a:t>
            </a:r>
          </a:p>
          <a:p>
            <a:pPr lvl="0" fontAlgn="base">
              <a:spcBef>
                <a:spcPct val="0"/>
              </a:spcBef>
              <a:spcAft>
                <a:spcPct val="0"/>
              </a:spcAft>
              <a:defRPr/>
            </a:pPr>
            <a:r>
              <a:rPr lang="tr-TR" sz="2409" b="1" dirty="0">
                <a:latin typeface="Times New Roman" panose="02020603050405020304" pitchFamily="18" charset="0"/>
                <a:ea typeface="ヒラギノ角ゴ Pro W3" pitchFamily="1" charset="-128"/>
                <a:cs typeface="Times New Roman" panose="02020603050405020304" pitchFamily="18" charset="0"/>
              </a:rPr>
              <a:t>Uygun Proje Konuları: </a:t>
            </a:r>
            <a:endParaRPr lang="tr-TR" sz="2409" b="1" dirty="0" smtClean="0">
              <a:latin typeface="Times New Roman" panose="02020603050405020304" pitchFamily="18" charset="0"/>
              <a:ea typeface="ヒラギノ角ゴ Pro W3" pitchFamily="1" charset="-128"/>
              <a:cs typeface="Times New Roman" panose="02020603050405020304" pitchFamily="18" charset="0"/>
            </a:endParaRPr>
          </a:p>
          <a:p>
            <a:pPr marL="457200" lvl="0" indent="-457200" fontAlgn="base">
              <a:spcBef>
                <a:spcPct val="0"/>
              </a:spcBef>
              <a:spcAft>
                <a:spcPct val="0"/>
              </a:spcAft>
              <a:buAutoNum type="arabicPeriod"/>
              <a:defRPr/>
            </a:pPr>
            <a:r>
              <a:rPr lang="tr-TR" sz="2409" dirty="0" smtClean="0">
                <a:latin typeface="Times New Roman" panose="02020603050405020304" pitchFamily="18" charset="0"/>
                <a:ea typeface="ヒラギノ角ゴ Pro W3" pitchFamily="1" charset="-128"/>
                <a:cs typeface="Times New Roman" panose="02020603050405020304" pitchFamily="18" charset="0"/>
              </a:rPr>
              <a:t>5G </a:t>
            </a:r>
            <a:r>
              <a:rPr lang="tr-TR" sz="2409" dirty="0">
                <a:latin typeface="Times New Roman" panose="02020603050405020304" pitchFamily="18" charset="0"/>
                <a:ea typeface="ヒラギノ角ゴ Pro W3" pitchFamily="1" charset="-128"/>
                <a:cs typeface="Times New Roman" panose="02020603050405020304" pitchFamily="18" charset="0"/>
              </a:rPr>
              <a:t>ve ötesi teknolojiler dâhil olmak üzere yerli elektronik haberleşme şebeke ve altyapı bileşenleri kapsamında yeni nesil mobil haberleşme teknolojileri </a:t>
            </a:r>
            <a:r>
              <a:rPr lang="tr-TR" sz="2409" dirty="0" smtClean="0">
                <a:latin typeface="Times New Roman" panose="02020603050405020304" pitchFamily="18" charset="0"/>
                <a:ea typeface="ヒラギノ角ゴ Pro W3" pitchFamily="1" charset="-128"/>
                <a:cs typeface="Times New Roman" panose="02020603050405020304" pitchFamily="18" charset="0"/>
              </a:rPr>
              <a:t>           </a:t>
            </a:r>
          </a:p>
          <a:p>
            <a:pPr lvl="0" fontAlgn="base">
              <a:spcBef>
                <a:spcPct val="0"/>
              </a:spcBef>
              <a:spcAft>
                <a:spcPct val="0"/>
              </a:spcAft>
              <a:defRPr/>
            </a:pPr>
            <a:r>
              <a:rPr lang="tr-TR" sz="2409" dirty="0">
                <a:latin typeface="Times New Roman" panose="02020603050405020304" pitchFamily="18" charset="0"/>
                <a:ea typeface="ヒラギノ角ゴ Pro W3" pitchFamily="1" charset="-128"/>
                <a:cs typeface="Times New Roman" panose="02020603050405020304" pitchFamily="18" charset="0"/>
              </a:rPr>
              <a:t> </a:t>
            </a:r>
            <a:r>
              <a:rPr lang="tr-TR" sz="2409" dirty="0" smtClean="0">
                <a:latin typeface="Times New Roman" panose="02020603050405020304" pitchFamily="18" charset="0"/>
                <a:ea typeface="ヒラギノ角ゴ Pro W3" pitchFamily="1" charset="-128"/>
                <a:cs typeface="Times New Roman" panose="02020603050405020304" pitchFamily="18" charset="0"/>
              </a:rPr>
              <a:t>       konularında başvurabilecektir                                                                 </a:t>
            </a:r>
            <a:endParaRPr lang="tr-TR" sz="2409" dirty="0">
              <a:latin typeface="Times New Roman" panose="02020603050405020304" pitchFamily="18" charset="0"/>
              <a:ea typeface="ヒラギノ角ゴ Pro W3" pitchFamily="1" charset="-128"/>
              <a:cs typeface="Times New Roman" panose="02020603050405020304" pitchFamily="18" charset="0"/>
            </a:endParaRPr>
          </a:p>
          <a:p>
            <a:pPr lvl="0" fontAlgn="base">
              <a:spcBef>
                <a:spcPct val="0"/>
              </a:spcBef>
              <a:spcAft>
                <a:spcPct val="0"/>
              </a:spcAft>
              <a:defRPr/>
            </a:pPr>
            <a:r>
              <a:rPr lang="tr-TR" sz="2409" b="1" dirty="0">
                <a:latin typeface="Times New Roman" panose="02020603050405020304" pitchFamily="18" charset="0"/>
                <a:ea typeface="ヒラギノ角ゴ Pro W3" pitchFamily="1" charset="-128"/>
                <a:cs typeface="Times New Roman" panose="02020603050405020304" pitchFamily="18" charset="0"/>
              </a:rPr>
              <a:t> </a:t>
            </a:r>
            <a:endParaRPr kumimoji="0" lang="tr-TR" sz="2409" b="1" i="0" u="none" strike="noStrike" kern="1200" cap="none" spc="0" normalizeH="0" baseline="0" noProof="0" dirty="0">
              <a:ln>
                <a:noFill/>
              </a:ln>
              <a:solidFill>
                <a:srgbClr val="FFC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pic>
        <p:nvPicPr>
          <p:cNvPr id="9" name="Picture 3"/>
          <p:cNvPicPr>
            <a:picLocks noChangeAspect="1" noChangeArrowheads="1"/>
          </p:cNvPicPr>
          <p:nvPr/>
        </p:nvPicPr>
        <p:blipFill>
          <a:blip r:embed="rId2" cstate="print"/>
          <a:srcRect/>
          <a:stretch>
            <a:fillRect/>
          </a:stretch>
        </p:blipFill>
        <p:spPr bwMode="auto">
          <a:xfrm>
            <a:off x="270787" y="343374"/>
            <a:ext cx="960106" cy="677217"/>
          </a:xfrm>
          <a:prstGeom prst="rect">
            <a:avLst/>
          </a:prstGeom>
          <a:noFill/>
          <a:ln w="9525">
            <a:noFill/>
            <a:miter lim="800000"/>
            <a:headEnd/>
            <a:tailEnd/>
          </a:ln>
        </p:spPr>
      </p:pic>
      <p:sp>
        <p:nvSpPr>
          <p:cNvPr id="10" name="4 Metin kutusu">
            <a:extLst>
              <a:ext uri="{FF2B5EF4-FFF2-40B4-BE49-F238E27FC236}">
                <a16:creationId xmlns:a16="http://schemas.microsoft.com/office/drawing/2014/main" id="{0F5DDB26-F8EF-4635-9715-6609DA33135B}"/>
              </a:ext>
            </a:extLst>
          </p:cNvPr>
          <p:cNvSpPr txBox="1"/>
          <p:nvPr/>
        </p:nvSpPr>
        <p:spPr>
          <a:xfrm>
            <a:off x="2567199" y="332996"/>
            <a:ext cx="8495590"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Ar-G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Ür</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Ge v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İnovasyon</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 Destek Programı</a:t>
            </a:r>
          </a:p>
        </p:txBody>
      </p:sp>
    </p:spTree>
    <p:extLst>
      <p:ext uri="{BB962C8B-B14F-4D97-AF65-F5344CB8AC3E}">
        <p14:creationId xmlns:p14="http://schemas.microsoft.com/office/powerpoint/2010/main" val="16355126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5" name="Picture 3"/>
          <p:cNvPicPr>
            <a:picLocks noChangeAspect="1" noChangeArrowheads="1"/>
          </p:cNvPicPr>
          <p:nvPr/>
        </p:nvPicPr>
        <p:blipFill>
          <a:blip r:embed="rId2" cstate="print"/>
          <a:srcRect/>
          <a:stretch>
            <a:fillRect/>
          </a:stretch>
        </p:blipFill>
        <p:spPr bwMode="auto">
          <a:xfrm>
            <a:off x="657721" y="358299"/>
            <a:ext cx="960106" cy="677217"/>
          </a:xfrm>
          <a:prstGeom prst="rect">
            <a:avLst/>
          </a:prstGeom>
          <a:noFill/>
          <a:ln w="9525">
            <a:noFill/>
            <a:miter lim="800000"/>
            <a:headEnd/>
            <a:tailEnd/>
          </a:ln>
        </p:spPr>
      </p:pic>
      <p:graphicFrame>
        <p:nvGraphicFramePr>
          <p:cNvPr id="6" name="Tablo 5"/>
          <p:cNvGraphicFramePr>
            <a:graphicFrameLocks noGrp="1"/>
          </p:cNvGraphicFramePr>
          <p:nvPr>
            <p:extLst/>
          </p:nvPr>
        </p:nvGraphicFramePr>
        <p:xfrm>
          <a:off x="154280" y="1241750"/>
          <a:ext cx="11874724" cy="5373186"/>
        </p:xfrm>
        <a:graphic>
          <a:graphicData uri="http://schemas.openxmlformats.org/drawingml/2006/table">
            <a:tbl>
              <a:tblPr firstRow="1" firstCol="1" bandRow="1">
                <a:tableStyleId>{5C22544A-7EE6-4342-B048-85BDC9FD1C3A}</a:tableStyleId>
              </a:tblPr>
              <a:tblGrid>
                <a:gridCol w="3970115">
                  <a:extLst>
                    <a:ext uri="{9D8B030D-6E8A-4147-A177-3AD203B41FA5}">
                      <a16:colId xmlns:a16="http://schemas.microsoft.com/office/drawing/2014/main" val="708461779"/>
                    </a:ext>
                  </a:extLst>
                </a:gridCol>
                <a:gridCol w="3202218">
                  <a:extLst>
                    <a:ext uri="{9D8B030D-6E8A-4147-A177-3AD203B41FA5}">
                      <a16:colId xmlns:a16="http://schemas.microsoft.com/office/drawing/2014/main" val="3798159816"/>
                    </a:ext>
                  </a:extLst>
                </a:gridCol>
                <a:gridCol w="2669438">
                  <a:extLst>
                    <a:ext uri="{9D8B030D-6E8A-4147-A177-3AD203B41FA5}">
                      <a16:colId xmlns:a16="http://schemas.microsoft.com/office/drawing/2014/main" val="1362364522"/>
                    </a:ext>
                  </a:extLst>
                </a:gridCol>
                <a:gridCol w="2032953">
                  <a:extLst>
                    <a:ext uri="{9D8B030D-6E8A-4147-A177-3AD203B41FA5}">
                      <a16:colId xmlns:a16="http://schemas.microsoft.com/office/drawing/2014/main" val="655555120"/>
                    </a:ext>
                  </a:extLst>
                </a:gridCol>
              </a:tblGrid>
              <a:tr h="750168">
                <a:tc>
                  <a:txBody>
                    <a:bodyPr/>
                    <a:lstStyle/>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Destek Adı</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tabLst>
                          <a:tab pos="1013460" algn="l"/>
                        </a:tabLst>
                      </a:pPr>
                      <a:r>
                        <a:rPr lang="tr-TR" sz="1600" dirty="0">
                          <a:effectLst/>
                          <a:latin typeface="Times New Roman" panose="02020603050405020304" pitchFamily="18" charset="0"/>
                          <a:cs typeface="Times New Roman" panose="02020603050405020304" pitchFamily="18" charset="0"/>
                        </a:rPr>
                        <a:t>Küçük Büyüklükteki İşletme</a:t>
                      </a:r>
                    </a:p>
                    <a:p>
                      <a:pPr algn="ctr">
                        <a:spcBef>
                          <a:spcPts val="600"/>
                        </a:spcBef>
                        <a:spcAft>
                          <a:spcPts val="600"/>
                        </a:spcAft>
                        <a:tabLst>
                          <a:tab pos="1013460" algn="l"/>
                        </a:tabLst>
                      </a:pPr>
                      <a:r>
                        <a:rPr lang="tr-TR" sz="1600" dirty="0">
                          <a:effectLst/>
                          <a:latin typeface="Times New Roman" panose="02020603050405020304" pitchFamily="18" charset="0"/>
                          <a:cs typeface="Times New Roman" panose="02020603050405020304" pitchFamily="18" charset="0"/>
                        </a:rPr>
                        <a:t>Destek Üst Limiti (TL)</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Orta Büyüklükteki İşletme</a:t>
                      </a:r>
                    </a:p>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Destek Üst Limiti (TL)</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pPr>
                      <a:r>
                        <a:rPr lang="tr-TR" sz="1600">
                          <a:effectLst/>
                          <a:latin typeface="Times New Roman" panose="02020603050405020304" pitchFamily="18" charset="0"/>
                          <a:cs typeface="Times New Roman" panose="02020603050405020304" pitchFamily="18" charset="0"/>
                        </a:rPr>
                        <a:t>Destek Oranı (%)</a:t>
                      </a:r>
                      <a:endParaRPr lang="tr-TR"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92833882"/>
                  </a:ext>
                </a:extLst>
              </a:tr>
              <a:tr h="515741">
                <a:tc>
                  <a:txBody>
                    <a:bodyPr/>
                    <a:lstStyle/>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Makine-Teçhizat, Donanım, Hammadde, Yazılım ve Hizmet Alımı Giderleri Desteği</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tabLst>
                          <a:tab pos="1013460" algn="l"/>
                        </a:tabLst>
                      </a:pPr>
                      <a:r>
                        <a:rPr lang="tr-TR" sz="1600" dirty="0">
                          <a:effectLst/>
                          <a:latin typeface="Times New Roman" panose="02020603050405020304" pitchFamily="18" charset="0"/>
                          <a:cs typeface="Times New Roman" panose="02020603050405020304" pitchFamily="18" charset="0"/>
                        </a:rPr>
                        <a:t>400.000</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2.000.000</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75</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305231492"/>
                  </a:ext>
                </a:extLst>
              </a:tr>
              <a:tr h="515741">
                <a:tc>
                  <a:txBody>
                    <a:bodyPr/>
                    <a:lstStyle/>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Makine-Teçhizat, Donanım, Hammadde, Yazılım ve Hizmet Alımı Giderleri Desteği (Geri Ödemeli)</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tabLst>
                          <a:tab pos="1013460" algn="l"/>
                        </a:tabLst>
                      </a:pPr>
                      <a:r>
                        <a:rPr lang="tr-TR" sz="1600" dirty="0">
                          <a:effectLst/>
                          <a:latin typeface="Times New Roman" panose="02020603050405020304" pitchFamily="18" charset="0"/>
                          <a:cs typeface="Times New Roman" panose="02020603050405020304" pitchFamily="18" charset="0"/>
                        </a:rPr>
                        <a:t>400.000</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3.000.000</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75</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606499081"/>
                  </a:ext>
                </a:extLst>
              </a:tr>
              <a:tr h="773611">
                <a:tc>
                  <a:txBody>
                    <a:bodyPr/>
                    <a:lstStyle/>
                    <a:p>
                      <a:pPr algn="ctr">
                        <a:spcBef>
                          <a:spcPts val="600"/>
                        </a:spcBef>
                        <a:spcAft>
                          <a:spcPts val="600"/>
                        </a:spcAft>
                      </a:pPr>
                      <a:r>
                        <a:rPr lang="tr-TR" sz="1600" b="1" i="0" u="none" strike="noStrike" cap="none" dirty="0">
                          <a:solidFill>
                            <a:schemeClr val="lt1"/>
                          </a:solidFill>
                          <a:effectLst/>
                          <a:latin typeface="Times New Roman" panose="02020603050405020304" pitchFamily="18" charset="0"/>
                          <a:ea typeface="+mn-ea"/>
                          <a:cs typeface="Times New Roman" panose="02020603050405020304" pitchFamily="18" charset="0"/>
                          <a:sym typeface="Arial"/>
                        </a:rPr>
                        <a:t>Nitelikli Personel Giderleri Desteği</a:t>
                      </a:r>
                    </a:p>
                  </a:txBody>
                  <a:tcPr marL="68580" marR="68580" marT="0" marB="0" anchor="ctr"/>
                </a:tc>
                <a:tc>
                  <a:txBody>
                    <a:bodyPr/>
                    <a:lstStyle/>
                    <a:p>
                      <a:pPr algn="ctr">
                        <a:spcBef>
                          <a:spcPts val="600"/>
                        </a:spcBef>
                        <a:spcAft>
                          <a:spcPts val="600"/>
                        </a:spcAft>
                        <a:tabLst>
                          <a:tab pos="1013460" algn="l"/>
                        </a:tabLst>
                      </a:pPr>
                      <a:r>
                        <a:rPr lang="tr-TR" sz="1600" dirty="0">
                          <a:effectLst/>
                          <a:latin typeface="Times New Roman" panose="02020603050405020304" pitchFamily="18" charset="0"/>
                          <a:cs typeface="Times New Roman" panose="02020603050405020304" pitchFamily="18" charset="0"/>
                        </a:rPr>
                        <a:t>300.000</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pPr>
                      <a:r>
                        <a:rPr lang="tr-TR" sz="1600" b="0" i="0" u="none" strike="noStrike" cap="none" dirty="0">
                          <a:solidFill>
                            <a:schemeClr val="dk1"/>
                          </a:solidFill>
                          <a:effectLst/>
                          <a:latin typeface="Times New Roman" panose="02020603050405020304" pitchFamily="18" charset="0"/>
                          <a:ea typeface="+mn-ea"/>
                          <a:cs typeface="Times New Roman" panose="02020603050405020304" pitchFamily="18" charset="0"/>
                          <a:sym typeface="Arial"/>
                        </a:rPr>
                        <a:t>500.000</a:t>
                      </a:r>
                    </a:p>
                  </a:txBody>
                  <a:tcPr marL="68580" marR="68580" marT="0" marB="0" anchor="ctr"/>
                </a:tc>
                <a:tc>
                  <a:txBody>
                    <a:bodyPr/>
                    <a:lstStyle/>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100</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779611764"/>
                  </a:ext>
                </a:extLst>
              </a:tr>
              <a:tr h="773611">
                <a:tc>
                  <a:txBody>
                    <a:bodyPr/>
                    <a:lstStyle/>
                    <a:p>
                      <a:pPr algn="ctr">
                        <a:spcBef>
                          <a:spcPts val="600"/>
                        </a:spcBef>
                        <a:spcAft>
                          <a:spcPts val="600"/>
                        </a:spcAft>
                      </a:pPr>
                      <a:r>
                        <a:rPr lang="tr-TR" sz="1600" b="1" i="0" u="none" strike="noStrike" cap="none" dirty="0">
                          <a:solidFill>
                            <a:schemeClr val="lt1"/>
                          </a:solidFill>
                          <a:effectLst/>
                          <a:latin typeface="Times New Roman" panose="02020603050405020304" pitchFamily="18" charset="0"/>
                          <a:ea typeface="+mn-ea"/>
                          <a:cs typeface="Times New Roman" panose="02020603050405020304" pitchFamily="18" charset="0"/>
                          <a:sym typeface="Arial"/>
                        </a:rPr>
                        <a:t>Sınai Mülkiyet Hakları Giderleri Desteği</a:t>
                      </a:r>
                    </a:p>
                  </a:txBody>
                  <a:tcPr marL="68580" marR="68580" marT="0" marB="0" anchor="ctr"/>
                </a:tc>
                <a:tc>
                  <a:txBody>
                    <a:bodyPr/>
                    <a:lstStyle/>
                    <a:p>
                      <a:pPr marR="0" algn="ctr" rtl="0">
                        <a:lnSpc>
                          <a:spcPct val="100000"/>
                        </a:lnSpc>
                        <a:spcBef>
                          <a:spcPts val="600"/>
                        </a:spcBef>
                        <a:spcAft>
                          <a:spcPts val="600"/>
                        </a:spcAft>
                        <a:buClr>
                          <a:srgbClr val="000000"/>
                        </a:buClr>
                        <a:buFont typeface="Arial"/>
                        <a:tabLst>
                          <a:tab pos="1013460" algn="l"/>
                        </a:tabLst>
                      </a:pPr>
                      <a:r>
                        <a:rPr lang="tr-TR" sz="1600" b="0" i="0" u="none" strike="noStrike" cap="none" dirty="0">
                          <a:solidFill>
                            <a:schemeClr val="dk1"/>
                          </a:solidFill>
                          <a:effectLst/>
                          <a:latin typeface="Times New Roman" panose="02020603050405020304" pitchFamily="18" charset="0"/>
                          <a:ea typeface="+mn-ea"/>
                          <a:cs typeface="Times New Roman" panose="02020603050405020304" pitchFamily="18" charset="0"/>
                          <a:sym typeface="Arial"/>
                        </a:rPr>
                        <a:t>150.000</a:t>
                      </a:r>
                    </a:p>
                  </a:txBody>
                  <a:tcPr marL="68580" marR="68580" marT="0" marB="0" anchor="ctr"/>
                </a:tc>
                <a:tc>
                  <a:txBody>
                    <a:bodyPr/>
                    <a:lstStyle/>
                    <a:p>
                      <a:pPr algn="ctr">
                        <a:spcAft>
                          <a:spcPts val="0"/>
                        </a:spcAft>
                      </a:pPr>
                      <a:r>
                        <a:rPr lang="tr-TR" sz="1600" dirty="0">
                          <a:effectLst/>
                          <a:latin typeface="Times New Roman" panose="02020603050405020304" pitchFamily="18" charset="0"/>
                          <a:cs typeface="Times New Roman" panose="02020603050405020304" pitchFamily="18" charset="0"/>
                        </a:rPr>
                        <a:t>200.000</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Aft>
                          <a:spcPts val="0"/>
                        </a:spcAft>
                      </a:pPr>
                      <a:r>
                        <a:rPr lang="tr-TR" sz="1600" b="0" i="0" u="none" strike="noStrike" cap="none" dirty="0">
                          <a:solidFill>
                            <a:schemeClr val="dk1"/>
                          </a:solidFill>
                          <a:effectLst/>
                          <a:latin typeface="Times New Roman" panose="02020603050405020304" pitchFamily="18" charset="0"/>
                          <a:ea typeface="+mn-ea"/>
                          <a:cs typeface="Times New Roman" panose="02020603050405020304" pitchFamily="18" charset="0"/>
                          <a:sym typeface="Arial"/>
                        </a:rPr>
                        <a:t>75</a:t>
                      </a:r>
                    </a:p>
                  </a:txBody>
                  <a:tcPr marL="68580" marR="68580" marT="0" marB="0" anchor="ctr"/>
                </a:tc>
                <a:extLst>
                  <a:ext uri="{0D108BD9-81ED-4DB2-BD59-A6C34878D82A}">
                    <a16:rowId xmlns:a16="http://schemas.microsoft.com/office/drawing/2014/main" val="3667602255"/>
                  </a:ext>
                </a:extLst>
              </a:tr>
              <a:tr h="820497">
                <a:tc>
                  <a:txBody>
                    <a:bodyPr/>
                    <a:lstStyle/>
                    <a:p>
                      <a:pPr algn="ctr">
                        <a:spcBef>
                          <a:spcPts val="600"/>
                        </a:spcBef>
                        <a:spcAft>
                          <a:spcPts val="600"/>
                        </a:spcAft>
                      </a:pPr>
                      <a:r>
                        <a:rPr lang="tr-TR" sz="1600" b="1" i="0" u="none" strike="noStrike" cap="none" dirty="0">
                          <a:solidFill>
                            <a:schemeClr val="lt1"/>
                          </a:solidFill>
                          <a:effectLst/>
                          <a:latin typeface="Times New Roman" panose="02020603050405020304" pitchFamily="18" charset="0"/>
                          <a:ea typeface="+mn-ea"/>
                          <a:cs typeface="Times New Roman" panose="02020603050405020304" pitchFamily="18" charset="0"/>
                          <a:sym typeface="Arial"/>
                        </a:rPr>
                        <a:t>Test, Analiz ve Belgelendirme Giderleri Desteği</a:t>
                      </a:r>
                    </a:p>
                  </a:txBody>
                  <a:tcPr marL="68580" marR="68580" marT="0" marB="0" anchor="ctr"/>
                </a:tc>
                <a:tc>
                  <a:txBody>
                    <a:bodyPr/>
                    <a:lstStyle/>
                    <a:p>
                      <a:pPr marR="0" algn="ctr" rtl="0">
                        <a:lnSpc>
                          <a:spcPct val="100000"/>
                        </a:lnSpc>
                        <a:spcBef>
                          <a:spcPts val="600"/>
                        </a:spcBef>
                        <a:spcAft>
                          <a:spcPts val="600"/>
                        </a:spcAft>
                        <a:buClr>
                          <a:srgbClr val="000000"/>
                        </a:buClr>
                        <a:buFont typeface="Arial"/>
                        <a:tabLst>
                          <a:tab pos="1013460" algn="l"/>
                        </a:tabLst>
                      </a:pPr>
                      <a:r>
                        <a:rPr lang="tr-TR" sz="1600" b="0" i="0" u="none" strike="noStrike" cap="none" dirty="0">
                          <a:solidFill>
                            <a:schemeClr val="dk1"/>
                          </a:solidFill>
                          <a:effectLst/>
                          <a:latin typeface="Times New Roman" panose="02020603050405020304" pitchFamily="18" charset="0"/>
                          <a:ea typeface="+mn-ea"/>
                          <a:cs typeface="Times New Roman" panose="02020603050405020304" pitchFamily="18" charset="0"/>
                          <a:sym typeface="Arial"/>
                        </a:rPr>
                        <a:t>150.000</a:t>
                      </a:r>
                    </a:p>
                  </a:txBody>
                  <a:tcPr marL="68580" marR="68580" marT="0" marB="0" anchor="ctr"/>
                </a:tc>
                <a:tc>
                  <a:txBody>
                    <a:bodyPr/>
                    <a:lstStyle/>
                    <a:p>
                      <a:pPr algn="ctr">
                        <a:spcAft>
                          <a:spcPts val="0"/>
                        </a:spcAft>
                      </a:pPr>
                      <a:r>
                        <a:rPr lang="tr-TR" sz="1600" dirty="0">
                          <a:effectLst/>
                          <a:latin typeface="Times New Roman" panose="02020603050405020304" pitchFamily="18" charset="0"/>
                          <a:cs typeface="Times New Roman" panose="02020603050405020304" pitchFamily="18" charset="0"/>
                        </a:rPr>
                        <a:t>200.000</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Aft>
                          <a:spcPts val="0"/>
                        </a:spcAft>
                      </a:pPr>
                      <a:r>
                        <a:rPr lang="tr-TR" sz="1600" b="0" i="0" u="none" strike="noStrike" cap="none" dirty="0">
                          <a:solidFill>
                            <a:schemeClr val="dk1"/>
                          </a:solidFill>
                          <a:effectLst/>
                          <a:latin typeface="Times New Roman" panose="02020603050405020304" pitchFamily="18" charset="0"/>
                          <a:ea typeface="+mn-ea"/>
                          <a:cs typeface="Times New Roman" panose="02020603050405020304" pitchFamily="18" charset="0"/>
                          <a:sym typeface="Arial"/>
                        </a:rPr>
                        <a:t>75</a:t>
                      </a:r>
                    </a:p>
                  </a:txBody>
                  <a:tcPr marL="68580" marR="68580" marT="0" marB="0" anchor="ctr"/>
                </a:tc>
                <a:extLst>
                  <a:ext uri="{0D108BD9-81ED-4DB2-BD59-A6C34878D82A}">
                    <a16:rowId xmlns:a16="http://schemas.microsoft.com/office/drawing/2014/main" val="3762110199"/>
                  </a:ext>
                </a:extLst>
              </a:tr>
              <a:tr h="750168">
                <a:tc>
                  <a:txBody>
                    <a:bodyPr/>
                    <a:lstStyle/>
                    <a:p>
                      <a:pPr marR="291465" algn="ctr">
                        <a:spcBef>
                          <a:spcPts val="600"/>
                        </a:spcBef>
                        <a:spcAft>
                          <a:spcPts val="600"/>
                        </a:spcAft>
                      </a:pPr>
                      <a:r>
                        <a:rPr lang="tr-TR" sz="1600" b="1" i="0" u="none" strike="noStrike" cap="none" dirty="0">
                          <a:solidFill>
                            <a:schemeClr val="lt1"/>
                          </a:solidFill>
                          <a:effectLst/>
                          <a:latin typeface="Times New Roman" panose="02020603050405020304" pitchFamily="18" charset="0"/>
                          <a:ea typeface="+mn-ea"/>
                          <a:cs typeface="Times New Roman" panose="02020603050405020304" pitchFamily="18" charset="0"/>
                          <a:sym typeface="Arial"/>
                        </a:rPr>
                        <a:t>Diğer Giderler Desteği</a:t>
                      </a:r>
                    </a:p>
                  </a:txBody>
                  <a:tcPr marL="68580" marR="68580" marT="0" marB="0" anchor="ctr"/>
                </a:tc>
                <a:tc>
                  <a:txBody>
                    <a:bodyPr/>
                    <a:lstStyle/>
                    <a:p>
                      <a:pPr marR="0" algn="ctr" rtl="0">
                        <a:lnSpc>
                          <a:spcPct val="100000"/>
                        </a:lnSpc>
                        <a:spcBef>
                          <a:spcPts val="600"/>
                        </a:spcBef>
                        <a:spcAft>
                          <a:spcPts val="600"/>
                        </a:spcAft>
                        <a:buClr>
                          <a:srgbClr val="000000"/>
                        </a:buClr>
                        <a:buFont typeface="Arial"/>
                        <a:tabLst>
                          <a:tab pos="1013460" algn="l"/>
                        </a:tabLst>
                      </a:pPr>
                      <a:r>
                        <a:rPr lang="tr-TR" sz="1600" b="0" i="0" u="none" strike="noStrike" cap="none" dirty="0">
                          <a:solidFill>
                            <a:schemeClr val="dk1"/>
                          </a:solidFill>
                          <a:effectLst/>
                          <a:latin typeface="Times New Roman" panose="02020603050405020304" pitchFamily="18" charset="0"/>
                          <a:ea typeface="+mn-ea"/>
                          <a:cs typeface="Times New Roman" panose="02020603050405020304" pitchFamily="18" charset="0"/>
                          <a:sym typeface="Arial"/>
                        </a:rPr>
                        <a:t>100.000</a:t>
                      </a:r>
                    </a:p>
                  </a:txBody>
                  <a:tcPr marL="68580" marR="68580" marT="0" marB="0" anchor="ctr"/>
                </a:tc>
                <a:tc>
                  <a:txBody>
                    <a:bodyPr/>
                    <a:lstStyle/>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100.000</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75</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730865144"/>
                  </a:ext>
                </a:extLst>
              </a:tr>
              <a:tr h="257870">
                <a:tc>
                  <a:txBody>
                    <a:bodyPr/>
                    <a:lstStyle/>
                    <a:p>
                      <a:pPr algn="ctr">
                        <a:spcBef>
                          <a:spcPts val="600"/>
                        </a:spcBef>
                        <a:spcAft>
                          <a:spcPts val="600"/>
                        </a:spcAft>
                      </a:pPr>
                      <a:r>
                        <a:rPr lang="tr-TR" sz="1600" b="1" i="0" u="none" strike="noStrike" cap="none" dirty="0">
                          <a:solidFill>
                            <a:schemeClr val="lt1"/>
                          </a:solidFill>
                          <a:effectLst/>
                          <a:latin typeface="Times New Roman" panose="02020603050405020304" pitchFamily="18" charset="0"/>
                          <a:ea typeface="+mn-ea"/>
                          <a:cs typeface="Times New Roman" panose="02020603050405020304" pitchFamily="18" charset="0"/>
                          <a:sym typeface="Arial"/>
                        </a:rPr>
                        <a:t>TOPLAM</a:t>
                      </a:r>
                    </a:p>
                  </a:txBody>
                  <a:tcPr marL="68580" marR="68580" marT="0" marB="0" anchor="ctr"/>
                </a:tc>
                <a:tc>
                  <a:txBody>
                    <a:bodyPr/>
                    <a:lstStyle/>
                    <a:p>
                      <a:pPr algn="ctr">
                        <a:spcBef>
                          <a:spcPts val="600"/>
                        </a:spcBef>
                        <a:spcAft>
                          <a:spcPts val="600"/>
                        </a:spcAft>
                        <a:tabLst>
                          <a:tab pos="1013460" algn="l"/>
                        </a:tabLst>
                      </a:pPr>
                      <a:r>
                        <a:rPr lang="tr-TR" sz="1600">
                          <a:effectLst/>
                          <a:latin typeface="Times New Roman" panose="02020603050405020304" pitchFamily="18" charset="0"/>
                          <a:cs typeface="Times New Roman" panose="02020603050405020304" pitchFamily="18" charset="0"/>
                        </a:rPr>
                        <a:t>1.500.000 TL</a:t>
                      </a:r>
                      <a:endParaRPr lang="tr-TR"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pPr>
                      <a:r>
                        <a:rPr lang="tr-TR" sz="1600">
                          <a:effectLst/>
                          <a:latin typeface="Times New Roman" panose="02020603050405020304" pitchFamily="18" charset="0"/>
                          <a:cs typeface="Times New Roman" panose="02020603050405020304" pitchFamily="18" charset="0"/>
                        </a:rPr>
                        <a:t>6.000.000 TL</a:t>
                      </a:r>
                      <a:endParaRPr lang="tr-TR"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600"/>
                        </a:spcBef>
                        <a:spcAft>
                          <a:spcPts val="600"/>
                        </a:spcAft>
                      </a:pPr>
                      <a:r>
                        <a:rPr lang="tr-TR" sz="1600" dirty="0">
                          <a:effectLst/>
                          <a:latin typeface="Times New Roman" panose="02020603050405020304" pitchFamily="18" charset="0"/>
                          <a:cs typeface="Times New Roman" panose="02020603050405020304" pitchFamily="18" charset="0"/>
                        </a:rPr>
                        <a:t> </a:t>
                      </a:r>
                      <a:endParaRPr lang="tr-TR"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686065589"/>
                  </a:ext>
                </a:extLst>
              </a:tr>
            </a:tbl>
          </a:graphicData>
        </a:graphic>
      </p:graphicFrame>
      <p:sp>
        <p:nvSpPr>
          <p:cNvPr id="7" name="Dikdörtgen 6"/>
          <p:cNvSpPr/>
          <p:nvPr/>
        </p:nvSpPr>
        <p:spPr>
          <a:xfrm>
            <a:off x="2570909" y="803979"/>
            <a:ext cx="4887983" cy="46307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9" b="1" i="0" u="none" strike="noStrike" kern="1200" cap="none" spc="0" normalizeH="0" baseline="0" noProof="0" dirty="0">
                <a:ln>
                  <a:noFill/>
                </a:ln>
                <a:solidFill>
                  <a:srgbClr val="FFC000"/>
                </a:solidFill>
                <a:effectLst/>
                <a:uLnTx/>
                <a:uFillTx/>
                <a:latin typeface="Times New Roman" panose="02020603050405020304" pitchFamily="18" charset="0"/>
                <a:ea typeface="ヒラギノ角ゴ Pro W3" pitchFamily="1" charset="-128"/>
                <a:cs typeface="Times New Roman" panose="02020603050405020304" pitchFamily="18" charset="0"/>
              </a:rPr>
              <a:t>Çağrı Esaslı Uygulama</a:t>
            </a:r>
          </a:p>
        </p:txBody>
      </p:sp>
      <p:sp>
        <p:nvSpPr>
          <p:cNvPr id="8" name="4 Metin kutusu">
            <a:extLst>
              <a:ext uri="{FF2B5EF4-FFF2-40B4-BE49-F238E27FC236}">
                <a16:creationId xmlns:a16="http://schemas.microsoft.com/office/drawing/2014/main" id="{0F5DDB26-F8EF-4635-9715-6609DA33135B}"/>
              </a:ext>
            </a:extLst>
          </p:cNvPr>
          <p:cNvSpPr txBox="1"/>
          <p:nvPr/>
        </p:nvSpPr>
        <p:spPr>
          <a:xfrm>
            <a:off x="2472856" y="275284"/>
            <a:ext cx="7687144"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Ar-G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Ür</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Ge v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İnovasyon</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 Destek Programı</a:t>
            </a:r>
          </a:p>
        </p:txBody>
      </p:sp>
    </p:spTree>
    <p:extLst>
      <p:ext uri="{BB962C8B-B14F-4D97-AF65-F5344CB8AC3E}">
        <p14:creationId xmlns:p14="http://schemas.microsoft.com/office/powerpoint/2010/main" val="10640499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5" name="Straight Connector 7"/>
          <p:cNvCxnSpPr/>
          <p:nvPr/>
        </p:nvCxnSpPr>
        <p:spPr>
          <a:xfrm>
            <a:off x="1945305" y="2077729"/>
            <a:ext cx="7663622"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6" name="Group 67"/>
          <p:cNvGrpSpPr>
            <a:grpSpLocks noChangeAspect="1"/>
          </p:cNvGrpSpPr>
          <p:nvPr/>
        </p:nvGrpSpPr>
        <p:grpSpPr>
          <a:xfrm>
            <a:off x="8698709" y="2078067"/>
            <a:ext cx="1714192" cy="1469890"/>
            <a:chOff x="9268877" y="1596791"/>
            <a:chExt cx="1005840" cy="1014737"/>
          </a:xfrm>
        </p:grpSpPr>
        <p:sp>
          <p:nvSpPr>
            <p:cNvPr id="254"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55"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108" name="Oval 107"/>
          <p:cNvSpPr>
            <a:spLocks noChangeAspect="1"/>
          </p:cNvSpPr>
          <p:nvPr/>
        </p:nvSpPr>
        <p:spPr>
          <a:xfrm>
            <a:off x="2674407" y="2005897"/>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20" name="Oval 119"/>
          <p:cNvSpPr>
            <a:spLocks noChangeAspect="1"/>
          </p:cNvSpPr>
          <p:nvPr/>
        </p:nvSpPr>
        <p:spPr>
          <a:xfrm>
            <a:off x="4897776" y="2005897"/>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21" name="Oval 120"/>
          <p:cNvSpPr>
            <a:spLocks noChangeAspect="1"/>
          </p:cNvSpPr>
          <p:nvPr/>
        </p:nvSpPr>
        <p:spPr>
          <a:xfrm>
            <a:off x="7026163" y="2005897"/>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dirty="0">
              <a:ln>
                <a:noFill/>
              </a:ln>
              <a:solidFill>
                <a:sysClr val="windowText" lastClr="000000"/>
              </a:solidFill>
              <a:effectLst/>
              <a:uLnTx/>
              <a:uFillTx/>
              <a:latin typeface="Calibri"/>
              <a:ea typeface="+mn-ea"/>
              <a:cs typeface="+mn-cs"/>
            </a:endParaRPr>
          </a:p>
        </p:txBody>
      </p:sp>
      <p:cxnSp>
        <p:nvCxnSpPr>
          <p:cNvPr id="122" name="Straight Connector 7"/>
          <p:cNvCxnSpPr/>
          <p:nvPr/>
        </p:nvCxnSpPr>
        <p:spPr>
          <a:xfrm>
            <a:off x="2209309" y="3544162"/>
            <a:ext cx="7339139" cy="5104"/>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3" name="Straight Connector 14"/>
          <p:cNvCxnSpPr/>
          <p:nvPr/>
        </p:nvCxnSpPr>
        <p:spPr>
          <a:xfrm flipV="1">
            <a:off x="2315968" y="5019155"/>
            <a:ext cx="7241219" cy="50"/>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4" name="TextBox 91"/>
          <p:cNvSpPr txBox="1"/>
          <p:nvPr/>
        </p:nvSpPr>
        <p:spPr>
          <a:xfrm>
            <a:off x="2333750" y="2129562"/>
            <a:ext cx="883575"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dirty="0">
                <a:ln>
                  <a:noFill/>
                </a:ln>
                <a:solidFill>
                  <a:srgbClr val="1F497D"/>
                </a:solidFill>
                <a:effectLst/>
                <a:uLnTx/>
                <a:uFillTx/>
                <a:latin typeface="Calibri"/>
                <a:ea typeface="+mn-ea"/>
                <a:cs typeface="+mn-cs"/>
              </a:rPr>
              <a:t>Başvuru</a:t>
            </a:r>
            <a:endParaRPr kumimoji="0" lang="en-US" sz="1620" b="1" i="0" u="none" strike="noStrike" kern="0" cap="none" spc="0" normalizeH="0" baseline="0" noProof="0" dirty="0">
              <a:ln>
                <a:noFill/>
              </a:ln>
              <a:solidFill>
                <a:srgbClr val="1F497D"/>
              </a:solidFill>
              <a:effectLst/>
              <a:uLnTx/>
              <a:uFillTx/>
              <a:latin typeface="Calibri"/>
              <a:ea typeface="+mn-ea"/>
              <a:cs typeface="+mn-cs"/>
            </a:endParaRPr>
          </a:p>
        </p:txBody>
      </p:sp>
      <p:sp>
        <p:nvSpPr>
          <p:cNvPr id="125" name="TextBox 92"/>
          <p:cNvSpPr txBox="1"/>
          <p:nvPr/>
        </p:nvSpPr>
        <p:spPr>
          <a:xfrm>
            <a:off x="3811649" y="2124981"/>
            <a:ext cx="2073003"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dirty="0">
                <a:ln>
                  <a:noFill/>
                </a:ln>
                <a:solidFill>
                  <a:srgbClr val="1F497D"/>
                </a:solidFill>
                <a:effectLst/>
                <a:uLnTx/>
                <a:uFillTx/>
                <a:latin typeface="Calibri"/>
                <a:ea typeface="+mn-ea"/>
                <a:cs typeface="+mn-cs"/>
              </a:rPr>
              <a:t>Başvurunun Kontrolü</a:t>
            </a:r>
            <a:r>
              <a:rPr kumimoji="0" lang="en-US" sz="1620" b="1" i="0" u="none" strike="noStrike" kern="0" cap="none" spc="0" normalizeH="0" baseline="0" noProof="0" dirty="0">
                <a:ln>
                  <a:noFill/>
                </a:ln>
                <a:solidFill>
                  <a:srgbClr val="1F497D"/>
                </a:solidFill>
                <a:effectLst/>
                <a:uLnTx/>
                <a:uFillTx/>
                <a:latin typeface="Calibri"/>
                <a:ea typeface="+mn-ea"/>
                <a:cs typeface="+mn-cs"/>
              </a:rPr>
              <a:t> </a:t>
            </a:r>
          </a:p>
        </p:txBody>
      </p:sp>
      <p:sp>
        <p:nvSpPr>
          <p:cNvPr id="127" name="TextBox 94"/>
          <p:cNvSpPr txBox="1"/>
          <p:nvPr/>
        </p:nvSpPr>
        <p:spPr>
          <a:xfrm>
            <a:off x="1378759" y="2359014"/>
            <a:ext cx="2650950" cy="690574"/>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296" b="0" i="0" u="none" strike="noStrike" kern="0" cap="none" spc="0" normalizeH="0" baseline="0" noProof="0" dirty="0">
                <a:ln>
                  <a:noFill/>
                </a:ln>
                <a:solidFill>
                  <a:srgbClr val="445469"/>
                </a:solidFill>
                <a:effectLst/>
                <a:uLnTx/>
                <a:uFillTx/>
                <a:latin typeface="Calibri"/>
                <a:ea typeface="+mn-ea"/>
                <a:cs typeface="+mn-cs"/>
              </a:rPr>
              <a:t>KOBİ </a:t>
            </a:r>
            <a:r>
              <a:rPr kumimoji="0" lang="en-US" sz="1296" b="0" i="0" u="none" strike="noStrike" kern="0" cap="none" spc="0" normalizeH="0" baseline="0" noProof="0" dirty="0" err="1">
                <a:ln>
                  <a:noFill/>
                </a:ln>
                <a:solidFill>
                  <a:srgbClr val="445469"/>
                </a:solidFill>
                <a:effectLst/>
                <a:uLnTx/>
                <a:uFillTx/>
                <a:latin typeface="Calibri"/>
                <a:ea typeface="+mn-ea"/>
                <a:cs typeface="+mn-cs"/>
              </a:rPr>
              <a:t>Bilgi</a:t>
            </a:r>
            <a:r>
              <a:rPr kumimoji="0" lang="en-US" sz="1296" b="0" i="0" u="none" strike="noStrike" kern="0" cap="none" spc="0" normalizeH="0" baseline="0" noProof="0" dirty="0">
                <a:ln>
                  <a:noFill/>
                </a:ln>
                <a:solidFill>
                  <a:srgbClr val="445469"/>
                </a:solidFill>
                <a:effectLst/>
                <a:uLnTx/>
                <a:uFillTx/>
                <a:latin typeface="Calibri"/>
                <a:ea typeface="+mn-ea"/>
                <a:cs typeface="+mn-cs"/>
              </a:rPr>
              <a:t> </a:t>
            </a:r>
            <a:r>
              <a:rPr kumimoji="0" lang="en-US" sz="1296" b="0" i="0" u="none" strike="noStrike" kern="0" cap="none" spc="0" normalizeH="0" baseline="0" noProof="0" dirty="0" err="1">
                <a:ln>
                  <a:noFill/>
                </a:ln>
                <a:solidFill>
                  <a:srgbClr val="445469"/>
                </a:solidFill>
                <a:effectLst/>
                <a:uLnTx/>
                <a:uFillTx/>
                <a:latin typeface="Calibri"/>
                <a:ea typeface="+mn-ea"/>
                <a:cs typeface="+mn-cs"/>
              </a:rPr>
              <a:t>Sistemi</a:t>
            </a:r>
            <a:r>
              <a:rPr kumimoji="0" lang="en-US" sz="1296" b="0" i="0" u="none" strike="noStrike" kern="0" cap="none" spc="0" normalizeH="0" baseline="0" noProof="0" dirty="0">
                <a:ln>
                  <a:noFill/>
                </a:ln>
                <a:solidFill>
                  <a:srgbClr val="445469"/>
                </a:solidFill>
                <a:effectLst/>
                <a:uLnTx/>
                <a:uFillTx/>
                <a:latin typeface="Calibri"/>
                <a:ea typeface="+mn-ea"/>
                <a:cs typeface="+mn-cs"/>
              </a:rPr>
              <a:t> </a:t>
            </a:r>
            <a:r>
              <a:rPr kumimoji="0" lang="en-US" sz="1296" b="0" i="0" u="none" strike="noStrike" kern="0" cap="none" spc="0" normalizeH="0" baseline="0" noProof="0" dirty="0" err="1">
                <a:ln>
                  <a:noFill/>
                </a:ln>
                <a:solidFill>
                  <a:srgbClr val="445469"/>
                </a:solidFill>
                <a:effectLst/>
                <a:uLnTx/>
                <a:uFillTx/>
                <a:latin typeface="Calibri"/>
                <a:ea typeface="+mn-ea"/>
                <a:cs typeface="+mn-cs"/>
              </a:rPr>
              <a:t>üzerinden</a:t>
            </a:r>
            <a:r>
              <a:rPr kumimoji="0" lang="en-US" sz="1296" b="0" i="0" u="none" strike="noStrike" kern="0" cap="none" spc="0" normalizeH="0" baseline="0" noProof="0" dirty="0">
                <a:ln>
                  <a:noFill/>
                </a:ln>
                <a:solidFill>
                  <a:srgbClr val="445469"/>
                </a:solidFill>
                <a:effectLst/>
                <a:uLnTx/>
                <a:uFillTx/>
                <a:latin typeface="Calibri"/>
                <a:ea typeface="+mn-ea"/>
                <a:cs typeface="+mn-cs"/>
              </a:rPr>
              <a:t>; </a:t>
            </a:r>
            <a:r>
              <a:rPr kumimoji="0" lang="en-US" sz="1296" b="0" i="0" u="none" strike="noStrike" kern="0" cap="none" spc="0" normalizeH="0" baseline="0" noProof="0" dirty="0" err="1">
                <a:ln>
                  <a:noFill/>
                </a:ln>
                <a:solidFill>
                  <a:srgbClr val="445469"/>
                </a:solidFill>
                <a:effectLst/>
                <a:uLnTx/>
                <a:uFillTx/>
                <a:latin typeface="Calibri"/>
                <a:ea typeface="+mn-ea"/>
                <a:cs typeface="+mn-cs"/>
              </a:rPr>
              <a:t>Uygulama</a:t>
            </a:r>
            <a:r>
              <a:rPr kumimoji="0" lang="en-US" sz="1296" b="0" i="0" u="none" strike="noStrike" kern="0" cap="none" spc="0" normalizeH="0" baseline="0" noProof="0" dirty="0">
                <a:ln>
                  <a:noFill/>
                </a:ln>
                <a:solidFill>
                  <a:srgbClr val="445469"/>
                </a:solidFill>
                <a:effectLst/>
                <a:uLnTx/>
                <a:uFillTx/>
                <a:latin typeface="Calibri"/>
                <a:ea typeface="+mn-ea"/>
                <a:cs typeface="+mn-cs"/>
              </a:rPr>
              <a:t> </a:t>
            </a:r>
            <a:r>
              <a:rPr kumimoji="0" lang="en-US" sz="1296" b="0" i="0" u="none" strike="noStrike" kern="0" cap="none" spc="0" normalizeH="0" baseline="0" noProof="0" dirty="0" err="1">
                <a:ln>
                  <a:noFill/>
                </a:ln>
                <a:solidFill>
                  <a:srgbClr val="445469"/>
                </a:solidFill>
                <a:effectLst/>
                <a:uLnTx/>
                <a:uFillTx/>
                <a:latin typeface="Calibri"/>
                <a:ea typeface="+mn-ea"/>
                <a:cs typeface="+mn-cs"/>
              </a:rPr>
              <a:t>Birimlerine</a:t>
            </a:r>
            <a:endParaRPr kumimoji="0" lang="tr-TR" sz="1296" b="0" i="0" u="none" strike="noStrike" kern="0" cap="none" spc="0" normalizeH="0" baseline="0" noProof="0" dirty="0">
              <a:ln>
                <a:noFill/>
              </a:ln>
              <a:solidFill>
                <a:srgbClr val="445469"/>
              </a:solidFill>
              <a:effectLst/>
              <a:uLnTx/>
              <a:uFillTx/>
              <a:latin typeface="Calibri"/>
              <a:ea typeface="+mn-ea"/>
              <a:cs typeface="+mn-cs"/>
            </a:endParaRPr>
          </a:p>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Sürekli açık program)</a:t>
            </a:r>
            <a:endPar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endParaRPr>
          </a:p>
        </p:txBody>
      </p:sp>
      <p:sp>
        <p:nvSpPr>
          <p:cNvPr id="128" name="TextBox 95"/>
          <p:cNvSpPr txBox="1"/>
          <p:nvPr/>
        </p:nvSpPr>
        <p:spPr>
          <a:xfrm>
            <a:off x="3632685" y="2391414"/>
            <a:ext cx="2350303" cy="889987"/>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srgbClr val="445469"/>
                </a:solidFill>
                <a:effectLst/>
                <a:uLnTx/>
                <a:uFillTx/>
                <a:latin typeface="Calibri"/>
                <a:ea typeface="+mn-ea"/>
                <a:cs typeface="+mn-cs"/>
              </a:rPr>
              <a:t>Değerlendirme için sevk, Düzeltme İstenmesi, Ret</a:t>
            </a:r>
          </a:p>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KOBİ Uzmanı: en geç 1 ay,</a:t>
            </a:r>
          </a:p>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KOBİ düzeltmesi: en geç 1 ay)</a:t>
            </a:r>
            <a:endPar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endParaRPr>
          </a:p>
        </p:txBody>
      </p:sp>
      <p:grpSp>
        <p:nvGrpSpPr>
          <p:cNvPr id="168" name="POWER_USER_ID_ICONS_Big_Idea"/>
          <p:cNvGrpSpPr>
            <a:grpSpLocks noChangeAspect="1"/>
          </p:cNvGrpSpPr>
          <p:nvPr>
            <p:custDataLst>
              <p:tags r:id="rId2"/>
            </p:custDataLst>
          </p:nvPr>
        </p:nvGrpSpPr>
        <p:grpSpPr bwMode="auto">
          <a:xfrm>
            <a:off x="2577747" y="1498290"/>
            <a:ext cx="412520" cy="369053"/>
            <a:chOff x="3544" y="-299"/>
            <a:chExt cx="4110" cy="4326"/>
          </a:xfrm>
          <a:solidFill>
            <a:schemeClr val="tx2"/>
          </a:solidFill>
        </p:grpSpPr>
        <p:sp>
          <p:nvSpPr>
            <p:cNvPr id="245" name="Freeform 1368"/>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6" name="Freeform 1369"/>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7" name="Freeform 1370"/>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8" name="Freeform 1371"/>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9" name="Freeform 1372"/>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0" name="Freeform 1373"/>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1" name="Freeform 1374"/>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2" name="Freeform 1375"/>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3" name="Freeform 1376"/>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71" name="POWER_USER_ID_ICONS_Crossroads"/>
          <p:cNvSpPr>
            <a:spLocks noChangeAspect="1"/>
          </p:cNvSpPr>
          <p:nvPr>
            <p:custDataLst>
              <p:tags r:id="rId3"/>
            </p:custDataLst>
          </p:nvPr>
        </p:nvSpPr>
        <p:spPr bwMode="auto">
          <a:xfrm>
            <a:off x="4796333" y="1501293"/>
            <a:ext cx="463331" cy="428710"/>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tx2"/>
          </a:solidFill>
          <a:ln>
            <a:noFill/>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173" name="POWER_USER_ID_ICONS_Cup"/>
          <p:cNvGrpSpPr>
            <a:grpSpLocks noChangeAspect="1"/>
          </p:cNvGrpSpPr>
          <p:nvPr>
            <p:custDataLst>
              <p:tags r:id="rId4"/>
            </p:custDataLst>
          </p:nvPr>
        </p:nvGrpSpPr>
        <p:grpSpPr bwMode="auto">
          <a:xfrm>
            <a:off x="9747871" y="4881387"/>
            <a:ext cx="652303" cy="598411"/>
            <a:chOff x="69" y="56"/>
            <a:chExt cx="353" cy="381"/>
          </a:xfrm>
          <a:solidFill>
            <a:schemeClr val="tx2"/>
          </a:solidFill>
        </p:grpSpPr>
        <p:sp>
          <p:nvSpPr>
            <p:cNvPr id="240" name="POWER_USER_ID_ICONS_Cup"/>
            <p:cNvSpPr>
              <a:spLocks/>
            </p:cNvSpPr>
            <p:nvPr>
              <p:custDataLst>
                <p:tags r:id="rId34"/>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1" name="POWER_USER_ID_ICONS_Cup"/>
            <p:cNvSpPr>
              <a:spLocks/>
            </p:cNvSpPr>
            <p:nvPr>
              <p:custDataLst>
                <p:tags r:id="rId35"/>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2" name="POWER_USER_ID_ICONS_Cup"/>
            <p:cNvSpPr>
              <a:spLocks/>
            </p:cNvSpPr>
            <p:nvPr>
              <p:custDataLst>
                <p:tags r:id="rId36"/>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3" name="POWER_USER_ID_ICONS_Cup"/>
            <p:cNvSpPr>
              <a:spLocks/>
            </p:cNvSpPr>
            <p:nvPr>
              <p:custDataLst>
                <p:tags r:id="rId37"/>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4" name="POWER_USER_ID_ICONS_Cup"/>
            <p:cNvSpPr>
              <a:spLocks/>
            </p:cNvSpPr>
            <p:nvPr>
              <p:custDataLst>
                <p:tags r:id="rId38"/>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177" name="POWER_USER_ID_ICONS_Flag5"/>
          <p:cNvGrpSpPr>
            <a:grpSpLocks noChangeAspect="1"/>
          </p:cNvGrpSpPr>
          <p:nvPr>
            <p:custDataLst>
              <p:tags r:id="rId5"/>
            </p:custDataLst>
          </p:nvPr>
        </p:nvGrpSpPr>
        <p:grpSpPr bwMode="auto">
          <a:xfrm>
            <a:off x="1363842" y="1670255"/>
            <a:ext cx="422239" cy="462263"/>
            <a:chOff x="8" y="5"/>
            <a:chExt cx="368" cy="474"/>
          </a:xfrm>
          <a:solidFill>
            <a:schemeClr val="tx2"/>
          </a:solidFill>
        </p:grpSpPr>
        <p:sp>
          <p:nvSpPr>
            <p:cNvPr id="226" name="POWER_USER_ID_ICONS_Flag5"/>
            <p:cNvSpPr>
              <a:spLocks/>
            </p:cNvSpPr>
            <p:nvPr>
              <p:custDataLst>
                <p:tags r:id="rId20"/>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7" name="POWER_USER_ID_ICONS_Flag5"/>
            <p:cNvSpPr>
              <a:spLocks noChangeArrowheads="1"/>
            </p:cNvSpPr>
            <p:nvPr>
              <p:custDataLst>
                <p:tags r:id="rId21"/>
              </p:custDataLst>
            </p:nvPr>
          </p:nvSpPr>
          <p:spPr bwMode="auto">
            <a:xfrm>
              <a:off x="34" y="26"/>
              <a:ext cx="55"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8" name="POWER_USER_ID_ICONS_Flag5"/>
            <p:cNvSpPr>
              <a:spLocks noChangeArrowheads="1"/>
            </p:cNvSpPr>
            <p:nvPr>
              <p:custDataLst>
                <p:tags r:id="rId22"/>
              </p:custDataLst>
            </p:nvPr>
          </p:nvSpPr>
          <p:spPr bwMode="auto">
            <a:xfrm>
              <a:off x="88" y="81"/>
              <a:ext cx="56"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9" name="POWER_USER_ID_ICONS_Flag5"/>
            <p:cNvSpPr>
              <a:spLocks noChangeArrowheads="1"/>
            </p:cNvSpPr>
            <p:nvPr>
              <p:custDataLst>
                <p:tags r:id="rId23"/>
              </p:custDataLst>
            </p:nvPr>
          </p:nvSpPr>
          <p:spPr bwMode="auto">
            <a:xfrm>
              <a:off x="34" y="136"/>
              <a:ext cx="55"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0" name="POWER_USER_ID_ICONS_Flag5"/>
            <p:cNvSpPr>
              <a:spLocks noChangeArrowheads="1"/>
            </p:cNvSpPr>
            <p:nvPr>
              <p:custDataLst>
                <p:tags r:id="rId24"/>
              </p:custDataLst>
            </p:nvPr>
          </p:nvSpPr>
          <p:spPr bwMode="auto">
            <a:xfrm>
              <a:off x="88" y="191"/>
              <a:ext cx="56"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1" name="POWER_USER_ID_ICONS_Flag5"/>
            <p:cNvSpPr>
              <a:spLocks noChangeArrowheads="1"/>
            </p:cNvSpPr>
            <p:nvPr>
              <p:custDataLst>
                <p:tags r:id="rId25"/>
              </p:custDataLst>
            </p:nvPr>
          </p:nvSpPr>
          <p:spPr bwMode="auto">
            <a:xfrm>
              <a:off x="144" y="26"/>
              <a:ext cx="54"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2" name="POWER_USER_ID_ICONS_Flag5"/>
            <p:cNvSpPr>
              <a:spLocks noChangeArrowheads="1"/>
            </p:cNvSpPr>
            <p:nvPr>
              <p:custDataLst>
                <p:tags r:id="rId26"/>
              </p:custDataLst>
            </p:nvPr>
          </p:nvSpPr>
          <p:spPr bwMode="auto">
            <a:xfrm>
              <a:off x="198" y="81"/>
              <a:ext cx="55"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3" name="POWER_USER_ID_ICONS_Flag5"/>
            <p:cNvSpPr>
              <a:spLocks noChangeArrowheads="1"/>
            </p:cNvSpPr>
            <p:nvPr>
              <p:custDataLst>
                <p:tags r:id="rId27"/>
              </p:custDataLst>
            </p:nvPr>
          </p:nvSpPr>
          <p:spPr bwMode="auto">
            <a:xfrm>
              <a:off x="144" y="136"/>
              <a:ext cx="54"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4" name="POWER_USER_ID_ICONS_Flag5"/>
            <p:cNvSpPr>
              <a:spLocks noChangeArrowheads="1"/>
            </p:cNvSpPr>
            <p:nvPr>
              <p:custDataLst>
                <p:tags r:id="rId28"/>
              </p:custDataLst>
            </p:nvPr>
          </p:nvSpPr>
          <p:spPr bwMode="auto">
            <a:xfrm>
              <a:off x="198" y="191"/>
              <a:ext cx="55"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5" name="POWER_USER_ID_ICONS_Flag5"/>
            <p:cNvSpPr>
              <a:spLocks noChangeArrowheads="1"/>
            </p:cNvSpPr>
            <p:nvPr>
              <p:custDataLst>
                <p:tags r:id="rId29"/>
              </p:custDataLst>
            </p:nvPr>
          </p:nvSpPr>
          <p:spPr bwMode="auto">
            <a:xfrm>
              <a:off x="253" y="26"/>
              <a:ext cx="56"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6" name="POWER_USER_ID_ICONS_Flag5"/>
            <p:cNvSpPr>
              <a:spLocks noChangeArrowheads="1"/>
            </p:cNvSpPr>
            <p:nvPr>
              <p:custDataLst>
                <p:tags r:id="rId30"/>
              </p:custDataLst>
            </p:nvPr>
          </p:nvSpPr>
          <p:spPr bwMode="auto">
            <a:xfrm>
              <a:off x="309" y="81"/>
              <a:ext cx="54"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7" name="POWER_USER_ID_ICONS_Flag5"/>
            <p:cNvSpPr>
              <a:spLocks noChangeArrowheads="1"/>
            </p:cNvSpPr>
            <p:nvPr>
              <p:custDataLst>
                <p:tags r:id="rId31"/>
              </p:custDataLst>
            </p:nvPr>
          </p:nvSpPr>
          <p:spPr bwMode="auto">
            <a:xfrm>
              <a:off x="253" y="136"/>
              <a:ext cx="56"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8" name="POWER_USER_ID_ICONS_Flag5"/>
            <p:cNvSpPr>
              <a:spLocks noChangeArrowheads="1"/>
            </p:cNvSpPr>
            <p:nvPr>
              <p:custDataLst>
                <p:tags r:id="rId32"/>
              </p:custDataLst>
            </p:nvPr>
          </p:nvSpPr>
          <p:spPr bwMode="auto">
            <a:xfrm>
              <a:off x="309" y="191"/>
              <a:ext cx="54"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9" name="POWER_USER_ID_ICONS_Flag5"/>
            <p:cNvSpPr>
              <a:spLocks noEditPoints="1"/>
            </p:cNvSpPr>
            <p:nvPr>
              <p:custDataLst>
                <p:tags r:id="rId33"/>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178" name="Group 154"/>
          <p:cNvGrpSpPr>
            <a:grpSpLocks noChangeAspect="1"/>
          </p:cNvGrpSpPr>
          <p:nvPr/>
        </p:nvGrpSpPr>
        <p:grpSpPr>
          <a:xfrm rot="10800000">
            <a:off x="1492089" y="3549314"/>
            <a:ext cx="1714192" cy="1469890"/>
            <a:chOff x="9268877" y="1596791"/>
            <a:chExt cx="1005840" cy="1014737"/>
          </a:xfrm>
        </p:grpSpPr>
        <p:sp>
          <p:nvSpPr>
            <p:cNvPr id="224"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5" name="Arc 156"/>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79" name="Oval 178"/>
          <p:cNvSpPr>
            <a:spLocks noChangeAspect="1"/>
          </p:cNvSpPr>
          <p:nvPr/>
        </p:nvSpPr>
        <p:spPr>
          <a:xfrm>
            <a:off x="3195819" y="4943325"/>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0" name="Oval 179"/>
          <p:cNvSpPr>
            <a:spLocks noChangeAspect="1"/>
          </p:cNvSpPr>
          <p:nvPr/>
        </p:nvSpPr>
        <p:spPr>
          <a:xfrm>
            <a:off x="4748227" y="3462805"/>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4" name="TextBox 160"/>
          <p:cNvSpPr txBox="1"/>
          <p:nvPr/>
        </p:nvSpPr>
        <p:spPr>
          <a:xfrm>
            <a:off x="8752663" y="2091784"/>
            <a:ext cx="853119"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620" b="1" i="0" u="none" strike="noStrike" kern="0" cap="none" spc="0" normalizeH="0" baseline="0" noProof="0" dirty="0">
                <a:ln>
                  <a:noFill/>
                </a:ln>
                <a:solidFill>
                  <a:srgbClr val="1F497D"/>
                </a:solidFill>
                <a:effectLst/>
                <a:uLnTx/>
                <a:uFillTx/>
                <a:latin typeface="Calibri"/>
                <a:ea typeface="+mn-ea"/>
                <a:cs typeface="+mn-cs"/>
              </a:rPr>
              <a:t>K</a:t>
            </a:r>
            <a:r>
              <a:rPr kumimoji="0" lang="tr-TR" sz="1620" b="1" i="0" u="none" strike="noStrike" kern="0" cap="none" spc="0" normalizeH="0" baseline="0" noProof="0" dirty="0" err="1">
                <a:ln>
                  <a:noFill/>
                </a:ln>
                <a:solidFill>
                  <a:srgbClr val="1F497D"/>
                </a:solidFill>
                <a:effectLst/>
                <a:uLnTx/>
                <a:uFillTx/>
                <a:latin typeface="Calibri"/>
                <a:ea typeface="+mn-ea"/>
                <a:cs typeface="+mn-cs"/>
              </a:rPr>
              <a:t>omite</a:t>
            </a:r>
            <a:r>
              <a:rPr kumimoji="0" lang="en-US" sz="1620" b="1" i="0" u="none" strike="noStrike" kern="0" cap="none" spc="0" normalizeH="0" baseline="0" noProof="0" dirty="0">
                <a:ln>
                  <a:noFill/>
                </a:ln>
                <a:solidFill>
                  <a:srgbClr val="1F497D"/>
                </a:solidFill>
                <a:effectLst/>
                <a:uLnTx/>
                <a:uFillTx/>
                <a:latin typeface="Calibri"/>
                <a:ea typeface="+mn-ea"/>
                <a:cs typeface="+mn-cs"/>
              </a:rPr>
              <a:t> </a:t>
            </a:r>
          </a:p>
        </p:txBody>
      </p:sp>
      <p:sp>
        <p:nvSpPr>
          <p:cNvPr id="185" name="TextBox 161"/>
          <p:cNvSpPr txBox="1"/>
          <p:nvPr/>
        </p:nvSpPr>
        <p:spPr>
          <a:xfrm>
            <a:off x="7708581" y="3659225"/>
            <a:ext cx="2348720"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dirty="0">
                <a:ln>
                  <a:noFill/>
                </a:ln>
                <a:solidFill>
                  <a:srgbClr val="1F497D"/>
                </a:solidFill>
                <a:effectLst/>
                <a:uLnTx/>
                <a:uFillTx/>
                <a:latin typeface="Calibri"/>
                <a:ea typeface="+mn-ea"/>
                <a:cs typeface="+mn-cs"/>
              </a:rPr>
              <a:t>Faaliyetlerin Yürütülmesi</a:t>
            </a:r>
            <a:endParaRPr kumimoji="0" lang="en-US" sz="1620" b="1" i="0" u="none" strike="noStrike" kern="0" cap="none" spc="0" normalizeH="0" baseline="0" noProof="0" dirty="0">
              <a:ln>
                <a:noFill/>
              </a:ln>
              <a:solidFill>
                <a:srgbClr val="1F497D"/>
              </a:solidFill>
              <a:effectLst/>
              <a:uLnTx/>
              <a:uFillTx/>
              <a:latin typeface="Calibri"/>
              <a:ea typeface="+mn-ea"/>
              <a:cs typeface="+mn-cs"/>
            </a:endParaRPr>
          </a:p>
        </p:txBody>
      </p:sp>
      <p:sp>
        <p:nvSpPr>
          <p:cNvPr id="186" name="TextBox 164"/>
          <p:cNvSpPr txBox="1"/>
          <p:nvPr/>
        </p:nvSpPr>
        <p:spPr>
          <a:xfrm>
            <a:off x="2846178" y="5156434"/>
            <a:ext cx="861133"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620" b="1" i="0" u="none" strike="noStrike" kern="0" cap="none" spc="0" normalizeH="0" baseline="0" noProof="0">
                <a:ln>
                  <a:noFill/>
                </a:ln>
                <a:solidFill>
                  <a:srgbClr val="1F497D"/>
                </a:solidFill>
                <a:effectLst/>
                <a:uLnTx/>
                <a:uFillTx/>
                <a:latin typeface="Calibri"/>
                <a:ea typeface="+mn-ea"/>
                <a:cs typeface="+mn-cs"/>
              </a:rPr>
              <a:t>Ödeme </a:t>
            </a:r>
          </a:p>
        </p:txBody>
      </p:sp>
      <p:sp>
        <p:nvSpPr>
          <p:cNvPr id="205" name="Oval 204"/>
          <p:cNvSpPr>
            <a:spLocks noChangeAspect="1"/>
          </p:cNvSpPr>
          <p:nvPr/>
        </p:nvSpPr>
        <p:spPr>
          <a:xfrm>
            <a:off x="5351235" y="4937796"/>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6" name="Oval 205"/>
          <p:cNvSpPr>
            <a:spLocks noChangeAspect="1"/>
          </p:cNvSpPr>
          <p:nvPr/>
        </p:nvSpPr>
        <p:spPr>
          <a:xfrm>
            <a:off x="8007157" y="4911084"/>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7" name="TextBox 169"/>
          <p:cNvSpPr txBox="1"/>
          <p:nvPr/>
        </p:nvSpPr>
        <p:spPr>
          <a:xfrm>
            <a:off x="4376167" y="5127268"/>
            <a:ext cx="2276585"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a:ln>
                  <a:noFill/>
                </a:ln>
                <a:solidFill>
                  <a:srgbClr val="1F497D"/>
                </a:solidFill>
                <a:effectLst/>
                <a:uLnTx/>
                <a:uFillTx/>
                <a:latin typeface="Calibri"/>
                <a:ea typeface="+mn-ea"/>
                <a:cs typeface="+mn-cs"/>
              </a:rPr>
              <a:t>Projenin Tamamlanması</a:t>
            </a:r>
            <a:endParaRPr kumimoji="0" lang="en-US" sz="1620" b="1" i="0" u="none" strike="noStrike" kern="0" cap="none" spc="0" normalizeH="0" baseline="0" noProof="0">
              <a:ln>
                <a:noFill/>
              </a:ln>
              <a:solidFill>
                <a:srgbClr val="1F497D"/>
              </a:solidFill>
              <a:effectLst/>
              <a:uLnTx/>
              <a:uFillTx/>
              <a:latin typeface="Calibri"/>
              <a:ea typeface="+mn-ea"/>
              <a:cs typeface="+mn-cs"/>
            </a:endParaRPr>
          </a:p>
        </p:txBody>
      </p:sp>
      <p:sp>
        <p:nvSpPr>
          <p:cNvPr id="208" name="TextBox 171"/>
          <p:cNvSpPr txBox="1"/>
          <p:nvPr/>
        </p:nvSpPr>
        <p:spPr>
          <a:xfrm>
            <a:off x="3982906" y="5436127"/>
            <a:ext cx="2978713" cy="291747"/>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296" b="1" i="0" u="none" strike="noStrike" kern="0" cap="none" spc="0" normalizeH="0" baseline="0" noProof="0" dirty="0">
                <a:ln>
                  <a:noFill/>
                </a:ln>
                <a:solidFill>
                  <a:srgbClr val="445469"/>
                </a:solidFill>
                <a:effectLst/>
                <a:uLnTx/>
                <a:uFillTx/>
                <a:latin typeface="Calibri"/>
                <a:ea typeface="+mn-ea"/>
                <a:cs typeface="+mn-cs"/>
              </a:rPr>
              <a:t>Yatırım </a:t>
            </a:r>
            <a:r>
              <a:rPr kumimoji="0" lang="en-US" sz="1296" b="1" i="0" u="none" strike="noStrike" kern="0" cap="none" spc="0" normalizeH="0" baseline="0" noProof="0" dirty="0" err="1">
                <a:ln>
                  <a:noFill/>
                </a:ln>
                <a:solidFill>
                  <a:srgbClr val="445469"/>
                </a:solidFill>
                <a:effectLst/>
                <a:uLnTx/>
                <a:uFillTx/>
                <a:latin typeface="Calibri"/>
                <a:ea typeface="+mn-ea"/>
                <a:cs typeface="+mn-cs"/>
              </a:rPr>
              <a:t>projesin</a:t>
            </a:r>
            <a:r>
              <a:rPr kumimoji="0" lang="tr-TR" sz="1296" b="1" i="0" u="none" strike="noStrike" kern="0" cap="none" spc="0" normalizeH="0" baseline="0" noProof="0" dirty="0">
                <a:ln>
                  <a:noFill/>
                </a:ln>
                <a:solidFill>
                  <a:srgbClr val="445469"/>
                </a:solidFill>
                <a:effectLst/>
                <a:uLnTx/>
                <a:uFillTx/>
                <a:latin typeface="Calibri"/>
                <a:ea typeface="+mn-ea"/>
                <a:cs typeface="+mn-cs"/>
              </a:rPr>
              <a:t>in</a:t>
            </a:r>
            <a:r>
              <a:rPr kumimoji="0" lang="en-US" sz="1296" b="1" i="0" u="none" strike="noStrike" kern="0" cap="none" spc="0" normalizeH="0" baseline="0" noProof="0" dirty="0">
                <a:ln>
                  <a:noFill/>
                </a:ln>
                <a:solidFill>
                  <a:srgbClr val="445469"/>
                </a:solidFill>
                <a:effectLst/>
                <a:uLnTx/>
                <a:uFillTx/>
                <a:latin typeface="Calibri"/>
                <a:ea typeface="+mn-ea"/>
                <a:cs typeface="+mn-cs"/>
              </a:rPr>
              <a:t> </a:t>
            </a:r>
            <a:r>
              <a:rPr kumimoji="0" lang="en-US" sz="1296" b="1" i="0" u="none" strike="noStrike" kern="0" cap="none" spc="0" normalizeH="0" baseline="0" noProof="0" dirty="0" err="1">
                <a:ln>
                  <a:noFill/>
                </a:ln>
                <a:solidFill>
                  <a:srgbClr val="445469"/>
                </a:solidFill>
                <a:effectLst/>
                <a:uLnTx/>
                <a:uFillTx/>
                <a:latin typeface="Calibri"/>
                <a:ea typeface="+mn-ea"/>
                <a:cs typeface="+mn-cs"/>
              </a:rPr>
              <a:t>tamamlanması</a:t>
            </a:r>
            <a:endParaRPr kumimoji="0" lang="en-US" sz="1296" b="1" i="0" u="none" strike="noStrike" kern="0" cap="none" spc="0" normalizeH="0" baseline="0" noProof="0" dirty="0">
              <a:ln>
                <a:noFill/>
              </a:ln>
              <a:solidFill>
                <a:srgbClr val="445469"/>
              </a:solidFill>
              <a:effectLst/>
              <a:uLnTx/>
              <a:uFillTx/>
              <a:latin typeface="Calibri"/>
              <a:ea typeface="+mn-ea"/>
              <a:cs typeface="+mn-cs"/>
            </a:endParaRPr>
          </a:p>
        </p:txBody>
      </p:sp>
      <p:sp>
        <p:nvSpPr>
          <p:cNvPr id="209" name="TextBox 173"/>
          <p:cNvSpPr txBox="1"/>
          <p:nvPr/>
        </p:nvSpPr>
        <p:spPr>
          <a:xfrm>
            <a:off x="7340950" y="5087831"/>
            <a:ext cx="1774845"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a:ln>
                  <a:noFill/>
                </a:ln>
                <a:solidFill>
                  <a:srgbClr val="1F497D"/>
                </a:solidFill>
                <a:effectLst/>
                <a:uLnTx/>
                <a:uFillTx/>
                <a:latin typeface="Calibri"/>
                <a:ea typeface="+mn-ea"/>
                <a:cs typeface="+mn-cs"/>
              </a:rPr>
              <a:t>Projenin İzlenmesi</a:t>
            </a:r>
            <a:endParaRPr kumimoji="0" lang="en-US" sz="1620" b="1" i="0" u="none" strike="noStrike" kern="0" cap="none" spc="0" normalizeH="0" baseline="0" noProof="0">
              <a:ln>
                <a:noFill/>
              </a:ln>
              <a:solidFill>
                <a:srgbClr val="1F497D"/>
              </a:solidFill>
              <a:effectLst/>
              <a:uLnTx/>
              <a:uFillTx/>
              <a:latin typeface="Calibri"/>
              <a:ea typeface="+mn-ea"/>
              <a:cs typeface="+mn-cs"/>
            </a:endParaRPr>
          </a:p>
        </p:txBody>
      </p:sp>
      <p:sp>
        <p:nvSpPr>
          <p:cNvPr id="210" name="TextBox 174"/>
          <p:cNvSpPr txBox="1"/>
          <p:nvPr/>
        </p:nvSpPr>
        <p:spPr>
          <a:xfrm>
            <a:off x="6685038" y="5362102"/>
            <a:ext cx="3037177" cy="291747"/>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1" i="0" u="none" strike="noStrike" kern="0" cap="none" spc="0" normalizeH="0" baseline="0" noProof="0" dirty="0">
                <a:ln>
                  <a:noFill/>
                </a:ln>
                <a:solidFill>
                  <a:srgbClr val="445469"/>
                </a:solidFill>
                <a:effectLst/>
                <a:uLnTx/>
                <a:uFillTx/>
                <a:latin typeface="Calibri"/>
                <a:ea typeface="+mn-ea"/>
                <a:cs typeface="+mn-cs"/>
              </a:rPr>
              <a:t>3</a:t>
            </a:r>
            <a:r>
              <a:rPr kumimoji="0" lang="en-US" sz="1296" b="1" i="0" u="none" strike="noStrike" kern="0" cap="none" spc="0" normalizeH="0" baseline="0" noProof="0" dirty="0">
                <a:ln>
                  <a:noFill/>
                </a:ln>
                <a:solidFill>
                  <a:srgbClr val="445469"/>
                </a:solidFill>
                <a:effectLst/>
                <a:uLnTx/>
                <a:uFillTx/>
                <a:latin typeface="Calibri"/>
                <a:ea typeface="+mn-ea"/>
                <a:cs typeface="+mn-cs"/>
              </a:rPr>
              <a:t> </a:t>
            </a:r>
            <a:r>
              <a:rPr kumimoji="0" lang="en-US" sz="1296" b="1" i="0" u="none" strike="noStrike" kern="0" cap="none" spc="0" normalizeH="0" baseline="0" noProof="0" dirty="0" err="1">
                <a:ln>
                  <a:noFill/>
                </a:ln>
                <a:solidFill>
                  <a:srgbClr val="445469"/>
                </a:solidFill>
                <a:effectLst/>
                <a:uLnTx/>
                <a:uFillTx/>
                <a:latin typeface="Calibri"/>
                <a:ea typeface="+mn-ea"/>
                <a:cs typeface="+mn-cs"/>
              </a:rPr>
              <a:t>yıl</a:t>
            </a:r>
            <a:r>
              <a:rPr kumimoji="0" lang="en-US" sz="1296" b="1" i="0" u="none" strike="noStrike" kern="0" cap="none" spc="0" normalizeH="0" baseline="0" noProof="0" dirty="0">
                <a:ln>
                  <a:noFill/>
                </a:ln>
                <a:solidFill>
                  <a:srgbClr val="445469"/>
                </a:solidFill>
                <a:effectLst/>
                <a:uLnTx/>
                <a:uFillTx/>
                <a:latin typeface="Calibri"/>
                <a:ea typeface="+mn-ea"/>
                <a:cs typeface="+mn-cs"/>
              </a:rPr>
              <a:t> </a:t>
            </a:r>
            <a:r>
              <a:rPr kumimoji="0" lang="en-US" sz="1296" b="1" i="0" u="none" strike="noStrike" kern="0" cap="none" spc="0" normalizeH="0" baseline="0" noProof="0" dirty="0" err="1">
                <a:ln>
                  <a:noFill/>
                </a:ln>
                <a:solidFill>
                  <a:srgbClr val="445469"/>
                </a:solidFill>
                <a:effectLst/>
                <a:uLnTx/>
                <a:uFillTx/>
                <a:latin typeface="Calibri"/>
                <a:ea typeface="+mn-ea"/>
                <a:cs typeface="+mn-cs"/>
              </a:rPr>
              <a:t>boyunca</a:t>
            </a:r>
            <a:r>
              <a:rPr kumimoji="0" lang="en-US" sz="1296" b="1" i="0" u="none" strike="noStrike" kern="0" cap="none" spc="0" normalizeH="0" baseline="0" noProof="0" dirty="0">
                <a:ln>
                  <a:noFill/>
                </a:ln>
                <a:solidFill>
                  <a:srgbClr val="445469"/>
                </a:solidFill>
                <a:effectLst/>
                <a:uLnTx/>
                <a:uFillTx/>
                <a:latin typeface="Calibri"/>
                <a:ea typeface="+mn-ea"/>
                <a:cs typeface="+mn-cs"/>
              </a:rPr>
              <a:t> </a:t>
            </a:r>
            <a:r>
              <a:rPr kumimoji="0" lang="en-US" sz="1296" b="1" i="0" u="none" strike="noStrike" kern="0" cap="none" spc="0" normalizeH="0" baseline="0" noProof="0" dirty="0" err="1">
                <a:ln>
                  <a:noFill/>
                </a:ln>
                <a:solidFill>
                  <a:srgbClr val="445469"/>
                </a:solidFill>
                <a:effectLst/>
                <a:uLnTx/>
                <a:uFillTx/>
                <a:latin typeface="Calibri"/>
                <a:ea typeface="+mn-ea"/>
                <a:cs typeface="+mn-cs"/>
              </a:rPr>
              <a:t>işletmenin</a:t>
            </a:r>
            <a:r>
              <a:rPr kumimoji="0" lang="en-US" sz="1296" b="1" i="0" u="none" strike="noStrike" kern="0" cap="none" spc="0" normalizeH="0" baseline="0" noProof="0" dirty="0">
                <a:ln>
                  <a:noFill/>
                </a:ln>
                <a:solidFill>
                  <a:srgbClr val="445469"/>
                </a:solidFill>
                <a:effectLst/>
                <a:uLnTx/>
                <a:uFillTx/>
                <a:latin typeface="Calibri"/>
                <a:ea typeface="+mn-ea"/>
                <a:cs typeface="+mn-cs"/>
              </a:rPr>
              <a:t> her </a:t>
            </a:r>
            <a:r>
              <a:rPr kumimoji="0" lang="en-US" sz="1296" b="1" i="0" u="none" strike="noStrike" kern="0" cap="none" spc="0" normalizeH="0" baseline="0" noProof="0" dirty="0" err="1">
                <a:ln>
                  <a:noFill/>
                </a:ln>
                <a:solidFill>
                  <a:srgbClr val="445469"/>
                </a:solidFill>
                <a:effectLst/>
                <a:uLnTx/>
                <a:uFillTx/>
                <a:latin typeface="Calibri"/>
                <a:ea typeface="+mn-ea"/>
                <a:cs typeface="+mn-cs"/>
              </a:rPr>
              <a:t>yıl</a:t>
            </a:r>
            <a:r>
              <a:rPr kumimoji="0" lang="en-US" sz="1296" b="1" i="0" u="none" strike="noStrike" kern="0" cap="none" spc="0" normalizeH="0" baseline="0" noProof="0" dirty="0">
                <a:ln>
                  <a:noFill/>
                </a:ln>
                <a:solidFill>
                  <a:srgbClr val="445469"/>
                </a:solidFill>
                <a:effectLst/>
                <a:uLnTx/>
                <a:uFillTx/>
                <a:latin typeface="Calibri"/>
                <a:ea typeface="+mn-ea"/>
                <a:cs typeface="+mn-cs"/>
              </a:rPr>
              <a:t> </a:t>
            </a:r>
            <a:r>
              <a:rPr kumimoji="0" lang="en-US" sz="1296" b="1" i="0" u="none" strike="noStrike" kern="0" cap="none" spc="0" normalizeH="0" baseline="0" noProof="0" dirty="0" err="1">
                <a:ln>
                  <a:noFill/>
                </a:ln>
                <a:solidFill>
                  <a:srgbClr val="445469"/>
                </a:solidFill>
                <a:effectLst/>
                <a:uLnTx/>
                <a:uFillTx/>
                <a:latin typeface="Calibri"/>
                <a:ea typeface="+mn-ea"/>
                <a:cs typeface="+mn-cs"/>
              </a:rPr>
              <a:t>izlenmesi</a:t>
            </a:r>
            <a:endParaRPr kumimoji="0" lang="en-US" sz="1296" b="1" i="0" u="none" strike="noStrike" kern="0" cap="none" spc="0" normalizeH="0" baseline="0" noProof="0" dirty="0">
              <a:ln>
                <a:noFill/>
              </a:ln>
              <a:solidFill>
                <a:srgbClr val="445469"/>
              </a:solidFill>
              <a:effectLst/>
              <a:uLnTx/>
              <a:uFillTx/>
              <a:latin typeface="Calibri"/>
              <a:ea typeface="+mn-ea"/>
              <a:cs typeface="+mn-cs"/>
            </a:endParaRPr>
          </a:p>
        </p:txBody>
      </p:sp>
      <p:sp>
        <p:nvSpPr>
          <p:cNvPr id="211" name="POWER_USER_ID_ICONS_Board"/>
          <p:cNvSpPr>
            <a:spLocks noChangeAspect="1" noEditPoints="1"/>
          </p:cNvSpPr>
          <p:nvPr>
            <p:custDataLst>
              <p:tags r:id="rId6"/>
            </p:custDataLst>
          </p:nvPr>
        </p:nvSpPr>
        <p:spPr bwMode="auto">
          <a:xfrm>
            <a:off x="9055687" y="4051216"/>
            <a:ext cx="360894" cy="389737"/>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tx2"/>
          </a:solidFill>
          <a:ln>
            <a:noFill/>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2" name="POWER_USER_ID_ICONS_Stopwatch5"/>
          <p:cNvSpPr>
            <a:spLocks noChangeAspect="1" noEditPoints="1"/>
          </p:cNvSpPr>
          <p:nvPr>
            <p:custDataLst>
              <p:tags r:id="rId7"/>
            </p:custDataLst>
          </p:nvPr>
        </p:nvSpPr>
        <p:spPr bwMode="auto">
          <a:xfrm>
            <a:off x="5179119" y="4489731"/>
            <a:ext cx="472516" cy="297892"/>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tx2"/>
          </a:solidFill>
          <a:ln>
            <a:noFill/>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213" name="POWER_USER_ID_ICONS_Poll"/>
          <p:cNvGrpSpPr>
            <a:grpSpLocks noChangeAspect="1"/>
          </p:cNvGrpSpPr>
          <p:nvPr>
            <p:custDataLst>
              <p:tags r:id="rId8"/>
            </p:custDataLst>
          </p:nvPr>
        </p:nvGrpSpPr>
        <p:grpSpPr bwMode="auto">
          <a:xfrm>
            <a:off x="7876520" y="4595835"/>
            <a:ext cx="421500" cy="221851"/>
            <a:chOff x="74" y="94"/>
            <a:chExt cx="276" cy="358"/>
          </a:xfrm>
          <a:solidFill>
            <a:schemeClr val="tx2"/>
          </a:solidFill>
        </p:grpSpPr>
        <p:sp>
          <p:nvSpPr>
            <p:cNvPr id="214" name="POWER_USER_ID_ICONS_Poll"/>
            <p:cNvSpPr>
              <a:spLocks/>
            </p:cNvSpPr>
            <p:nvPr>
              <p:custDataLst>
                <p:tags r:id="rId10"/>
              </p:custDataLst>
            </p:nvPr>
          </p:nvSpPr>
          <p:spPr bwMode="auto">
            <a:xfrm>
              <a:off x="74" y="94"/>
              <a:ext cx="273" cy="280"/>
            </a:xfrm>
            <a:custGeom>
              <a:avLst/>
              <a:gdLst>
                <a:gd name="T0" fmla="*/ 900 w 900"/>
                <a:gd name="T1" fmla="*/ 900 h 900"/>
                <a:gd name="T2" fmla="*/ 0 w 900"/>
                <a:gd name="T3" fmla="*/ 900 h 900"/>
                <a:gd name="T4" fmla="*/ 0 w 900"/>
                <a:gd name="T5" fmla="*/ 0 h 900"/>
                <a:gd name="T6" fmla="*/ 15 w 900"/>
                <a:gd name="T7" fmla="*/ 0 h 900"/>
                <a:gd name="T8" fmla="*/ 15 w 900"/>
                <a:gd name="T9" fmla="*/ 885 h 900"/>
                <a:gd name="T10" fmla="*/ 900 w 900"/>
                <a:gd name="T11" fmla="*/ 885 h 900"/>
                <a:gd name="T12" fmla="*/ 900 w 900"/>
                <a:gd name="T13" fmla="*/ 900 h 900"/>
              </a:gdLst>
              <a:ahLst/>
              <a:cxnLst>
                <a:cxn ang="0">
                  <a:pos x="T0" y="T1"/>
                </a:cxn>
                <a:cxn ang="0">
                  <a:pos x="T2" y="T3"/>
                </a:cxn>
                <a:cxn ang="0">
                  <a:pos x="T4" y="T5"/>
                </a:cxn>
                <a:cxn ang="0">
                  <a:pos x="T6" y="T7"/>
                </a:cxn>
                <a:cxn ang="0">
                  <a:pos x="T8" y="T9"/>
                </a:cxn>
                <a:cxn ang="0">
                  <a:pos x="T10" y="T11"/>
                </a:cxn>
                <a:cxn ang="0">
                  <a:pos x="T12" y="T13"/>
                </a:cxn>
              </a:cxnLst>
              <a:rect l="0" t="0" r="r" b="b"/>
              <a:pathLst>
                <a:path w="900" h="900">
                  <a:moveTo>
                    <a:pt x="900" y="900"/>
                  </a:moveTo>
                  <a:lnTo>
                    <a:pt x="0" y="900"/>
                  </a:lnTo>
                  <a:lnTo>
                    <a:pt x="0" y="0"/>
                  </a:lnTo>
                  <a:lnTo>
                    <a:pt x="15" y="0"/>
                  </a:lnTo>
                  <a:lnTo>
                    <a:pt x="15" y="885"/>
                  </a:lnTo>
                  <a:lnTo>
                    <a:pt x="900" y="885"/>
                  </a:lnTo>
                  <a:lnTo>
                    <a:pt x="900" y="900"/>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5" name="POWER_USER_ID_ICONS_Poll"/>
            <p:cNvSpPr>
              <a:spLocks noEditPoints="1"/>
            </p:cNvSpPr>
            <p:nvPr>
              <p:custDataLst>
                <p:tags r:id="rId11"/>
              </p:custDataLst>
            </p:nvPr>
          </p:nvSpPr>
          <p:spPr bwMode="auto">
            <a:xfrm>
              <a:off x="113" y="129"/>
              <a:ext cx="52" cy="210"/>
            </a:xfrm>
            <a:custGeom>
              <a:avLst/>
              <a:gdLst>
                <a:gd name="T0" fmla="*/ 172 w 172"/>
                <a:gd name="T1" fmla="*/ 676 h 676"/>
                <a:gd name="T2" fmla="*/ 0 w 172"/>
                <a:gd name="T3" fmla="*/ 676 h 676"/>
                <a:gd name="T4" fmla="*/ 0 w 172"/>
                <a:gd name="T5" fmla="*/ 0 h 676"/>
                <a:gd name="T6" fmla="*/ 172 w 172"/>
                <a:gd name="T7" fmla="*/ 0 h 676"/>
                <a:gd name="T8" fmla="*/ 172 w 172"/>
                <a:gd name="T9" fmla="*/ 676 h 676"/>
                <a:gd name="T10" fmla="*/ 15 w 172"/>
                <a:gd name="T11" fmla="*/ 661 h 676"/>
                <a:gd name="T12" fmla="*/ 157 w 172"/>
                <a:gd name="T13" fmla="*/ 661 h 676"/>
                <a:gd name="T14" fmla="*/ 157 w 172"/>
                <a:gd name="T15" fmla="*/ 15 h 676"/>
                <a:gd name="T16" fmla="*/ 15 w 172"/>
                <a:gd name="T17" fmla="*/ 15 h 676"/>
                <a:gd name="T18" fmla="*/ 15 w 172"/>
                <a:gd name="T19" fmla="*/ 661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676">
                  <a:moveTo>
                    <a:pt x="172" y="676"/>
                  </a:moveTo>
                  <a:lnTo>
                    <a:pt x="0" y="676"/>
                  </a:lnTo>
                  <a:lnTo>
                    <a:pt x="0" y="0"/>
                  </a:lnTo>
                  <a:lnTo>
                    <a:pt x="172" y="0"/>
                  </a:lnTo>
                  <a:lnTo>
                    <a:pt x="172" y="676"/>
                  </a:lnTo>
                  <a:close/>
                  <a:moveTo>
                    <a:pt x="15" y="661"/>
                  </a:moveTo>
                  <a:lnTo>
                    <a:pt x="157" y="661"/>
                  </a:lnTo>
                  <a:lnTo>
                    <a:pt x="157" y="15"/>
                  </a:lnTo>
                  <a:lnTo>
                    <a:pt x="15" y="15"/>
                  </a:lnTo>
                  <a:lnTo>
                    <a:pt x="15" y="661"/>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6" name="POWER_USER_ID_ICONS_Poll"/>
            <p:cNvSpPr>
              <a:spLocks noEditPoints="1"/>
            </p:cNvSpPr>
            <p:nvPr>
              <p:custDataLst>
                <p:tags r:id="rId12"/>
              </p:custDataLst>
            </p:nvPr>
          </p:nvSpPr>
          <p:spPr bwMode="auto">
            <a:xfrm>
              <a:off x="200" y="201"/>
              <a:ext cx="53" cy="138"/>
            </a:xfrm>
            <a:custGeom>
              <a:avLst/>
              <a:gdLst>
                <a:gd name="T0" fmla="*/ 172 w 172"/>
                <a:gd name="T1" fmla="*/ 444 h 444"/>
                <a:gd name="T2" fmla="*/ 0 w 172"/>
                <a:gd name="T3" fmla="*/ 444 h 444"/>
                <a:gd name="T4" fmla="*/ 0 w 172"/>
                <a:gd name="T5" fmla="*/ 0 h 444"/>
                <a:gd name="T6" fmla="*/ 172 w 172"/>
                <a:gd name="T7" fmla="*/ 0 h 444"/>
                <a:gd name="T8" fmla="*/ 172 w 172"/>
                <a:gd name="T9" fmla="*/ 444 h 444"/>
                <a:gd name="T10" fmla="*/ 15 w 172"/>
                <a:gd name="T11" fmla="*/ 429 h 444"/>
                <a:gd name="T12" fmla="*/ 157 w 172"/>
                <a:gd name="T13" fmla="*/ 429 h 444"/>
                <a:gd name="T14" fmla="*/ 157 w 172"/>
                <a:gd name="T15" fmla="*/ 15 h 444"/>
                <a:gd name="T16" fmla="*/ 15 w 172"/>
                <a:gd name="T17" fmla="*/ 15 h 444"/>
                <a:gd name="T18" fmla="*/ 15 w 172"/>
                <a:gd name="T19" fmla="*/ 42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444">
                  <a:moveTo>
                    <a:pt x="172" y="444"/>
                  </a:moveTo>
                  <a:lnTo>
                    <a:pt x="0" y="444"/>
                  </a:lnTo>
                  <a:lnTo>
                    <a:pt x="0" y="0"/>
                  </a:lnTo>
                  <a:lnTo>
                    <a:pt x="172" y="0"/>
                  </a:lnTo>
                  <a:lnTo>
                    <a:pt x="172" y="444"/>
                  </a:lnTo>
                  <a:close/>
                  <a:moveTo>
                    <a:pt x="15" y="429"/>
                  </a:moveTo>
                  <a:lnTo>
                    <a:pt x="157" y="429"/>
                  </a:lnTo>
                  <a:lnTo>
                    <a:pt x="157" y="15"/>
                  </a:lnTo>
                  <a:lnTo>
                    <a:pt x="15" y="15"/>
                  </a:lnTo>
                  <a:lnTo>
                    <a:pt x="15" y="429"/>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7" name="POWER_USER_ID_ICONS_Poll"/>
            <p:cNvSpPr>
              <a:spLocks noEditPoints="1"/>
            </p:cNvSpPr>
            <p:nvPr>
              <p:custDataLst>
                <p:tags r:id="rId13"/>
              </p:custDataLst>
            </p:nvPr>
          </p:nvSpPr>
          <p:spPr bwMode="auto">
            <a:xfrm>
              <a:off x="287" y="172"/>
              <a:ext cx="53" cy="167"/>
            </a:xfrm>
            <a:custGeom>
              <a:avLst/>
              <a:gdLst>
                <a:gd name="T0" fmla="*/ 172 w 172"/>
                <a:gd name="T1" fmla="*/ 539 h 539"/>
                <a:gd name="T2" fmla="*/ 0 w 172"/>
                <a:gd name="T3" fmla="*/ 539 h 539"/>
                <a:gd name="T4" fmla="*/ 0 w 172"/>
                <a:gd name="T5" fmla="*/ 0 h 539"/>
                <a:gd name="T6" fmla="*/ 172 w 172"/>
                <a:gd name="T7" fmla="*/ 0 h 539"/>
                <a:gd name="T8" fmla="*/ 172 w 172"/>
                <a:gd name="T9" fmla="*/ 539 h 539"/>
                <a:gd name="T10" fmla="*/ 15 w 172"/>
                <a:gd name="T11" fmla="*/ 524 h 539"/>
                <a:gd name="T12" fmla="*/ 157 w 172"/>
                <a:gd name="T13" fmla="*/ 524 h 539"/>
                <a:gd name="T14" fmla="*/ 157 w 172"/>
                <a:gd name="T15" fmla="*/ 15 h 539"/>
                <a:gd name="T16" fmla="*/ 15 w 172"/>
                <a:gd name="T17" fmla="*/ 15 h 539"/>
                <a:gd name="T18" fmla="*/ 15 w 172"/>
                <a:gd name="T19" fmla="*/ 52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539">
                  <a:moveTo>
                    <a:pt x="172" y="539"/>
                  </a:moveTo>
                  <a:lnTo>
                    <a:pt x="0" y="539"/>
                  </a:lnTo>
                  <a:lnTo>
                    <a:pt x="0" y="0"/>
                  </a:lnTo>
                  <a:lnTo>
                    <a:pt x="172" y="0"/>
                  </a:lnTo>
                  <a:lnTo>
                    <a:pt x="172" y="539"/>
                  </a:lnTo>
                  <a:close/>
                  <a:moveTo>
                    <a:pt x="15" y="524"/>
                  </a:moveTo>
                  <a:lnTo>
                    <a:pt x="157" y="524"/>
                  </a:lnTo>
                  <a:lnTo>
                    <a:pt x="157" y="15"/>
                  </a:lnTo>
                  <a:lnTo>
                    <a:pt x="15" y="15"/>
                  </a:lnTo>
                  <a:lnTo>
                    <a:pt x="15" y="524"/>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8" name="POWER_USER_ID_ICONS_Poll"/>
            <p:cNvSpPr>
              <a:spLocks noChangeArrowheads="1"/>
            </p:cNvSpPr>
            <p:nvPr>
              <p:custDataLst>
                <p:tags r:id="rId14"/>
              </p:custDataLst>
            </p:nvPr>
          </p:nvSpPr>
          <p:spPr bwMode="auto">
            <a:xfrm>
              <a:off x="129" y="384"/>
              <a:ext cx="32" cy="31"/>
            </a:xfrm>
            <a:prstGeom prst="ellipse">
              <a:avLst/>
            </a:pr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9" name="POWER_USER_ID_ICONS_Poll"/>
            <p:cNvSpPr>
              <a:spLocks/>
            </p:cNvSpPr>
            <p:nvPr>
              <p:custDataLst>
                <p:tags r:id="rId15"/>
              </p:custDataLst>
            </p:nvPr>
          </p:nvSpPr>
          <p:spPr bwMode="auto">
            <a:xfrm>
              <a:off x="115"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4" y="4"/>
                    <a:pt x="125" y="0"/>
                  </a:cubicBezTo>
                  <a:cubicBezTo>
                    <a:pt x="115" y="14"/>
                    <a:pt x="99" y="23"/>
                    <a:pt x="81" y="23"/>
                  </a:cubicBezTo>
                  <a:cubicBezTo>
                    <a:pt x="63" y="23"/>
                    <a:pt x="47" y="14"/>
                    <a:pt x="37" y="0"/>
                  </a:cubicBezTo>
                  <a:cubicBezTo>
                    <a:pt x="29" y="4"/>
                    <a:pt x="21" y="9"/>
                    <a:pt x="17" y="16"/>
                  </a:cubicBezTo>
                  <a:cubicBezTo>
                    <a:pt x="3" y="38"/>
                    <a:pt x="0" y="72"/>
                    <a:pt x="0" y="98"/>
                  </a:cubicBezTo>
                  <a:cubicBezTo>
                    <a:pt x="0" y="98"/>
                    <a:pt x="36" y="108"/>
                    <a:pt x="81" y="108"/>
                  </a:cubicBezTo>
                  <a:cubicBezTo>
                    <a:pt x="127" y="108"/>
                    <a:pt x="162" y="98"/>
                    <a:pt x="162" y="98"/>
                  </a:cubicBezTo>
                  <a:cubicBezTo>
                    <a:pt x="162" y="72"/>
                    <a:pt x="159" y="38"/>
                    <a:pt x="145" y="16"/>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0" name="POWER_USER_ID_ICONS_Poll"/>
            <p:cNvSpPr>
              <a:spLocks noChangeArrowheads="1"/>
            </p:cNvSpPr>
            <p:nvPr>
              <p:custDataLst>
                <p:tags r:id="rId16"/>
              </p:custDataLst>
            </p:nvPr>
          </p:nvSpPr>
          <p:spPr bwMode="auto">
            <a:xfrm>
              <a:off x="216" y="384"/>
              <a:ext cx="32" cy="31"/>
            </a:xfrm>
            <a:prstGeom prst="ellipse">
              <a:avLst/>
            </a:pr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1" name="POWER_USER_ID_ICONS_Poll"/>
            <p:cNvSpPr>
              <a:spLocks/>
            </p:cNvSpPr>
            <p:nvPr>
              <p:custDataLst>
                <p:tags r:id="rId17"/>
              </p:custDataLst>
            </p:nvPr>
          </p:nvSpPr>
          <p:spPr bwMode="auto">
            <a:xfrm>
              <a:off x="202"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7" y="14"/>
                    <a:pt x="37" y="0"/>
                  </a:cubicBezTo>
                  <a:cubicBezTo>
                    <a:pt x="28" y="4"/>
                    <a:pt x="21" y="9"/>
                    <a:pt x="17" y="16"/>
                  </a:cubicBezTo>
                  <a:cubicBezTo>
                    <a:pt x="3" y="38"/>
                    <a:pt x="0" y="72"/>
                    <a:pt x="0" y="98"/>
                  </a:cubicBezTo>
                  <a:cubicBezTo>
                    <a:pt x="0" y="98"/>
                    <a:pt x="36" y="108"/>
                    <a:pt x="81" y="108"/>
                  </a:cubicBezTo>
                  <a:cubicBezTo>
                    <a:pt x="126" y="108"/>
                    <a:pt x="162" y="98"/>
                    <a:pt x="162" y="98"/>
                  </a:cubicBezTo>
                  <a:cubicBezTo>
                    <a:pt x="162" y="72"/>
                    <a:pt x="159" y="38"/>
                    <a:pt x="145" y="16"/>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2" name="POWER_USER_ID_ICONS_Poll"/>
            <p:cNvSpPr>
              <a:spLocks noChangeArrowheads="1"/>
            </p:cNvSpPr>
            <p:nvPr>
              <p:custDataLst>
                <p:tags r:id="rId18"/>
              </p:custDataLst>
            </p:nvPr>
          </p:nvSpPr>
          <p:spPr bwMode="auto">
            <a:xfrm>
              <a:off x="304" y="384"/>
              <a:ext cx="31" cy="31"/>
            </a:xfrm>
            <a:prstGeom prst="ellipse">
              <a:avLst/>
            </a:pr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3" name="POWER_USER_ID_ICONS_Poll"/>
            <p:cNvSpPr>
              <a:spLocks/>
            </p:cNvSpPr>
            <p:nvPr>
              <p:custDataLst>
                <p:tags r:id="rId19"/>
              </p:custDataLst>
            </p:nvPr>
          </p:nvSpPr>
          <p:spPr bwMode="auto">
            <a:xfrm>
              <a:off x="289"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6" y="14"/>
                    <a:pt x="37" y="0"/>
                  </a:cubicBezTo>
                  <a:cubicBezTo>
                    <a:pt x="28" y="4"/>
                    <a:pt x="21" y="9"/>
                    <a:pt x="17" y="16"/>
                  </a:cubicBezTo>
                  <a:cubicBezTo>
                    <a:pt x="3" y="38"/>
                    <a:pt x="0" y="72"/>
                    <a:pt x="0" y="98"/>
                  </a:cubicBezTo>
                  <a:cubicBezTo>
                    <a:pt x="0" y="98"/>
                    <a:pt x="35" y="108"/>
                    <a:pt x="81" y="108"/>
                  </a:cubicBezTo>
                  <a:cubicBezTo>
                    <a:pt x="126" y="108"/>
                    <a:pt x="162" y="98"/>
                    <a:pt x="162" y="98"/>
                  </a:cubicBezTo>
                  <a:cubicBezTo>
                    <a:pt x="162" y="72"/>
                    <a:pt x="158" y="38"/>
                    <a:pt x="145" y="16"/>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256" name="Rocket2"/>
          <p:cNvGrpSpPr>
            <a:grpSpLocks noChangeAspect="1"/>
          </p:cNvGrpSpPr>
          <p:nvPr>
            <p:custDataLst>
              <p:tags r:id="rId9"/>
            </p:custDataLst>
          </p:nvPr>
        </p:nvGrpSpPr>
        <p:grpSpPr bwMode="auto">
          <a:xfrm>
            <a:off x="3099187" y="4480286"/>
            <a:ext cx="443866" cy="439859"/>
            <a:chOff x="2506" y="943"/>
            <a:chExt cx="2548" cy="2525"/>
          </a:xfrm>
          <a:solidFill>
            <a:srgbClr val="1F497D"/>
          </a:solidFill>
        </p:grpSpPr>
        <p:sp>
          <p:nvSpPr>
            <p:cNvPr id="257" name="Freeform 619"/>
            <p:cNvSpPr>
              <a:spLocks/>
            </p:cNvSpPr>
            <p:nvPr/>
          </p:nvSpPr>
          <p:spPr bwMode="auto">
            <a:xfrm>
              <a:off x="2510" y="2410"/>
              <a:ext cx="1044" cy="1046"/>
            </a:xfrm>
            <a:custGeom>
              <a:avLst/>
              <a:gdLst>
                <a:gd name="T0" fmla="*/ 263 w 263"/>
                <a:gd name="T1" fmla="*/ 94 h 263"/>
                <a:gd name="T2" fmla="*/ 253 w 263"/>
                <a:gd name="T3" fmla="*/ 94 h 263"/>
                <a:gd name="T4" fmla="*/ 234 w 263"/>
                <a:gd name="T5" fmla="*/ 94 h 263"/>
                <a:gd name="T6" fmla="*/ 151 w 263"/>
                <a:gd name="T7" fmla="*/ 159 h 263"/>
                <a:gd name="T8" fmla="*/ 118 w 263"/>
                <a:gd name="T9" fmla="*/ 178 h 263"/>
                <a:gd name="T10" fmla="*/ 95 w 263"/>
                <a:gd name="T11" fmla="*/ 167 h 263"/>
                <a:gd name="T12" fmla="*/ 85 w 263"/>
                <a:gd name="T13" fmla="*/ 144 h 263"/>
                <a:gd name="T14" fmla="*/ 104 w 263"/>
                <a:gd name="T15" fmla="*/ 112 h 263"/>
                <a:gd name="T16" fmla="*/ 106 w 263"/>
                <a:gd name="T17" fmla="*/ 109 h 263"/>
                <a:gd name="T18" fmla="*/ 169 w 263"/>
                <a:gd name="T19" fmla="*/ 29 h 263"/>
                <a:gd name="T20" fmla="*/ 168 w 263"/>
                <a:gd name="T21" fmla="*/ 0 h 263"/>
                <a:gd name="T22" fmla="*/ 146 w 263"/>
                <a:gd name="T23" fmla="*/ 20 h 263"/>
                <a:gd name="T24" fmla="*/ 11 w 263"/>
                <a:gd name="T25" fmla="*/ 252 h 263"/>
                <a:gd name="T26" fmla="*/ 243 w 263"/>
                <a:gd name="T27" fmla="*/ 117 h 263"/>
                <a:gd name="T28" fmla="*/ 263 w 263"/>
                <a:gd name="T29" fmla="*/ 9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263">
                  <a:moveTo>
                    <a:pt x="263" y="94"/>
                  </a:moveTo>
                  <a:cubicBezTo>
                    <a:pt x="259" y="94"/>
                    <a:pt x="256" y="94"/>
                    <a:pt x="253" y="94"/>
                  </a:cubicBezTo>
                  <a:cubicBezTo>
                    <a:pt x="246" y="94"/>
                    <a:pt x="240" y="94"/>
                    <a:pt x="234" y="94"/>
                  </a:cubicBezTo>
                  <a:lnTo>
                    <a:pt x="151" y="159"/>
                  </a:lnTo>
                  <a:cubicBezTo>
                    <a:pt x="142" y="168"/>
                    <a:pt x="132" y="178"/>
                    <a:pt x="118" y="178"/>
                  </a:cubicBezTo>
                  <a:cubicBezTo>
                    <a:pt x="110" y="178"/>
                    <a:pt x="102" y="174"/>
                    <a:pt x="95" y="167"/>
                  </a:cubicBezTo>
                  <a:cubicBezTo>
                    <a:pt x="88" y="160"/>
                    <a:pt x="85" y="153"/>
                    <a:pt x="85" y="144"/>
                  </a:cubicBezTo>
                  <a:cubicBezTo>
                    <a:pt x="85" y="130"/>
                    <a:pt x="95" y="121"/>
                    <a:pt x="104" y="112"/>
                  </a:cubicBezTo>
                  <a:lnTo>
                    <a:pt x="106" y="109"/>
                  </a:lnTo>
                  <a:lnTo>
                    <a:pt x="169" y="29"/>
                  </a:lnTo>
                  <a:cubicBezTo>
                    <a:pt x="168" y="20"/>
                    <a:pt x="168" y="11"/>
                    <a:pt x="168" y="0"/>
                  </a:cubicBezTo>
                  <a:cubicBezTo>
                    <a:pt x="161" y="6"/>
                    <a:pt x="154" y="12"/>
                    <a:pt x="146" y="20"/>
                  </a:cubicBezTo>
                  <a:cubicBezTo>
                    <a:pt x="62" y="104"/>
                    <a:pt x="0" y="242"/>
                    <a:pt x="11" y="252"/>
                  </a:cubicBezTo>
                  <a:cubicBezTo>
                    <a:pt x="21" y="263"/>
                    <a:pt x="158" y="201"/>
                    <a:pt x="243" y="117"/>
                  </a:cubicBezTo>
                  <a:cubicBezTo>
                    <a:pt x="251" y="109"/>
                    <a:pt x="257" y="102"/>
                    <a:pt x="263" y="94"/>
                  </a:cubicBezTo>
                  <a:close/>
                </a:path>
              </a:pathLst>
            </a:custGeom>
            <a:grpFill/>
            <a:ln w="9525">
              <a:noFill/>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en-US" sz="1458" b="0" i="0" u="none" strike="noStrike" kern="1200" cap="none" spc="0" normalizeH="0" baseline="0" noProof="0">
                <a:ln>
                  <a:noFill/>
                </a:ln>
                <a:solidFill>
                  <a:prstClr val="black"/>
                </a:solidFill>
                <a:effectLst/>
                <a:uLnTx/>
                <a:uFillTx/>
                <a:latin typeface="Calibri"/>
                <a:ea typeface="+mn-ea"/>
                <a:cs typeface="+mn-cs"/>
              </a:endParaRPr>
            </a:p>
          </p:txBody>
        </p:sp>
        <p:sp>
          <p:nvSpPr>
            <p:cNvPr id="258" name="Freeform 620"/>
            <p:cNvSpPr>
              <a:spLocks/>
            </p:cNvSpPr>
            <p:nvPr/>
          </p:nvSpPr>
          <p:spPr bwMode="auto">
            <a:xfrm>
              <a:off x="2994" y="2040"/>
              <a:ext cx="941" cy="931"/>
            </a:xfrm>
            <a:custGeom>
              <a:avLst/>
              <a:gdLst>
                <a:gd name="T0" fmla="*/ 0 w 237"/>
                <a:gd name="T1" fmla="*/ 234 h 234"/>
                <a:gd name="T2" fmla="*/ 5 w 237"/>
                <a:gd name="T3" fmla="*/ 228 h 234"/>
                <a:gd name="T4" fmla="*/ 10 w 237"/>
                <a:gd name="T5" fmla="*/ 224 h 234"/>
                <a:gd name="T6" fmla="*/ 221 w 237"/>
                <a:gd name="T7" fmla="*/ 60 h 234"/>
                <a:gd name="T8" fmla="*/ 232 w 237"/>
                <a:gd name="T9" fmla="*/ 1 h 234"/>
                <a:gd name="T10" fmla="*/ 223 w 237"/>
                <a:gd name="T11" fmla="*/ 0 h 234"/>
                <a:gd name="T12" fmla="*/ 174 w 237"/>
                <a:gd name="T13" fmla="*/ 13 h 234"/>
                <a:gd name="T14" fmla="*/ 5 w 237"/>
                <a:gd name="T15" fmla="*/ 228 h 234"/>
                <a:gd name="T16" fmla="*/ 0 w 237"/>
                <a:gd name="T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34">
                  <a:moveTo>
                    <a:pt x="0" y="234"/>
                  </a:moveTo>
                  <a:cubicBezTo>
                    <a:pt x="2" y="232"/>
                    <a:pt x="4" y="230"/>
                    <a:pt x="5" y="228"/>
                  </a:cubicBezTo>
                  <a:lnTo>
                    <a:pt x="10" y="224"/>
                  </a:lnTo>
                  <a:lnTo>
                    <a:pt x="221" y="60"/>
                  </a:lnTo>
                  <a:cubicBezTo>
                    <a:pt x="228" y="51"/>
                    <a:pt x="237" y="13"/>
                    <a:pt x="232" y="1"/>
                  </a:cubicBezTo>
                  <a:cubicBezTo>
                    <a:pt x="231" y="1"/>
                    <a:pt x="228" y="0"/>
                    <a:pt x="223" y="0"/>
                  </a:cubicBezTo>
                  <a:cubicBezTo>
                    <a:pt x="203" y="0"/>
                    <a:pt x="180" y="8"/>
                    <a:pt x="174" y="13"/>
                  </a:cubicBezTo>
                  <a:lnTo>
                    <a:pt x="5" y="228"/>
                  </a:lnTo>
                  <a:cubicBezTo>
                    <a:pt x="4" y="230"/>
                    <a:pt x="2" y="232"/>
                    <a:pt x="0" y="234"/>
                  </a:cubicBezTo>
                  <a:close/>
                </a:path>
              </a:pathLst>
            </a:custGeom>
            <a:grpFill/>
            <a:ln w="9525">
              <a:noFill/>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en-US" sz="1458" b="0" i="0" u="none" strike="noStrike" kern="1200" cap="none" spc="0" normalizeH="0" baseline="0" noProof="0">
                <a:ln>
                  <a:noFill/>
                </a:ln>
                <a:solidFill>
                  <a:prstClr val="black"/>
                </a:solidFill>
                <a:effectLst/>
                <a:uLnTx/>
                <a:uFillTx/>
                <a:latin typeface="Calibri"/>
                <a:ea typeface="+mn-ea"/>
                <a:cs typeface="+mn-cs"/>
              </a:endParaRPr>
            </a:p>
          </p:txBody>
        </p:sp>
        <p:sp>
          <p:nvSpPr>
            <p:cNvPr id="259" name="Freeform 621"/>
            <p:cNvSpPr>
              <a:spLocks/>
            </p:cNvSpPr>
            <p:nvPr/>
          </p:nvSpPr>
          <p:spPr bwMode="auto">
            <a:xfrm>
              <a:off x="3359" y="2514"/>
              <a:ext cx="1100" cy="954"/>
            </a:xfrm>
            <a:custGeom>
              <a:avLst/>
              <a:gdLst>
                <a:gd name="T0" fmla="*/ 73 w 277"/>
                <a:gd name="T1" fmla="*/ 67 h 240"/>
                <a:gd name="T2" fmla="*/ 11 w 277"/>
                <a:gd name="T3" fmla="*/ 205 h 240"/>
                <a:gd name="T4" fmla="*/ 55 w 277"/>
                <a:gd name="T5" fmla="*/ 221 h 240"/>
                <a:gd name="T6" fmla="*/ 190 w 277"/>
                <a:gd name="T7" fmla="*/ 147 h 240"/>
                <a:gd name="T8" fmla="*/ 276 w 277"/>
                <a:gd name="T9" fmla="*/ 13 h 240"/>
                <a:gd name="T10" fmla="*/ 275 w 277"/>
                <a:gd name="T11" fmla="*/ 0 h 240"/>
                <a:gd name="T12" fmla="*/ 73 w 277"/>
                <a:gd name="T13" fmla="*/ 67 h 240"/>
              </a:gdLst>
              <a:ahLst/>
              <a:cxnLst>
                <a:cxn ang="0">
                  <a:pos x="T0" y="T1"/>
                </a:cxn>
                <a:cxn ang="0">
                  <a:pos x="T2" y="T3"/>
                </a:cxn>
                <a:cxn ang="0">
                  <a:pos x="T4" y="T5"/>
                </a:cxn>
                <a:cxn ang="0">
                  <a:pos x="T6" y="T7"/>
                </a:cxn>
                <a:cxn ang="0">
                  <a:pos x="T8" y="T9"/>
                </a:cxn>
                <a:cxn ang="0">
                  <a:pos x="T10" y="T11"/>
                </a:cxn>
                <a:cxn ang="0">
                  <a:pos x="T12" y="T13"/>
                </a:cxn>
              </a:cxnLst>
              <a:rect l="0" t="0" r="r" b="b"/>
              <a:pathLst>
                <a:path w="277" h="240">
                  <a:moveTo>
                    <a:pt x="73" y="67"/>
                  </a:moveTo>
                  <a:cubicBezTo>
                    <a:pt x="43" y="128"/>
                    <a:pt x="11" y="205"/>
                    <a:pt x="11" y="205"/>
                  </a:cubicBezTo>
                  <a:cubicBezTo>
                    <a:pt x="0" y="225"/>
                    <a:pt x="17" y="240"/>
                    <a:pt x="55" y="221"/>
                  </a:cubicBezTo>
                  <a:lnTo>
                    <a:pt x="190" y="147"/>
                  </a:lnTo>
                  <a:cubicBezTo>
                    <a:pt x="263" y="106"/>
                    <a:pt x="277" y="96"/>
                    <a:pt x="276" y="13"/>
                  </a:cubicBezTo>
                  <a:lnTo>
                    <a:pt x="275" y="0"/>
                  </a:lnTo>
                  <a:cubicBezTo>
                    <a:pt x="209" y="46"/>
                    <a:pt x="134" y="63"/>
                    <a:pt x="73" y="67"/>
                  </a:cubicBezTo>
                  <a:close/>
                </a:path>
              </a:pathLst>
            </a:custGeom>
            <a:grpFill/>
            <a:ln w="9525">
              <a:noFill/>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en-US" sz="1458" b="0" i="0" u="none" strike="noStrike" kern="1200" cap="none" spc="0" normalizeH="0" baseline="0" noProof="0">
                <a:ln>
                  <a:noFill/>
                </a:ln>
                <a:solidFill>
                  <a:prstClr val="black"/>
                </a:solidFill>
                <a:effectLst/>
                <a:uLnTx/>
                <a:uFillTx/>
                <a:latin typeface="Calibri"/>
                <a:ea typeface="+mn-ea"/>
                <a:cs typeface="+mn-cs"/>
              </a:endParaRPr>
            </a:p>
          </p:txBody>
        </p:sp>
        <p:sp>
          <p:nvSpPr>
            <p:cNvPr id="260" name="Freeform 622"/>
            <p:cNvSpPr>
              <a:spLocks/>
            </p:cNvSpPr>
            <p:nvPr/>
          </p:nvSpPr>
          <p:spPr bwMode="auto">
            <a:xfrm>
              <a:off x="2506" y="1511"/>
              <a:ext cx="937" cy="1102"/>
            </a:xfrm>
            <a:custGeom>
              <a:avLst/>
              <a:gdLst>
                <a:gd name="T0" fmla="*/ 35 w 236"/>
                <a:gd name="T1" fmla="*/ 266 h 277"/>
                <a:gd name="T2" fmla="*/ 170 w 236"/>
                <a:gd name="T3" fmla="*/ 206 h 277"/>
                <a:gd name="T4" fmla="*/ 236 w 236"/>
                <a:gd name="T5" fmla="*/ 2 h 277"/>
                <a:gd name="T6" fmla="*/ 227 w 236"/>
                <a:gd name="T7" fmla="*/ 1 h 277"/>
                <a:gd name="T8" fmla="*/ 94 w 236"/>
                <a:gd name="T9" fmla="*/ 87 h 277"/>
                <a:gd name="T10" fmla="*/ 20 w 236"/>
                <a:gd name="T11" fmla="*/ 223 h 277"/>
                <a:gd name="T12" fmla="*/ 35 w 236"/>
                <a:gd name="T13" fmla="*/ 266 h 277"/>
              </a:gdLst>
              <a:ahLst/>
              <a:cxnLst>
                <a:cxn ang="0">
                  <a:pos x="T0" y="T1"/>
                </a:cxn>
                <a:cxn ang="0">
                  <a:pos x="T2" y="T3"/>
                </a:cxn>
                <a:cxn ang="0">
                  <a:pos x="T4" y="T5"/>
                </a:cxn>
                <a:cxn ang="0">
                  <a:pos x="T6" y="T7"/>
                </a:cxn>
                <a:cxn ang="0">
                  <a:pos x="T8" y="T9"/>
                </a:cxn>
                <a:cxn ang="0">
                  <a:pos x="T10" y="T11"/>
                </a:cxn>
                <a:cxn ang="0">
                  <a:pos x="T12" y="T13"/>
                </a:cxn>
              </a:cxnLst>
              <a:rect l="0" t="0" r="r" b="b"/>
              <a:pathLst>
                <a:path w="236" h="277">
                  <a:moveTo>
                    <a:pt x="35" y="266"/>
                  </a:moveTo>
                  <a:cubicBezTo>
                    <a:pt x="35" y="266"/>
                    <a:pt x="109" y="235"/>
                    <a:pt x="170" y="206"/>
                  </a:cubicBezTo>
                  <a:cubicBezTo>
                    <a:pt x="174" y="147"/>
                    <a:pt x="189" y="70"/>
                    <a:pt x="236" y="2"/>
                  </a:cubicBezTo>
                  <a:lnTo>
                    <a:pt x="227" y="1"/>
                  </a:lnTo>
                  <a:cubicBezTo>
                    <a:pt x="145" y="0"/>
                    <a:pt x="134" y="14"/>
                    <a:pt x="94" y="87"/>
                  </a:cubicBezTo>
                  <a:lnTo>
                    <a:pt x="20" y="223"/>
                  </a:lnTo>
                  <a:cubicBezTo>
                    <a:pt x="0" y="260"/>
                    <a:pt x="15" y="277"/>
                    <a:pt x="35" y="266"/>
                  </a:cubicBezTo>
                </a:path>
              </a:pathLst>
            </a:custGeom>
            <a:grpFill/>
            <a:ln w="9525">
              <a:noFill/>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en-US" sz="1458" b="0" i="0" u="none" strike="noStrike" kern="1200" cap="none" spc="0" normalizeH="0" baseline="0" noProof="0">
                <a:ln>
                  <a:noFill/>
                </a:ln>
                <a:solidFill>
                  <a:prstClr val="black"/>
                </a:solidFill>
                <a:effectLst/>
                <a:uLnTx/>
                <a:uFillTx/>
                <a:latin typeface="Calibri"/>
                <a:ea typeface="+mn-ea"/>
                <a:cs typeface="+mn-cs"/>
              </a:endParaRPr>
            </a:p>
          </p:txBody>
        </p:sp>
        <p:sp>
          <p:nvSpPr>
            <p:cNvPr id="261" name="Freeform 623"/>
            <p:cNvSpPr>
              <a:spLocks noEditPoints="1"/>
            </p:cNvSpPr>
            <p:nvPr/>
          </p:nvSpPr>
          <p:spPr bwMode="auto">
            <a:xfrm>
              <a:off x="3316" y="943"/>
              <a:ext cx="1738" cy="1706"/>
            </a:xfrm>
            <a:custGeom>
              <a:avLst/>
              <a:gdLst>
                <a:gd name="T0" fmla="*/ 367 w 438"/>
                <a:gd name="T1" fmla="*/ 111 h 429"/>
                <a:gd name="T2" fmla="*/ 320 w 438"/>
                <a:gd name="T3" fmla="*/ 111 h 429"/>
                <a:gd name="T4" fmla="*/ 320 w 438"/>
                <a:gd name="T5" fmla="*/ 64 h 429"/>
                <a:gd name="T6" fmla="*/ 367 w 438"/>
                <a:gd name="T7" fmla="*/ 64 h 429"/>
                <a:gd name="T8" fmla="*/ 367 w 438"/>
                <a:gd name="T9" fmla="*/ 111 h 429"/>
                <a:gd name="T10" fmla="*/ 296 w 438"/>
                <a:gd name="T11" fmla="*/ 229 h 429"/>
                <a:gd name="T12" fmla="*/ 202 w 438"/>
                <a:gd name="T13" fmla="*/ 229 h 429"/>
                <a:gd name="T14" fmla="*/ 202 w 438"/>
                <a:gd name="T15" fmla="*/ 135 h 429"/>
                <a:gd name="T16" fmla="*/ 296 w 438"/>
                <a:gd name="T17" fmla="*/ 135 h 429"/>
                <a:gd name="T18" fmla="*/ 296 w 438"/>
                <a:gd name="T19" fmla="*/ 229 h 429"/>
                <a:gd name="T20" fmla="*/ 383 w 438"/>
                <a:gd name="T21" fmla="*/ 0 h 429"/>
                <a:gd name="T22" fmla="*/ 93 w 438"/>
                <a:gd name="T23" fmla="*/ 124 h 429"/>
                <a:gd name="T24" fmla="*/ 0 w 438"/>
                <a:gd name="T25" fmla="*/ 354 h 429"/>
                <a:gd name="T26" fmla="*/ 69 w 438"/>
                <a:gd name="T27" fmla="*/ 265 h 429"/>
                <a:gd name="T28" fmla="*/ 142 w 438"/>
                <a:gd name="T29" fmla="*/ 243 h 429"/>
                <a:gd name="T30" fmla="*/ 175 w 438"/>
                <a:gd name="T31" fmla="*/ 254 h 429"/>
                <a:gd name="T32" fmla="*/ 163 w 438"/>
                <a:gd name="T33" fmla="*/ 360 h 429"/>
                <a:gd name="T34" fmla="*/ 162 w 438"/>
                <a:gd name="T35" fmla="*/ 361 h 429"/>
                <a:gd name="T36" fmla="*/ 74 w 438"/>
                <a:gd name="T37" fmla="*/ 429 h 429"/>
                <a:gd name="T38" fmla="*/ 304 w 438"/>
                <a:gd name="T39" fmla="*/ 336 h 429"/>
                <a:gd name="T40" fmla="*/ 422 w 438"/>
                <a:gd name="T41" fmla="*/ 6 h 429"/>
                <a:gd name="T42" fmla="*/ 383 w 438"/>
                <a:gd name="T43"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8" h="429">
                  <a:moveTo>
                    <a:pt x="367" y="111"/>
                  </a:moveTo>
                  <a:cubicBezTo>
                    <a:pt x="354" y="124"/>
                    <a:pt x="333" y="124"/>
                    <a:pt x="320" y="111"/>
                  </a:cubicBezTo>
                  <a:cubicBezTo>
                    <a:pt x="307" y="98"/>
                    <a:pt x="307" y="77"/>
                    <a:pt x="320" y="64"/>
                  </a:cubicBezTo>
                  <a:cubicBezTo>
                    <a:pt x="333" y="51"/>
                    <a:pt x="354" y="51"/>
                    <a:pt x="367" y="64"/>
                  </a:cubicBezTo>
                  <a:cubicBezTo>
                    <a:pt x="380" y="77"/>
                    <a:pt x="380" y="98"/>
                    <a:pt x="367" y="111"/>
                  </a:cubicBezTo>
                  <a:close/>
                  <a:moveTo>
                    <a:pt x="296" y="229"/>
                  </a:moveTo>
                  <a:cubicBezTo>
                    <a:pt x="270" y="255"/>
                    <a:pt x="228" y="255"/>
                    <a:pt x="202" y="229"/>
                  </a:cubicBezTo>
                  <a:cubicBezTo>
                    <a:pt x="176" y="203"/>
                    <a:pt x="176" y="161"/>
                    <a:pt x="202" y="135"/>
                  </a:cubicBezTo>
                  <a:cubicBezTo>
                    <a:pt x="228" y="109"/>
                    <a:pt x="270" y="109"/>
                    <a:pt x="296" y="135"/>
                  </a:cubicBezTo>
                  <a:cubicBezTo>
                    <a:pt x="322" y="161"/>
                    <a:pt x="322" y="203"/>
                    <a:pt x="296" y="229"/>
                  </a:cubicBezTo>
                  <a:close/>
                  <a:moveTo>
                    <a:pt x="383" y="0"/>
                  </a:moveTo>
                  <a:cubicBezTo>
                    <a:pt x="303" y="0"/>
                    <a:pt x="178" y="39"/>
                    <a:pt x="93" y="124"/>
                  </a:cubicBezTo>
                  <a:cubicBezTo>
                    <a:pt x="22" y="195"/>
                    <a:pt x="3" y="288"/>
                    <a:pt x="0" y="354"/>
                  </a:cubicBezTo>
                  <a:lnTo>
                    <a:pt x="69" y="265"/>
                  </a:lnTo>
                  <a:cubicBezTo>
                    <a:pt x="82" y="252"/>
                    <a:pt x="117" y="243"/>
                    <a:pt x="142" y="243"/>
                  </a:cubicBezTo>
                  <a:cubicBezTo>
                    <a:pt x="157" y="243"/>
                    <a:pt x="168" y="247"/>
                    <a:pt x="175" y="254"/>
                  </a:cubicBezTo>
                  <a:cubicBezTo>
                    <a:pt x="197" y="276"/>
                    <a:pt x="180" y="343"/>
                    <a:pt x="163" y="360"/>
                  </a:cubicBezTo>
                  <a:lnTo>
                    <a:pt x="162" y="361"/>
                  </a:lnTo>
                  <a:lnTo>
                    <a:pt x="74" y="429"/>
                  </a:lnTo>
                  <a:cubicBezTo>
                    <a:pt x="145" y="426"/>
                    <a:pt x="235" y="405"/>
                    <a:pt x="304" y="336"/>
                  </a:cubicBezTo>
                  <a:cubicBezTo>
                    <a:pt x="431" y="210"/>
                    <a:pt x="438" y="26"/>
                    <a:pt x="422" y="6"/>
                  </a:cubicBezTo>
                  <a:cubicBezTo>
                    <a:pt x="421" y="5"/>
                    <a:pt x="410" y="0"/>
                    <a:pt x="383" y="0"/>
                  </a:cubicBezTo>
                </a:path>
              </a:pathLst>
            </a:custGeom>
            <a:grpFill/>
            <a:ln w="9525">
              <a:noFill/>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en-US" sz="1458" b="0" i="0" u="none" strike="noStrike" kern="1200" cap="none" spc="0" normalizeH="0" baseline="0" noProof="0">
                <a:ln>
                  <a:noFill/>
                </a:ln>
                <a:solidFill>
                  <a:prstClr val="black"/>
                </a:solidFill>
                <a:effectLst/>
                <a:uLnTx/>
                <a:uFillTx/>
                <a:latin typeface="Calibri"/>
                <a:ea typeface="+mn-ea"/>
                <a:cs typeface="+mn-cs"/>
              </a:endParaRPr>
            </a:p>
          </p:txBody>
        </p:sp>
      </p:grpSp>
      <p:sp>
        <p:nvSpPr>
          <p:cNvPr id="267" name="TextBox 160"/>
          <p:cNvSpPr txBox="1"/>
          <p:nvPr/>
        </p:nvSpPr>
        <p:spPr>
          <a:xfrm>
            <a:off x="6738208" y="2173409"/>
            <a:ext cx="694421"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620" b="1" i="0" u="none" strike="noStrike" kern="0" cap="none" spc="0" normalizeH="0" baseline="0" noProof="0" dirty="0" err="1">
                <a:ln>
                  <a:noFill/>
                </a:ln>
                <a:solidFill>
                  <a:srgbClr val="1F497D"/>
                </a:solidFill>
                <a:effectLst/>
                <a:uLnTx/>
                <a:uFillTx/>
                <a:latin typeface="Calibri"/>
                <a:ea typeface="+mn-ea"/>
                <a:cs typeface="+mn-cs"/>
              </a:rPr>
              <a:t>Kurul</a:t>
            </a:r>
            <a:r>
              <a:rPr kumimoji="0" lang="en-US" sz="1620" b="1" i="0" u="none" strike="noStrike" kern="0" cap="none" spc="0" normalizeH="0" baseline="0" noProof="0" dirty="0">
                <a:ln>
                  <a:noFill/>
                </a:ln>
                <a:solidFill>
                  <a:srgbClr val="1F497D"/>
                </a:solidFill>
                <a:effectLst/>
                <a:uLnTx/>
                <a:uFillTx/>
                <a:latin typeface="Calibri"/>
                <a:ea typeface="+mn-ea"/>
                <a:cs typeface="+mn-cs"/>
              </a:rPr>
              <a:t> </a:t>
            </a:r>
            <a:endParaRPr kumimoji="0" lang="tr-TR" sz="1620" b="1" i="0" u="none" strike="noStrike" kern="0" cap="none" spc="0" normalizeH="0" baseline="0" noProof="0" dirty="0">
              <a:ln>
                <a:noFill/>
              </a:ln>
              <a:solidFill>
                <a:srgbClr val="1F497D"/>
              </a:solidFill>
              <a:effectLst/>
              <a:uLnTx/>
              <a:uFillTx/>
              <a:latin typeface="Calibri"/>
              <a:ea typeface="+mn-ea"/>
              <a:cs typeface="+mn-cs"/>
            </a:endParaRPr>
          </a:p>
        </p:txBody>
      </p:sp>
      <p:sp>
        <p:nvSpPr>
          <p:cNvPr id="268" name="TextBox 162"/>
          <p:cNvSpPr txBox="1"/>
          <p:nvPr/>
        </p:nvSpPr>
        <p:spPr>
          <a:xfrm>
            <a:off x="8142249" y="2534074"/>
            <a:ext cx="1956408" cy="889987"/>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1" i="0" u="none" strike="noStrike" kern="0" cap="none" spc="0" normalizeH="0" baseline="0" noProof="0" dirty="0">
                <a:ln>
                  <a:noFill/>
                </a:ln>
                <a:solidFill>
                  <a:prstClr val="white">
                    <a:lumMod val="50000"/>
                  </a:prstClr>
                </a:solidFill>
                <a:effectLst/>
                <a:uLnTx/>
                <a:uFillTx/>
                <a:latin typeface="Calibri"/>
                <a:ea typeface="+mn-ea"/>
                <a:cs typeface="+mn-cs"/>
              </a:rPr>
              <a:t>   </a:t>
            </a:r>
            <a:r>
              <a:rPr kumimoji="0" lang="tr-TR" sz="1296" b="1" i="0" u="none" strike="noStrike" kern="0" cap="none" spc="0" normalizeH="0" baseline="0" noProof="0" dirty="0">
                <a:ln>
                  <a:noFill/>
                </a:ln>
                <a:solidFill>
                  <a:srgbClr val="445469"/>
                </a:solidFill>
                <a:effectLst/>
                <a:uLnTx/>
                <a:uFillTx/>
                <a:latin typeface="Calibri"/>
                <a:ea typeface="+mn-ea"/>
                <a:cs typeface="+mn-cs"/>
              </a:rPr>
              <a:t>Nihai Karar</a:t>
            </a:r>
          </a:p>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a:t>
            </a:r>
            <a:r>
              <a:rPr kumimoji="0" lang="en-US" sz="1296" b="0" i="0" u="none" strike="noStrike" kern="0" cap="none" spc="0" normalizeH="0" baseline="0" noProof="0" dirty="0" err="1">
                <a:ln>
                  <a:noFill/>
                </a:ln>
                <a:solidFill>
                  <a:prstClr val="white">
                    <a:lumMod val="50000"/>
                  </a:prstClr>
                </a:solidFill>
                <a:effectLst/>
                <a:uLnTx/>
                <a:uFillTx/>
                <a:latin typeface="Calibri"/>
                <a:ea typeface="+mn-ea"/>
                <a:cs typeface="+mn-cs"/>
              </a:rPr>
              <a:t>Düzeltme</a:t>
            </a: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 </a:t>
            </a:r>
            <a:r>
              <a:rPr kumimoji="0" lang="en-US" sz="1296" b="0" i="0" u="none" strike="noStrike" kern="0" cap="none" spc="0" normalizeH="0" baseline="0" noProof="0" dirty="0" err="1">
                <a:ln>
                  <a:noFill/>
                </a:ln>
                <a:solidFill>
                  <a:prstClr val="white">
                    <a:lumMod val="50000"/>
                  </a:prstClr>
                </a:solidFill>
                <a:effectLst/>
                <a:uLnTx/>
                <a:uFillTx/>
                <a:latin typeface="Calibri"/>
                <a:ea typeface="+mn-ea"/>
                <a:cs typeface="+mn-cs"/>
              </a:rPr>
              <a:t>isterse</a:t>
            </a: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 : </a:t>
            </a:r>
            <a:r>
              <a:rPr kumimoji="0" lang="en-US" sz="1296" b="0" i="0" u="none" strike="noStrike" kern="0" cap="none" spc="0" normalizeH="0" baseline="0" noProof="0" dirty="0" err="1">
                <a:ln>
                  <a:noFill/>
                </a:ln>
                <a:solidFill>
                  <a:prstClr val="white">
                    <a:lumMod val="50000"/>
                  </a:prstClr>
                </a:solidFill>
                <a:effectLst/>
                <a:uLnTx/>
                <a:uFillTx/>
                <a:latin typeface="Calibri"/>
                <a:ea typeface="+mn-ea"/>
                <a:cs typeface="+mn-cs"/>
              </a:rPr>
              <a:t>en</a:t>
            </a: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 </a:t>
            </a: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fazla 60 gün</a:t>
            </a: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 </a:t>
            </a:r>
            <a:r>
              <a:rPr kumimoji="0" lang="en-US" sz="1296" b="0" i="0" u="none" strike="noStrike" kern="0" cap="none" spc="0" normalizeH="0" baseline="0" noProof="0" dirty="0" err="1">
                <a:ln>
                  <a:noFill/>
                </a:ln>
                <a:solidFill>
                  <a:prstClr val="white">
                    <a:lumMod val="50000"/>
                  </a:prstClr>
                </a:solidFill>
                <a:effectLst/>
                <a:uLnTx/>
                <a:uFillTx/>
                <a:latin typeface="Calibri"/>
                <a:ea typeface="+mn-ea"/>
                <a:cs typeface="+mn-cs"/>
              </a:rPr>
              <a:t>süre</a:t>
            </a: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 </a:t>
            </a:r>
            <a:r>
              <a:rPr kumimoji="0" lang="en-US" sz="1296" b="0" i="0" u="none" strike="noStrike" kern="0" cap="none" spc="0" normalizeH="0" baseline="0" noProof="0" dirty="0" err="1">
                <a:ln>
                  <a:noFill/>
                </a:ln>
                <a:solidFill>
                  <a:prstClr val="white">
                    <a:lumMod val="50000"/>
                  </a:prstClr>
                </a:solidFill>
                <a:effectLst/>
                <a:uLnTx/>
                <a:uFillTx/>
                <a:latin typeface="Calibri"/>
                <a:ea typeface="+mn-ea"/>
                <a:cs typeface="+mn-cs"/>
              </a:rPr>
              <a:t>verir</a:t>
            </a: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a:t>
            </a:r>
          </a:p>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endParaRPr>
          </a:p>
        </p:txBody>
      </p:sp>
      <p:sp>
        <p:nvSpPr>
          <p:cNvPr id="269" name="Oval 268"/>
          <p:cNvSpPr>
            <a:spLocks noChangeAspect="1"/>
          </p:cNvSpPr>
          <p:nvPr/>
        </p:nvSpPr>
        <p:spPr>
          <a:xfrm>
            <a:off x="9043495" y="3455096"/>
            <a:ext cx="203100" cy="181570"/>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1" name="TextBox 173"/>
          <p:cNvSpPr txBox="1"/>
          <p:nvPr/>
        </p:nvSpPr>
        <p:spPr>
          <a:xfrm>
            <a:off x="4242012" y="3688886"/>
            <a:ext cx="1774845"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dirty="0">
                <a:ln>
                  <a:noFill/>
                </a:ln>
                <a:solidFill>
                  <a:srgbClr val="1F497D"/>
                </a:solidFill>
                <a:effectLst/>
                <a:uLnTx/>
                <a:uFillTx/>
                <a:latin typeface="Calibri"/>
                <a:ea typeface="+mn-ea"/>
                <a:cs typeface="+mn-cs"/>
              </a:rPr>
              <a:t>Projenin İzlenmesi</a:t>
            </a:r>
            <a:endParaRPr kumimoji="0" lang="en-US" sz="1620" b="1" i="0" u="none" strike="noStrike" kern="0" cap="none" spc="0" normalizeH="0" baseline="0" noProof="0" dirty="0">
              <a:ln>
                <a:noFill/>
              </a:ln>
              <a:solidFill>
                <a:srgbClr val="1F497D"/>
              </a:solidFill>
              <a:effectLst/>
              <a:uLnTx/>
              <a:uFillTx/>
              <a:latin typeface="Calibri"/>
              <a:ea typeface="+mn-ea"/>
              <a:cs typeface="+mn-cs"/>
            </a:endParaRPr>
          </a:p>
        </p:txBody>
      </p:sp>
      <p:sp>
        <p:nvSpPr>
          <p:cNvPr id="282" name="Dikdörtgen 281"/>
          <p:cNvSpPr/>
          <p:nvPr/>
        </p:nvSpPr>
        <p:spPr>
          <a:xfrm>
            <a:off x="4124984" y="3973570"/>
            <a:ext cx="2108269" cy="291747"/>
          </a:xfrm>
          <a:prstGeom prst="rect">
            <a:avLst/>
          </a:prstGeom>
        </p:spPr>
        <p:txBody>
          <a:bodyPr wrap="none">
            <a:spAutoFit/>
          </a:bodyPr>
          <a:lstStyle/>
          <a:p>
            <a:pPr marL="0" marR="0" lvl="0" indent="0" algn="ctr" defTabSz="987698" rtl="0" eaLnBrk="1" fontAlgn="auto" latinLnBrk="0" hangingPunct="1">
              <a:lnSpc>
                <a:spcPct val="100000"/>
              </a:lnSpc>
              <a:spcBef>
                <a:spcPts val="0"/>
              </a:spcBef>
              <a:spcAft>
                <a:spcPts val="0"/>
              </a:spcAft>
              <a:buClrTx/>
              <a:buSzTx/>
              <a:buFontTx/>
              <a:buNone/>
              <a:tabLst/>
              <a:defRPr/>
            </a:pPr>
            <a:r>
              <a:rPr kumimoji="0" lang="tr-TR" sz="1296" b="1" i="0" u="none" strike="noStrike" kern="0" cap="none" spc="0" normalizeH="0" baseline="0" noProof="0" dirty="0">
                <a:ln>
                  <a:noFill/>
                </a:ln>
                <a:solidFill>
                  <a:srgbClr val="445469"/>
                </a:solidFill>
                <a:effectLst/>
                <a:uLnTx/>
                <a:uFillTx/>
                <a:latin typeface="Calibri"/>
                <a:ea typeface="+mn-ea"/>
                <a:cs typeface="+mn-cs"/>
              </a:rPr>
              <a:t>4’er aylık dönemler halinde </a:t>
            </a:r>
          </a:p>
        </p:txBody>
      </p:sp>
      <p:sp>
        <p:nvSpPr>
          <p:cNvPr id="285" name="TextBox 162"/>
          <p:cNvSpPr txBox="1"/>
          <p:nvPr/>
        </p:nvSpPr>
        <p:spPr>
          <a:xfrm>
            <a:off x="6097794" y="2487942"/>
            <a:ext cx="2067362" cy="690574"/>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1" i="0" u="none" strike="noStrike" kern="0" cap="none" spc="0" normalizeH="0" baseline="0" noProof="0" dirty="0">
                <a:ln>
                  <a:noFill/>
                </a:ln>
                <a:solidFill>
                  <a:prstClr val="white">
                    <a:lumMod val="50000"/>
                  </a:prstClr>
                </a:solidFill>
                <a:effectLst/>
                <a:uLnTx/>
                <a:uFillTx/>
                <a:latin typeface="Calibri"/>
                <a:ea typeface="+mn-ea"/>
                <a:cs typeface="+mn-cs"/>
              </a:rPr>
              <a:t>   </a:t>
            </a:r>
            <a:r>
              <a:rPr kumimoji="0" lang="tr-TR" sz="1296" b="1" i="0" u="none" strike="noStrike" kern="0" cap="none" spc="0" normalizeH="0" baseline="0" noProof="0" dirty="0">
                <a:ln>
                  <a:noFill/>
                </a:ln>
                <a:solidFill>
                  <a:srgbClr val="445469"/>
                </a:solidFill>
                <a:effectLst/>
                <a:uLnTx/>
                <a:uFillTx/>
                <a:latin typeface="Calibri"/>
                <a:ea typeface="+mn-ea"/>
                <a:cs typeface="+mn-cs"/>
              </a:rPr>
              <a:t>Değerlendirme ve Karar </a:t>
            </a:r>
          </a:p>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Düzeltme isterse : en az1 ay süre verir)</a:t>
            </a:r>
            <a:endPar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endParaRPr>
          </a:p>
        </p:txBody>
      </p:sp>
      <p:sp>
        <p:nvSpPr>
          <p:cNvPr id="2" name="Dikdörtgen 1"/>
          <p:cNvSpPr/>
          <p:nvPr/>
        </p:nvSpPr>
        <p:spPr>
          <a:xfrm>
            <a:off x="1302193" y="1075065"/>
            <a:ext cx="2081019" cy="294248"/>
          </a:xfrm>
          <a:prstGeom prst="rect">
            <a:avLst/>
          </a:prstGeom>
        </p:spPr>
        <p:txBody>
          <a:bodyPr wrap="none">
            <a:spAutoFit/>
          </a:bodyPr>
          <a:lstStyle/>
          <a:p>
            <a:pPr marL="0" marR="0" lvl="0" indent="0" algn="l" defTabSz="987698" rtl="0" eaLnBrk="1" fontAlgn="base" latinLnBrk="0" hangingPunct="1">
              <a:lnSpc>
                <a:spcPct val="90000"/>
              </a:lnSpc>
              <a:spcBef>
                <a:spcPts val="0"/>
              </a:spcBef>
              <a:spcAft>
                <a:spcPct val="0"/>
              </a:spcAft>
              <a:buClrTx/>
              <a:buSzTx/>
              <a:buFontTx/>
              <a:buNone/>
              <a:tabLst/>
              <a:defRPr/>
            </a:pPr>
            <a:r>
              <a:rPr kumimoji="0" lang="tr-TR" sz="1458" b="1" i="0" u="none" strike="noStrike" kern="1200" cap="none" spc="0" normalizeH="0" baseline="0" noProof="0" dirty="0">
                <a:ln>
                  <a:noFill/>
                </a:ln>
                <a:solidFill>
                  <a:srgbClr val="00B050"/>
                </a:solidFill>
                <a:effectLst/>
                <a:uLnTx/>
                <a:uFillTx/>
                <a:latin typeface="Times New Roman" panose="02020603050405020304" pitchFamily="18" charset="0"/>
                <a:ea typeface="ヒラギノ角ゴ Pro W3" pitchFamily="1" charset="-128"/>
                <a:cs typeface="Times New Roman" panose="02020603050405020304" pitchFamily="18" charset="0"/>
              </a:rPr>
              <a:t>DESTEK SÜREÇLERİ</a:t>
            </a:r>
            <a:endParaRPr kumimoji="0" lang="en-US" sz="1458" b="1" i="0" u="none" strike="noStrike" kern="1200" cap="none" spc="0" normalizeH="0" baseline="0" noProof="0" dirty="0">
              <a:ln>
                <a:noFill/>
              </a:ln>
              <a:solidFill>
                <a:srgbClr val="00B05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3" name="Oval 112"/>
          <p:cNvSpPr>
            <a:spLocks noChangeAspect="1"/>
          </p:cNvSpPr>
          <p:nvPr/>
        </p:nvSpPr>
        <p:spPr>
          <a:xfrm>
            <a:off x="9055687" y="1996373"/>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0" name="Dikdörtgen 129"/>
          <p:cNvSpPr/>
          <p:nvPr/>
        </p:nvSpPr>
        <p:spPr>
          <a:xfrm>
            <a:off x="8673853" y="997489"/>
            <a:ext cx="1010737" cy="889987"/>
          </a:xfrm>
          <a:prstGeom prst="rect">
            <a:avLst/>
          </a:prstGeom>
        </p:spPr>
        <p:txBody>
          <a:bodyPr wrap="square">
            <a:spAutoFit/>
          </a:bodyPr>
          <a:lstStyle/>
          <a:p>
            <a:pPr marL="0" marR="0" lvl="0" indent="0" algn="ctr" defTabSz="987698"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Komite sekretarya kontrolü: en geç 1 ay</a:t>
            </a:r>
          </a:p>
        </p:txBody>
      </p:sp>
      <p:sp>
        <p:nvSpPr>
          <p:cNvPr id="131" name="Dikdörtgen 130"/>
          <p:cNvSpPr/>
          <p:nvPr/>
        </p:nvSpPr>
        <p:spPr>
          <a:xfrm>
            <a:off x="6627817" y="1076916"/>
            <a:ext cx="1010737" cy="889987"/>
          </a:xfrm>
          <a:prstGeom prst="rect">
            <a:avLst/>
          </a:prstGeom>
        </p:spPr>
        <p:txBody>
          <a:bodyPr wrap="square">
            <a:spAutoFit/>
          </a:bodyPr>
          <a:lstStyle/>
          <a:p>
            <a:pPr marL="0" marR="0" lvl="0" indent="0" algn="ctr" defTabSz="987698"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Kurul sekretarya kontrolü: en geç 1 ay</a:t>
            </a:r>
          </a:p>
        </p:txBody>
      </p:sp>
      <p:pic>
        <p:nvPicPr>
          <p:cNvPr id="132" name="Picture 3"/>
          <p:cNvPicPr>
            <a:picLocks noChangeAspect="1" noChangeArrowheads="1"/>
          </p:cNvPicPr>
          <p:nvPr/>
        </p:nvPicPr>
        <p:blipFill>
          <a:blip r:embed="rId40" cstate="print"/>
          <a:srcRect/>
          <a:stretch>
            <a:fillRect/>
          </a:stretch>
        </p:blipFill>
        <p:spPr bwMode="auto">
          <a:xfrm>
            <a:off x="883789" y="177323"/>
            <a:ext cx="960106" cy="677217"/>
          </a:xfrm>
          <a:prstGeom prst="rect">
            <a:avLst/>
          </a:prstGeom>
          <a:noFill/>
          <a:ln w="9525">
            <a:noFill/>
            <a:miter lim="800000"/>
            <a:headEnd/>
            <a:tailEnd/>
          </a:ln>
        </p:spPr>
      </p:pic>
      <p:sp>
        <p:nvSpPr>
          <p:cNvPr id="133" name="4 Metin kutusu">
            <a:extLst>
              <a:ext uri="{FF2B5EF4-FFF2-40B4-BE49-F238E27FC236}">
                <a16:creationId xmlns:a16="http://schemas.microsoft.com/office/drawing/2014/main" id="{0F5DDB26-F8EF-4635-9715-6609DA33135B}"/>
              </a:ext>
            </a:extLst>
          </p:cNvPr>
          <p:cNvSpPr txBox="1"/>
          <p:nvPr/>
        </p:nvSpPr>
        <p:spPr>
          <a:xfrm>
            <a:off x="2536049" y="158637"/>
            <a:ext cx="7687144" cy="1015663"/>
          </a:xfrm>
          <a:prstGeom prst="rect">
            <a:avLst/>
          </a:prstGeom>
          <a:noFill/>
        </p:spPr>
        <p:txBody>
          <a:bodyPr wrap="square" rtlCol="0">
            <a:spAutoFit/>
          </a:bodyPr>
          <a:lstStyle/>
          <a:p>
            <a:pPr fontAlgn="base">
              <a:spcBef>
                <a:spcPct val="0"/>
              </a:spcBef>
              <a:spcAft>
                <a:spcPct val="0"/>
              </a:spcAft>
              <a:defRPr/>
            </a:pPr>
            <a:r>
              <a:rPr lang="tr-TR" sz="3000" b="1" dirty="0">
                <a:solidFill>
                  <a:srgbClr val="1F497D">
                    <a:lumMod val="50000"/>
                  </a:srgbClr>
                </a:solidFill>
                <a:effectLst>
                  <a:outerShdw blurRad="38100" dist="38100" dir="2700000" algn="tl">
                    <a:srgbClr val="000000">
                      <a:alpha val="43137"/>
                    </a:srgbClr>
                  </a:outerShdw>
                </a:effectLst>
                <a:latin typeface="Times New Roman" panose="02020603050405020304" pitchFamily="18" charset="0"/>
                <a:ea typeface="ヒラギノ角ゴ Pro W3" pitchFamily="1" charset="-128"/>
                <a:cs typeface="Times New Roman" panose="02020603050405020304" pitchFamily="18" charset="0"/>
              </a:rPr>
              <a:t>Ar-Ge, </a:t>
            </a:r>
            <a:r>
              <a:rPr lang="tr-TR" sz="3000" b="1" dirty="0" err="1">
                <a:solidFill>
                  <a:srgbClr val="1F497D">
                    <a:lumMod val="50000"/>
                  </a:srgbClr>
                </a:solidFill>
                <a:effectLst>
                  <a:outerShdw blurRad="38100" dist="38100" dir="2700000" algn="tl">
                    <a:srgbClr val="000000">
                      <a:alpha val="43137"/>
                    </a:srgbClr>
                  </a:outerShdw>
                </a:effectLst>
                <a:latin typeface="Times New Roman" panose="02020603050405020304" pitchFamily="18" charset="0"/>
                <a:ea typeface="ヒラギノ角ゴ Pro W3" pitchFamily="1" charset="-128"/>
                <a:cs typeface="Times New Roman" panose="02020603050405020304" pitchFamily="18" charset="0"/>
              </a:rPr>
              <a:t>Ür</a:t>
            </a:r>
            <a:r>
              <a:rPr lang="tr-TR" sz="3000" b="1" dirty="0">
                <a:solidFill>
                  <a:srgbClr val="1F497D">
                    <a:lumMod val="50000"/>
                  </a:srgbClr>
                </a:solidFill>
                <a:effectLst>
                  <a:outerShdw blurRad="38100" dist="38100" dir="2700000" algn="tl">
                    <a:srgbClr val="000000">
                      <a:alpha val="43137"/>
                    </a:srgbClr>
                  </a:outerShdw>
                </a:effectLst>
                <a:latin typeface="Times New Roman" panose="02020603050405020304" pitchFamily="18" charset="0"/>
                <a:ea typeface="ヒラギノ角ゴ Pro W3" pitchFamily="1" charset="-128"/>
                <a:cs typeface="Times New Roman" panose="02020603050405020304" pitchFamily="18" charset="0"/>
              </a:rPr>
              <a:t>-Ge ve </a:t>
            </a:r>
            <a:r>
              <a:rPr lang="tr-TR" sz="3000" b="1" dirty="0" err="1">
                <a:solidFill>
                  <a:srgbClr val="1F497D">
                    <a:lumMod val="50000"/>
                  </a:srgbClr>
                </a:solidFill>
                <a:effectLst>
                  <a:outerShdw blurRad="38100" dist="38100" dir="2700000" algn="tl">
                    <a:srgbClr val="000000">
                      <a:alpha val="43137"/>
                    </a:srgbClr>
                  </a:outerShdw>
                </a:effectLst>
                <a:latin typeface="Times New Roman" panose="02020603050405020304" pitchFamily="18" charset="0"/>
                <a:ea typeface="ヒラギノ角ゴ Pro W3" pitchFamily="1" charset="-128"/>
                <a:cs typeface="Times New Roman" panose="02020603050405020304" pitchFamily="18" charset="0"/>
              </a:rPr>
              <a:t>İnovasyon</a:t>
            </a:r>
            <a:r>
              <a:rPr lang="tr-TR" sz="3000" b="1" dirty="0">
                <a:solidFill>
                  <a:srgbClr val="1F497D">
                    <a:lumMod val="50000"/>
                  </a:srgbClr>
                </a:solidFill>
                <a:effectLst>
                  <a:outerShdw blurRad="38100" dist="38100" dir="2700000" algn="tl">
                    <a:srgbClr val="000000">
                      <a:alpha val="43137"/>
                    </a:srgbClr>
                  </a:outerShdw>
                </a:effectLst>
                <a:latin typeface="Times New Roman" panose="02020603050405020304" pitchFamily="18" charset="0"/>
                <a:ea typeface="ヒラギノ角ゴ Pro W3" pitchFamily="1" charset="-128"/>
                <a:cs typeface="Times New Roman" panose="02020603050405020304" pitchFamily="18" charset="0"/>
              </a:rPr>
              <a:t> Destek </a:t>
            </a:r>
            <a:r>
              <a:rPr lang="tr-TR" sz="3000" b="1" dirty="0" smtClean="0">
                <a:solidFill>
                  <a:srgbClr val="1F497D">
                    <a:lumMod val="50000"/>
                  </a:srgbClr>
                </a:solidFill>
                <a:effectLst>
                  <a:outerShdw blurRad="38100" dist="38100" dir="2700000" algn="tl">
                    <a:srgbClr val="000000">
                      <a:alpha val="43137"/>
                    </a:srgbClr>
                  </a:outerShdw>
                </a:effectLst>
                <a:latin typeface="Times New Roman" panose="02020603050405020304" pitchFamily="18" charset="0"/>
                <a:ea typeface="ヒラギノ角ゴ Pro W3" pitchFamily="1" charset="-128"/>
                <a:cs typeface="Times New Roman" panose="02020603050405020304" pitchFamily="18" charset="0"/>
              </a:rPr>
              <a:t>Programı</a:t>
            </a:r>
          </a:p>
          <a:p>
            <a:pPr fontAlgn="base">
              <a:spcBef>
                <a:spcPct val="0"/>
              </a:spcBef>
              <a:spcAft>
                <a:spcPct val="0"/>
              </a:spcAft>
              <a:defRPr/>
            </a:pPr>
            <a:r>
              <a:rPr lang="tr-TR" sz="3000" b="1" dirty="0" smtClean="0">
                <a:solidFill>
                  <a:srgbClr val="1F497D">
                    <a:lumMod val="50000"/>
                  </a:srgbClr>
                </a:solidFill>
                <a:effectLst>
                  <a:outerShdw blurRad="38100" dist="38100" dir="2700000" algn="tl">
                    <a:srgbClr val="000000">
                      <a:alpha val="43137"/>
                    </a:srgbClr>
                  </a:outerShdw>
                </a:effectLst>
                <a:latin typeface="Times New Roman" panose="02020603050405020304" pitchFamily="18" charset="0"/>
                <a:ea typeface="ヒラギノ角ゴ Pro W3" pitchFamily="1" charset="-128"/>
                <a:cs typeface="Times New Roman" panose="02020603050405020304" pitchFamily="18" charset="0"/>
              </a:rPr>
              <a:t>ÇAĞRI ESASLI</a:t>
            </a:r>
            <a:endParaRPr lang="tr-TR" sz="3000" b="1" dirty="0">
              <a:solidFill>
                <a:srgbClr val="1F497D">
                  <a:lumMod val="50000"/>
                </a:srgbClr>
              </a:solidFill>
              <a:effectLst>
                <a:outerShdw blurRad="38100" dist="38100" dir="2700000" algn="tl">
                  <a:srgbClr val="000000">
                    <a:alpha val="43137"/>
                  </a:srgbClr>
                </a:outerShdw>
              </a:effectLst>
              <a:latin typeface="Times New Roman" panose="02020603050405020304" pitchFamily="18" charset="0"/>
              <a:ea typeface="ヒラギノ角ゴ Pro W3" pitchFamily="1" charset="-128"/>
              <a:cs typeface="Times New Roman" panose="02020603050405020304" pitchFamily="18" charset="0"/>
            </a:endParaRPr>
          </a:p>
        </p:txBody>
      </p:sp>
    </p:spTree>
    <p:custDataLst>
      <p:tags r:id="rId1"/>
    </p:custDataLst>
    <p:extLst>
      <p:ext uri="{BB962C8B-B14F-4D97-AF65-F5344CB8AC3E}">
        <p14:creationId xmlns:p14="http://schemas.microsoft.com/office/powerpoint/2010/main" val="3977265702"/>
      </p:ext>
    </p:extLst>
  </p:cSld>
  <p:clrMapOvr>
    <a:masterClrMapping/>
  </p:clrMapOvr>
  <p:transition spd="slow">
    <p:push dir="u"/>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Resim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8717548" cy="4741817"/>
          </a:xfrm>
          <a:prstGeom prst="rect">
            <a:avLst/>
          </a:prstGeom>
        </p:spPr>
      </p:pic>
      <p:sp>
        <p:nvSpPr>
          <p:cNvPr id="4" name="Dikdörtgen 3"/>
          <p:cNvSpPr/>
          <p:nvPr/>
        </p:nvSpPr>
        <p:spPr>
          <a:xfrm>
            <a:off x="3301493" y="2636455"/>
            <a:ext cx="8890507" cy="4288136"/>
          </a:xfrm>
          <a:prstGeom prst="rect">
            <a:avLst/>
          </a:prstGeom>
          <a:solidFill>
            <a:schemeClr val="tx2">
              <a:lumMod val="50000"/>
              <a:alpha val="79000"/>
            </a:schemeClr>
          </a:solidFill>
          <a:ln>
            <a:solidFill>
              <a:srgbClr val="4353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8799"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Dikdörtgen 4"/>
          <p:cNvSpPr/>
          <p:nvPr/>
        </p:nvSpPr>
        <p:spPr>
          <a:xfrm>
            <a:off x="4220735" y="3811027"/>
            <a:ext cx="7361665" cy="1938992"/>
          </a:xfrm>
          <a:prstGeom prst="rect">
            <a:avLst/>
          </a:prstGeom>
        </p:spPr>
        <p:txBody>
          <a:bodyPr wrap="square">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40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ULUSLARARASI KULUÇKA MERKEZİ VE HIZLANDIRICI DESTEK PROGRAMI</a:t>
            </a:r>
            <a:endParaRPr kumimoji="0" lang="en-US" sz="40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pic>
        <p:nvPicPr>
          <p:cNvPr id="9" name="Picture 3"/>
          <p:cNvPicPr>
            <a:picLocks noChangeAspect="1" noChangeArrowheads="1"/>
          </p:cNvPicPr>
          <p:nvPr/>
        </p:nvPicPr>
        <p:blipFill>
          <a:blip r:embed="rId4" cstate="print"/>
          <a:srcRect/>
          <a:stretch>
            <a:fillRect/>
          </a:stretch>
        </p:blipFill>
        <p:spPr bwMode="auto">
          <a:xfrm>
            <a:off x="0" y="0"/>
            <a:ext cx="960050" cy="677178"/>
          </a:xfrm>
          <a:prstGeom prst="rect">
            <a:avLst/>
          </a:prstGeom>
          <a:noFill/>
          <a:ln w="9525">
            <a:noFill/>
            <a:miter lim="800000"/>
            <a:headEnd/>
            <a:tailEnd/>
          </a:ln>
        </p:spPr>
      </p:pic>
      <p:sp>
        <p:nvSpPr>
          <p:cNvPr id="3" name="Slayt Numarası Yer Tutucusu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0482094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22287" y="2025810"/>
            <a:ext cx="5476875" cy="2355045"/>
          </a:xfrm>
          <a:prstGeom prst="rect">
            <a:avLst/>
          </a:prstGeom>
          <a:gradFill>
            <a:gsLst>
              <a:gs pos="16000">
                <a:schemeClr val="tx2"/>
              </a:gs>
              <a:gs pos="100000">
                <a:schemeClr val="accent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720000" bIns="45707" rtlCol="0" anchor="ctr"/>
          <a:lstStyle/>
          <a:p>
            <a:pPr marL="0" marR="0" lvl="0" indent="0" algn="just" defTabSz="860425" rtl="0" eaLnBrk="1" fontAlgn="auto" latinLnBrk="0" hangingPunct="1">
              <a:lnSpc>
                <a:spcPct val="100000"/>
              </a:lnSpc>
              <a:spcBef>
                <a:spcPts val="0"/>
              </a:spcBef>
              <a:spcAft>
                <a:spcPts val="0"/>
              </a:spcAft>
              <a:buClrTx/>
              <a:buSzTx/>
              <a:buFontTx/>
              <a:buNone/>
              <a:tabLst>
                <a:tab pos="4302125" algn="l"/>
                <a:tab pos="4392613" algn="l"/>
              </a:tabLst>
              <a:defRPr/>
            </a:pPr>
            <a:r>
              <a:rPr kumimoji="0" lang="tr-TR" sz="2400" b="0" i="0" u="none" strike="noStrike" kern="1200" cap="none" spc="0" normalizeH="0" baseline="0" noProof="0" dirty="0">
                <a:ln>
                  <a:noFill/>
                </a:ln>
                <a:solidFill>
                  <a:prstClr val="white"/>
                </a:solidFill>
                <a:effectLst/>
                <a:uLnTx/>
                <a:uFillTx/>
                <a:latin typeface="Times New Roman" panose="02020603050405020304" pitchFamily="18" charset="0"/>
                <a:ea typeface="BatangChe" panose="02030609000101010101" pitchFamily="49" charset="-127"/>
                <a:cs typeface="Times New Roman" panose="02020603050405020304" pitchFamily="18" charset="0"/>
              </a:rPr>
              <a:t>Ar-Ge ve </a:t>
            </a:r>
            <a:r>
              <a:rPr kumimoji="0" lang="tr-TR" sz="2400" b="0" i="0" u="none" strike="noStrike" kern="1200" cap="none" spc="0" normalizeH="0" baseline="0" noProof="0" dirty="0" err="1">
                <a:ln>
                  <a:noFill/>
                </a:ln>
                <a:solidFill>
                  <a:prstClr val="white"/>
                </a:solidFill>
                <a:effectLst/>
                <a:uLnTx/>
                <a:uFillTx/>
                <a:latin typeface="Times New Roman" panose="02020603050405020304" pitchFamily="18" charset="0"/>
                <a:ea typeface="BatangChe" panose="02030609000101010101" pitchFamily="49" charset="-127"/>
                <a:cs typeface="Times New Roman" panose="02020603050405020304" pitchFamily="18" charset="0"/>
              </a:rPr>
              <a:t>inovasyon</a:t>
            </a:r>
            <a:r>
              <a:rPr kumimoji="0" lang="tr-TR" sz="2400" b="0" i="0" u="none" strike="noStrike" kern="1200" cap="none" spc="0" normalizeH="0" baseline="0" noProof="0" dirty="0">
                <a:ln>
                  <a:noFill/>
                </a:ln>
                <a:solidFill>
                  <a:prstClr val="white"/>
                </a:solidFill>
                <a:effectLst/>
                <a:uLnTx/>
                <a:uFillTx/>
                <a:latin typeface="Times New Roman" panose="02020603050405020304" pitchFamily="18" charset="0"/>
                <a:ea typeface="BatangChe" panose="02030609000101010101" pitchFamily="49" charset="-127"/>
                <a:cs typeface="Times New Roman" panose="02020603050405020304" pitchFamily="18" charset="0"/>
              </a:rPr>
              <a:t> faaliyetleri </a:t>
            </a:r>
          </a:p>
          <a:p>
            <a:pPr marL="0" marR="0" lvl="0" indent="0" algn="just" defTabSz="860425" rtl="0" eaLnBrk="1" fontAlgn="auto" latinLnBrk="0" hangingPunct="1">
              <a:lnSpc>
                <a:spcPct val="100000"/>
              </a:lnSpc>
              <a:spcBef>
                <a:spcPts val="0"/>
              </a:spcBef>
              <a:spcAft>
                <a:spcPts val="0"/>
              </a:spcAft>
              <a:buClrTx/>
              <a:buSzTx/>
              <a:buFontTx/>
              <a:buNone/>
              <a:tabLst>
                <a:tab pos="4302125" algn="l"/>
                <a:tab pos="4392613" algn="l"/>
              </a:tabLst>
              <a:defRPr/>
            </a:pPr>
            <a:r>
              <a:rPr kumimoji="0" lang="tr-TR" sz="2400" b="0" i="0" u="none" strike="noStrike" kern="1200" cap="none" spc="0" normalizeH="0" baseline="0" noProof="0" dirty="0">
                <a:ln>
                  <a:noFill/>
                </a:ln>
                <a:solidFill>
                  <a:prstClr val="white"/>
                </a:solidFill>
                <a:effectLst/>
                <a:uLnTx/>
                <a:uFillTx/>
                <a:latin typeface="Times New Roman" panose="02020603050405020304" pitchFamily="18" charset="0"/>
                <a:ea typeface="BatangChe" panose="02030609000101010101" pitchFamily="49" charset="-127"/>
                <a:cs typeface="Times New Roman" panose="02020603050405020304" pitchFamily="18" charset="0"/>
              </a:rPr>
              <a:t>ülkemizde gerçekleştirilen </a:t>
            </a:r>
          </a:p>
          <a:p>
            <a:pPr marL="0" marR="0" lvl="0" indent="0" algn="just" defTabSz="860425" rtl="0" eaLnBrk="1" fontAlgn="auto" latinLnBrk="0" hangingPunct="1">
              <a:lnSpc>
                <a:spcPct val="100000"/>
              </a:lnSpc>
              <a:spcBef>
                <a:spcPts val="0"/>
              </a:spcBef>
              <a:spcAft>
                <a:spcPts val="0"/>
              </a:spcAft>
              <a:buClrTx/>
              <a:buSzTx/>
              <a:buFontTx/>
              <a:buNone/>
              <a:tabLst>
                <a:tab pos="4302125" algn="l"/>
                <a:tab pos="4392613" algn="l"/>
              </a:tabLst>
              <a:defRPr/>
            </a:pPr>
            <a:r>
              <a:rPr kumimoji="0" lang="tr-TR" sz="2400" b="0" i="0" u="none" strike="noStrike" kern="1200" cap="none" spc="0" normalizeH="0" baseline="0" noProof="0" dirty="0">
                <a:ln>
                  <a:noFill/>
                </a:ln>
                <a:solidFill>
                  <a:prstClr val="white"/>
                </a:solidFill>
                <a:effectLst/>
                <a:uLnTx/>
                <a:uFillTx/>
                <a:latin typeface="Times New Roman" panose="02020603050405020304" pitchFamily="18" charset="0"/>
                <a:ea typeface="BatangChe" panose="02030609000101010101" pitchFamily="49" charset="-127"/>
                <a:cs typeface="Times New Roman" panose="02020603050405020304" pitchFamily="18" charset="0"/>
              </a:rPr>
              <a:t>teknolojik ürünlerin ve yerli teknoloji </a:t>
            </a:r>
          </a:p>
          <a:p>
            <a:pPr marL="0" marR="0" lvl="0" indent="0" algn="just" defTabSz="860425" rtl="0" eaLnBrk="1" fontAlgn="auto" latinLnBrk="0" hangingPunct="1">
              <a:lnSpc>
                <a:spcPct val="100000"/>
              </a:lnSpc>
              <a:spcBef>
                <a:spcPts val="0"/>
              </a:spcBef>
              <a:spcAft>
                <a:spcPts val="0"/>
              </a:spcAft>
              <a:buClrTx/>
              <a:buSzTx/>
              <a:buFontTx/>
              <a:buNone/>
              <a:tabLst>
                <a:tab pos="4302125" algn="l"/>
                <a:tab pos="4392613" algn="l"/>
              </a:tabLst>
              <a:defRPr/>
            </a:pPr>
            <a:r>
              <a:rPr kumimoji="0" lang="tr-TR" sz="2400" b="0" i="0" u="none" strike="noStrike" kern="1200" cap="none" spc="0" normalizeH="0" baseline="0" noProof="0" dirty="0">
                <a:ln>
                  <a:noFill/>
                </a:ln>
                <a:solidFill>
                  <a:prstClr val="white"/>
                </a:solidFill>
                <a:effectLst/>
                <a:uLnTx/>
                <a:uFillTx/>
                <a:latin typeface="Times New Roman" panose="02020603050405020304" pitchFamily="18" charset="0"/>
                <a:ea typeface="BatangChe" panose="02030609000101010101" pitchFamily="49" charset="-127"/>
                <a:cs typeface="Times New Roman" panose="02020603050405020304" pitchFamily="18" charset="0"/>
              </a:rPr>
              <a:t>yoğun başlangıç işletmelerinin </a:t>
            </a:r>
          </a:p>
          <a:p>
            <a:pPr marL="0" marR="0" lvl="0" indent="0" algn="just" defTabSz="860425" rtl="0" eaLnBrk="1" fontAlgn="auto" latinLnBrk="0" hangingPunct="1">
              <a:lnSpc>
                <a:spcPct val="100000"/>
              </a:lnSpc>
              <a:spcBef>
                <a:spcPts val="0"/>
              </a:spcBef>
              <a:spcAft>
                <a:spcPts val="0"/>
              </a:spcAft>
              <a:buClrTx/>
              <a:buSzTx/>
              <a:buFontTx/>
              <a:buNone/>
              <a:tabLst>
                <a:tab pos="4302125" algn="l"/>
                <a:tab pos="4392613" algn="l"/>
              </a:tabLst>
              <a:defRPr/>
            </a:pPr>
            <a:r>
              <a:rPr kumimoji="0" lang="tr-TR" sz="2400" b="0" i="0" u="none" strike="noStrike" kern="1200" cap="none" spc="0" normalizeH="0" baseline="0" noProof="0" dirty="0">
                <a:ln>
                  <a:noFill/>
                </a:ln>
                <a:solidFill>
                  <a:prstClr val="white"/>
                </a:solidFill>
                <a:effectLst/>
                <a:uLnTx/>
                <a:uFillTx/>
                <a:latin typeface="Times New Roman" panose="02020603050405020304" pitchFamily="18" charset="0"/>
                <a:ea typeface="BatangChe" panose="02030609000101010101" pitchFamily="49" charset="-127"/>
                <a:cs typeface="Times New Roman" panose="02020603050405020304" pitchFamily="18" charset="0"/>
              </a:rPr>
              <a:t>(start-</a:t>
            </a:r>
            <a:r>
              <a:rPr kumimoji="0" lang="tr-TR" sz="2400" b="0" i="0" u="none" strike="noStrike" kern="1200" cap="none" spc="0" normalizeH="0" baseline="0" noProof="0" dirty="0" err="1">
                <a:ln>
                  <a:noFill/>
                </a:ln>
                <a:solidFill>
                  <a:prstClr val="white"/>
                </a:solidFill>
                <a:effectLst/>
                <a:uLnTx/>
                <a:uFillTx/>
                <a:latin typeface="Times New Roman" panose="02020603050405020304" pitchFamily="18" charset="0"/>
                <a:ea typeface="BatangChe" panose="02030609000101010101" pitchFamily="49" charset="-127"/>
                <a:cs typeface="Times New Roman" panose="02020603050405020304" pitchFamily="18" charset="0"/>
              </a:rPr>
              <a:t>up’lar</a:t>
            </a:r>
            <a:r>
              <a:rPr kumimoji="0" lang="tr-TR" sz="2400" b="0" i="0" u="none" strike="noStrike" kern="1200" cap="none" spc="0" normalizeH="0" baseline="0" noProof="0" dirty="0">
                <a:ln>
                  <a:noFill/>
                </a:ln>
                <a:solidFill>
                  <a:prstClr val="white"/>
                </a:solidFill>
                <a:effectLst/>
                <a:uLnTx/>
                <a:uFillTx/>
                <a:latin typeface="Times New Roman" panose="02020603050405020304" pitchFamily="18" charset="0"/>
                <a:ea typeface="BatangChe" panose="02030609000101010101" pitchFamily="49" charset="-127"/>
                <a:cs typeface="Times New Roman" panose="02020603050405020304" pitchFamily="18" charset="0"/>
              </a:rPr>
              <a:t>)</a:t>
            </a:r>
          </a:p>
        </p:txBody>
      </p:sp>
      <p:sp>
        <p:nvSpPr>
          <p:cNvPr id="6" name="Rectangle 5"/>
          <p:cNvSpPr/>
          <p:nvPr/>
        </p:nvSpPr>
        <p:spPr>
          <a:xfrm>
            <a:off x="5999162" y="2025810"/>
            <a:ext cx="5476875" cy="23550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91440" bIns="45720" numCol="1" spcCol="0" rtlCol="0" fromWordArt="0" anchor="ctr" anchorCtr="0" forceAA="0" compatLnSpc="1">
            <a:prstTxWarp prst="textNoShape">
              <a:avLst/>
            </a:prstTxWarp>
            <a:noAutofit/>
          </a:bodyPr>
          <a:lstStyle/>
          <a:p>
            <a:pPr marL="344169" marR="0" lvl="0" indent="-344169"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400" b="0" i="0" u="none" strike="noStrike" kern="1200" cap="none" spc="0" normalizeH="0" baseline="0" noProof="0" dirty="0">
                <a:ln>
                  <a:noFill/>
                </a:ln>
                <a:solidFill>
                  <a:prstClr val="black"/>
                </a:solidFill>
                <a:effectLst/>
                <a:uLnTx/>
                <a:uFillTx/>
                <a:latin typeface="Times New Roman" panose="02020603050405020304" pitchFamily="18" charset="0"/>
                <a:ea typeface="BatangChe" panose="02030609000101010101" pitchFamily="49" charset="-127"/>
                <a:cs typeface="Times New Roman" panose="02020603050405020304" pitchFamily="18" charset="0"/>
              </a:rPr>
              <a:t>Uluslararası pazarlarda yer alması, </a:t>
            </a:r>
          </a:p>
          <a:p>
            <a:pPr marL="344169" marR="0" lvl="0" indent="-344169"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400" b="0" i="0" u="none" strike="noStrike" kern="1200" cap="none" spc="0" normalizeH="0" baseline="0" noProof="0" dirty="0">
                <a:ln>
                  <a:noFill/>
                </a:ln>
                <a:solidFill>
                  <a:prstClr val="black"/>
                </a:solidFill>
                <a:effectLst/>
                <a:uLnTx/>
                <a:uFillTx/>
                <a:latin typeface="Times New Roman" panose="02020603050405020304" pitchFamily="18" charset="0"/>
                <a:ea typeface="BatangChe" panose="02030609000101010101" pitchFamily="49" charset="-127"/>
                <a:cs typeface="Times New Roman" panose="02020603050405020304" pitchFamily="18" charset="0"/>
              </a:rPr>
              <a:t>İhracatın arttırılması, </a:t>
            </a:r>
          </a:p>
          <a:p>
            <a:pPr marL="344169" marR="0" lvl="0" indent="-344169"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400" b="0" i="0" u="none" strike="noStrike" kern="1200" cap="none" spc="0" normalizeH="0" baseline="0" noProof="0" dirty="0">
                <a:ln>
                  <a:noFill/>
                </a:ln>
                <a:solidFill>
                  <a:prstClr val="black"/>
                </a:solidFill>
                <a:effectLst/>
                <a:uLnTx/>
                <a:uFillTx/>
                <a:latin typeface="Times New Roman" panose="02020603050405020304" pitchFamily="18" charset="0"/>
                <a:ea typeface="BatangChe" panose="02030609000101010101" pitchFamily="49" charset="-127"/>
                <a:cs typeface="Times New Roman" panose="02020603050405020304" pitchFamily="18" charset="0"/>
              </a:rPr>
              <a:t>Gelişmiş girişimcilik ekosistemleri içerisinde yer alması</a:t>
            </a:r>
          </a:p>
        </p:txBody>
      </p:sp>
      <p:sp>
        <p:nvSpPr>
          <p:cNvPr id="7" name="Oval 6"/>
          <p:cNvSpPr>
            <a:spLocks noChangeAspect="1"/>
          </p:cNvSpPr>
          <p:nvPr/>
        </p:nvSpPr>
        <p:spPr>
          <a:xfrm>
            <a:off x="5262837" y="2467007"/>
            <a:ext cx="1472650" cy="1472650"/>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nvGrpSpPr>
          <p:cNvPr id="13" name="Group 12"/>
          <p:cNvGrpSpPr>
            <a:grpSpLocks noChangeAspect="1"/>
          </p:cNvGrpSpPr>
          <p:nvPr/>
        </p:nvGrpSpPr>
        <p:grpSpPr>
          <a:xfrm>
            <a:off x="5549749" y="2779291"/>
            <a:ext cx="925400" cy="672716"/>
            <a:chOff x="5803885" y="3432674"/>
            <a:chExt cx="695267" cy="505422"/>
          </a:xfrm>
        </p:grpSpPr>
        <p:sp>
          <p:nvSpPr>
            <p:cNvPr id="9" name="Rounded Rectangle 8"/>
            <p:cNvSpPr/>
            <p:nvPr/>
          </p:nvSpPr>
          <p:spPr>
            <a:xfrm>
              <a:off x="5803885" y="3701589"/>
              <a:ext cx="540000" cy="11807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 name="Rounded Rectangle 9"/>
            <p:cNvSpPr/>
            <p:nvPr/>
          </p:nvSpPr>
          <p:spPr>
            <a:xfrm rot="2700000">
              <a:off x="6063692" y="3591365"/>
              <a:ext cx="435461" cy="11808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1" name="Rounded Rectangle 10"/>
            <p:cNvSpPr/>
            <p:nvPr/>
          </p:nvSpPr>
          <p:spPr>
            <a:xfrm rot="18900000">
              <a:off x="6063691" y="3820018"/>
              <a:ext cx="435461" cy="11807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sp>
        <p:nvSpPr>
          <p:cNvPr id="14" name="TextBox 13"/>
          <p:cNvSpPr txBox="1"/>
          <p:nvPr/>
        </p:nvSpPr>
        <p:spPr>
          <a:xfrm>
            <a:off x="2161916" y="4950176"/>
            <a:ext cx="8567836" cy="8925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600" b="0" i="0" u="none" strike="noStrike" kern="1200" cap="none" spc="0" normalizeH="0" baseline="0" noProof="0" dirty="0">
                <a:ln>
                  <a:noFill/>
                </a:ln>
                <a:solidFill>
                  <a:prstClr val="black"/>
                </a:solidFill>
                <a:effectLst/>
                <a:uLnTx/>
                <a:uFillTx/>
                <a:latin typeface="Times New Roman" panose="02020603050405020304" pitchFamily="18" charset="0"/>
                <a:ea typeface="BatangChe" panose="02030609000101010101" pitchFamily="49" charset="-127"/>
                <a:cs typeface="Times New Roman" panose="02020603050405020304" pitchFamily="18" charset="0"/>
              </a:rPr>
              <a:t>için uluslararası kuluçka merkezi kurulmasını ve işletmelerin hızlandırma programlarına katılmalarının sağlanması</a:t>
            </a:r>
          </a:p>
        </p:txBody>
      </p:sp>
      <p:sp>
        <p:nvSpPr>
          <p:cNvPr id="12" name="3 Metin kutusu"/>
          <p:cNvSpPr txBox="1"/>
          <p:nvPr/>
        </p:nvSpPr>
        <p:spPr>
          <a:xfrm>
            <a:off x="2161916" y="350147"/>
            <a:ext cx="8653866"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Uluslararası Kuluçka Merkezi  ve Hızlandırıcı</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 Destek Programı</a:t>
            </a:r>
          </a:p>
        </p:txBody>
      </p:sp>
      <p:pic>
        <p:nvPicPr>
          <p:cNvPr id="16" name="Picture 3"/>
          <p:cNvPicPr>
            <a:picLocks noChangeAspect="1" noChangeArrowheads="1"/>
          </p:cNvPicPr>
          <p:nvPr/>
        </p:nvPicPr>
        <p:blipFill>
          <a:blip r:embed="rId4" cstate="print"/>
          <a:srcRect/>
          <a:stretch>
            <a:fillRect/>
          </a:stretch>
        </p:blipFill>
        <p:spPr bwMode="auto">
          <a:xfrm>
            <a:off x="522287" y="350147"/>
            <a:ext cx="960106" cy="677217"/>
          </a:xfrm>
          <a:prstGeom prst="rect">
            <a:avLst/>
          </a:prstGeom>
          <a:noFill/>
          <a:ln w="9525">
            <a:noFill/>
            <a:miter lim="800000"/>
            <a:headEnd/>
            <a:tailEnd/>
          </a:ln>
        </p:spPr>
      </p:pic>
      <p:sp>
        <p:nvSpPr>
          <p:cNvPr id="3" name="Slayt Numarası Yer Tutucusu 2"/>
          <p:cNvSpPr>
            <a:spLocks noGrp="1"/>
          </p:cNvSpPr>
          <p:nvPr>
            <p:ph type="sldNum" sz="quarter" idx="12"/>
          </p:nvPr>
        </p:nvSpPr>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19</a:t>
            </a:fld>
            <a:endParaRPr kumimoji="0" lang="en-CA"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custDataLst>
      <p:tags r:id="rId1"/>
    </p:custDataLst>
    <p:extLst>
      <p:ext uri="{BB962C8B-B14F-4D97-AF65-F5344CB8AC3E}">
        <p14:creationId xmlns:p14="http://schemas.microsoft.com/office/powerpoint/2010/main" val="309289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etin kutusu"/>
          <p:cNvSpPr txBox="1"/>
          <p:nvPr/>
        </p:nvSpPr>
        <p:spPr>
          <a:xfrm>
            <a:off x="1748966" y="242003"/>
            <a:ext cx="5131574" cy="646331"/>
          </a:xfrm>
          <a:prstGeom prst="rect">
            <a:avLst/>
          </a:prstGeom>
          <a:noFill/>
        </p:spPr>
        <p:txBody>
          <a:bodyPr wrap="square" rtlCol="0">
            <a:spAutoFit/>
          </a:bodyPr>
          <a:lstStyle/>
          <a:p>
            <a:pPr defTabSz="917783" fontAlgn="base">
              <a:spcBef>
                <a:spcPct val="0"/>
              </a:spcBef>
              <a:spcAft>
                <a:spcPct val="0"/>
              </a:spcAft>
            </a:pPr>
            <a:r>
              <a:rPr lang="tr-TR" sz="3600" b="1" dirty="0">
                <a:solidFill>
                  <a:srgbClr val="00BAD5"/>
                </a:solidFill>
                <a:latin typeface="Calibri" pitchFamily="34" charset="0"/>
                <a:ea typeface="ヒラギノ角ゴ Pro W3" pitchFamily="1" charset="-128"/>
              </a:rPr>
              <a:t>KOSGEB ve Kuruluş Amacı</a:t>
            </a:r>
          </a:p>
        </p:txBody>
      </p:sp>
      <p:pic>
        <p:nvPicPr>
          <p:cNvPr id="3" name="Picture 3"/>
          <p:cNvPicPr>
            <a:picLocks noChangeAspect="1" noChangeArrowheads="1"/>
          </p:cNvPicPr>
          <p:nvPr/>
        </p:nvPicPr>
        <p:blipFill>
          <a:blip r:embed="rId3" cstate="print"/>
          <a:srcRect/>
          <a:stretch>
            <a:fillRect/>
          </a:stretch>
        </p:blipFill>
        <p:spPr bwMode="auto">
          <a:xfrm>
            <a:off x="333632" y="217942"/>
            <a:ext cx="919801" cy="648787"/>
          </a:xfrm>
          <a:prstGeom prst="rect">
            <a:avLst/>
          </a:prstGeom>
          <a:noFill/>
          <a:ln w="9525">
            <a:noFill/>
            <a:miter lim="800000"/>
            <a:headEnd/>
            <a:tailEnd/>
          </a:ln>
        </p:spPr>
      </p:pic>
      <p:pic>
        <p:nvPicPr>
          <p:cNvPr id="6146" name="Picture 2"/>
          <p:cNvPicPr>
            <a:picLocks noChangeAspect="1" noChangeArrowheads="1"/>
          </p:cNvPicPr>
          <p:nvPr/>
        </p:nvPicPr>
        <p:blipFill>
          <a:blip r:embed="rId4" cstate="print"/>
          <a:srcRect/>
          <a:stretch>
            <a:fillRect/>
          </a:stretch>
        </p:blipFill>
        <p:spPr bwMode="auto">
          <a:xfrm>
            <a:off x="1039270" y="1366083"/>
            <a:ext cx="411098" cy="420658"/>
          </a:xfrm>
          <a:prstGeom prst="rect">
            <a:avLst/>
          </a:prstGeom>
          <a:noFill/>
          <a:ln w="9525">
            <a:noFill/>
            <a:miter lim="800000"/>
            <a:headEnd/>
            <a:tailEnd/>
          </a:ln>
        </p:spPr>
      </p:pic>
      <p:pic>
        <p:nvPicPr>
          <p:cNvPr id="6147" name="Picture 3"/>
          <p:cNvPicPr>
            <a:picLocks noChangeAspect="1" noChangeArrowheads="1"/>
          </p:cNvPicPr>
          <p:nvPr/>
        </p:nvPicPr>
        <p:blipFill>
          <a:blip r:embed="rId4" cstate="print"/>
          <a:srcRect/>
          <a:stretch>
            <a:fillRect/>
          </a:stretch>
        </p:blipFill>
        <p:spPr bwMode="auto">
          <a:xfrm>
            <a:off x="1039270" y="3092890"/>
            <a:ext cx="411098" cy="420658"/>
          </a:xfrm>
          <a:prstGeom prst="rect">
            <a:avLst/>
          </a:prstGeom>
          <a:noFill/>
          <a:ln w="9525">
            <a:noFill/>
            <a:miter lim="800000"/>
            <a:headEnd/>
            <a:tailEnd/>
          </a:ln>
        </p:spPr>
      </p:pic>
      <p:pic>
        <p:nvPicPr>
          <p:cNvPr id="8" name="Picture 3"/>
          <p:cNvPicPr>
            <a:picLocks noChangeAspect="1" noChangeArrowheads="1"/>
          </p:cNvPicPr>
          <p:nvPr/>
        </p:nvPicPr>
        <p:blipFill>
          <a:blip r:embed="rId4" cstate="print"/>
          <a:srcRect/>
          <a:stretch>
            <a:fillRect/>
          </a:stretch>
        </p:blipFill>
        <p:spPr bwMode="auto">
          <a:xfrm>
            <a:off x="1047884" y="5453310"/>
            <a:ext cx="411098" cy="420658"/>
          </a:xfrm>
          <a:prstGeom prst="rect">
            <a:avLst/>
          </a:prstGeom>
          <a:noFill/>
          <a:ln w="9525">
            <a:noFill/>
            <a:miter lim="800000"/>
            <a:headEnd/>
            <a:tailEnd/>
          </a:ln>
        </p:spPr>
      </p:pic>
      <p:pic>
        <p:nvPicPr>
          <p:cNvPr id="6149" name="Picture 5"/>
          <p:cNvPicPr>
            <a:picLocks noChangeAspect="1" noChangeArrowheads="1"/>
          </p:cNvPicPr>
          <p:nvPr/>
        </p:nvPicPr>
        <p:blipFill>
          <a:blip r:embed="rId5" cstate="print"/>
          <a:srcRect/>
          <a:stretch>
            <a:fillRect/>
          </a:stretch>
        </p:blipFill>
        <p:spPr bwMode="auto">
          <a:xfrm>
            <a:off x="1748966" y="4343739"/>
            <a:ext cx="219889" cy="229450"/>
          </a:xfrm>
          <a:prstGeom prst="rect">
            <a:avLst/>
          </a:prstGeom>
          <a:noFill/>
          <a:ln w="9525">
            <a:noFill/>
            <a:miter lim="800000"/>
            <a:headEnd/>
            <a:tailEnd/>
          </a:ln>
        </p:spPr>
      </p:pic>
      <p:pic>
        <p:nvPicPr>
          <p:cNvPr id="6150" name="Picture 6"/>
          <p:cNvPicPr>
            <a:picLocks noChangeAspect="1" noChangeArrowheads="1"/>
          </p:cNvPicPr>
          <p:nvPr/>
        </p:nvPicPr>
        <p:blipFill>
          <a:blip r:embed="rId5" cstate="print"/>
          <a:srcRect/>
          <a:stretch>
            <a:fillRect/>
          </a:stretch>
        </p:blipFill>
        <p:spPr bwMode="auto">
          <a:xfrm>
            <a:off x="1748967" y="3974106"/>
            <a:ext cx="219889" cy="229450"/>
          </a:xfrm>
          <a:prstGeom prst="rect">
            <a:avLst/>
          </a:prstGeom>
          <a:noFill/>
          <a:ln w="9525">
            <a:noFill/>
            <a:miter lim="800000"/>
            <a:headEnd/>
            <a:tailEnd/>
          </a:ln>
        </p:spPr>
      </p:pic>
      <p:pic>
        <p:nvPicPr>
          <p:cNvPr id="11" name="Picture 5"/>
          <p:cNvPicPr>
            <a:picLocks noChangeAspect="1" noChangeArrowheads="1"/>
          </p:cNvPicPr>
          <p:nvPr/>
        </p:nvPicPr>
        <p:blipFill>
          <a:blip r:embed="rId5" cstate="print"/>
          <a:srcRect/>
          <a:stretch>
            <a:fillRect/>
          </a:stretch>
        </p:blipFill>
        <p:spPr bwMode="auto">
          <a:xfrm>
            <a:off x="1749242" y="4776292"/>
            <a:ext cx="219889" cy="229450"/>
          </a:xfrm>
          <a:prstGeom prst="rect">
            <a:avLst/>
          </a:prstGeom>
          <a:noFill/>
          <a:ln w="9525">
            <a:noFill/>
            <a:miter lim="800000"/>
            <a:headEnd/>
            <a:tailEnd/>
          </a:ln>
        </p:spPr>
      </p:pic>
      <p:sp>
        <p:nvSpPr>
          <p:cNvPr id="14" name="13 Metin kutusu"/>
          <p:cNvSpPr txBox="1"/>
          <p:nvPr/>
        </p:nvSpPr>
        <p:spPr>
          <a:xfrm>
            <a:off x="1656178" y="1355588"/>
            <a:ext cx="8585092" cy="401200"/>
          </a:xfrm>
          <a:prstGeom prst="rect">
            <a:avLst/>
          </a:prstGeom>
          <a:noFill/>
        </p:spPr>
        <p:txBody>
          <a:bodyPr wrap="square" rtlCol="0">
            <a:spAutoFit/>
          </a:bodyPr>
          <a:lstStyle/>
          <a:p>
            <a:pPr defTabSz="917783" fontAlgn="base">
              <a:spcBef>
                <a:spcPct val="0"/>
              </a:spcBef>
              <a:spcAft>
                <a:spcPct val="0"/>
              </a:spcAft>
            </a:pPr>
            <a:r>
              <a:rPr lang="tr-TR" sz="2000" b="1" dirty="0">
                <a:solidFill>
                  <a:prstClr val="black"/>
                </a:solidFill>
                <a:latin typeface="Calibri" pitchFamily="34" charset="0"/>
                <a:ea typeface="ヒラギノ角ゴ Pro W3" pitchFamily="1" charset="-128"/>
              </a:rPr>
              <a:t>KOSGEB, 1990 yılında 3624 sayılı Kanun ile kuruldu. </a:t>
            </a:r>
          </a:p>
        </p:txBody>
      </p:sp>
      <p:sp>
        <p:nvSpPr>
          <p:cNvPr id="15" name="14 Metin kutusu"/>
          <p:cNvSpPr txBox="1"/>
          <p:nvPr/>
        </p:nvSpPr>
        <p:spPr>
          <a:xfrm>
            <a:off x="1656177" y="3062506"/>
            <a:ext cx="7458280" cy="710518"/>
          </a:xfrm>
          <a:prstGeom prst="rect">
            <a:avLst/>
          </a:prstGeom>
          <a:noFill/>
        </p:spPr>
        <p:txBody>
          <a:bodyPr wrap="square" rtlCol="0">
            <a:spAutoFit/>
          </a:bodyPr>
          <a:lstStyle/>
          <a:p>
            <a:pPr defTabSz="917783" fontAlgn="base">
              <a:spcBef>
                <a:spcPct val="0"/>
              </a:spcBef>
              <a:spcAft>
                <a:spcPct val="0"/>
              </a:spcAft>
            </a:pPr>
            <a:r>
              <a:rPr lang="tr-TR" sz="2000" b="1" dirty="0">
                <a:solidFill>
                  <a:prstClr val="black"/>
                </a:solidFill>
                <a:latin typeface="Calibri" pitchFamily="34" charset="0"/>
                <a:ea typeface="ヒラギノ角ゴ Pro W3" pitchFamily="1" charset="-128"/>
              </a:rPr>
              <a:t>Amacı; ülkenin ekonomik ve sosyal ihtiyaçlarının karşılanmasında</a:t>
            </a:r>
          </a:p>
          <a:p>
            <a:pPr defTabSz="917783" fontAlgn="base">
              <a:spcBef>
                <a:spcPct val="0"/>
              </a:spcBef>
              <a:spcAft>
                <a:spcPct val="0"/>
              </a:spcAft>
            </a:pPr>
            <a:r>
              <a:rPr lang="tr-TR" sz="2000" b="1" dirty="0">
                <a:solidFill>
                  <a:srgbClr val="56C9E0"/>
                </a:solidFill>
                <a:latin typeface="Calibri" pitchFamily="34" charset="0"/>
                <a:ea typeface="ヒラギノ角ゴ Pro W3" pitchFamily="1" charset="-128"/>
              </a:rPr>
              <a:t>küçük ve orta ölçekli işletmelerin (</a:t>
            </a:r>
            <a:r>
              <a:rPr lang="tr-TR" sz="2000" b="1" dirty="0">
                <a:solidFill>
                  <a:srgbClr val="56C9E0"/>
                </a:solidFill>
                <a:latin typeface="Calibri" pitchFamily="34" charset="0"/>
                <a:ea typeface="ヒラギノ角ゴ Pro W3" pitchFamily="1" charset="-128"/>
                <a:hlinkClick r:id="rId6" action="ppaction://hlinksldjump"/>
              </a:rPr>
              <a:t>KOBİ</a:t>
            </a:r>
            <a:r>
              <a:rPr lang="tr-TR" sz="2000" b="1" dirty="0">
                <a:solidFill>
                  <a:srgbClr val="56C9E0"/>
                </a:solidFill>
                <a:latin typeface="Calibri" pitchFamily="34" charset="0"/>
                <a:ea typeface="ヒラギノ角ゴ Pro W3" pitchFamily="1" charset="-128"/>
              </a:rPr>
              <a:t>’lerin)</a:t>
            </a:r>
          </a:p>
        </p:txBody>
      </p:sp>
      <p:sp>
        <p:nvSpPr>
          <p:cNvPr id="16" name="15 Metin kutusu"/>
          <p:cNvSpPr txBox="1"/>
          <p:nvPr/>
        </p:nvSpPr>
        <p:spPr>
          <a:xfrm>
            <a:off x="2082649" y="3888310"/>
            <a:ext cx="3200870" cy="401597"/>
          </a:xfrm>
          <a:prstGeom prst="rect">
            <a:avLst/>
          </a:prstGeom>
          <a:noFill/>
        </p:spPr>
        <p:txBody>
          <a:bodyPr wrap="none" rtlCol="0">
            <a:spAutoFit/>
          </a:bodyPr>
          <a:lstStyle/>
          <a:p>
            <a:pPr defTabSz="917783" fontAlgn="base">
              <a:spcBef>
                <a:spcPct val="0"/>
              </a:spcBef>
              <a:spcAft>
                <a:spcPct val="0"/>
              </a:spcAft>
            </a:pPr>
            <a:r>
              <a:rPr lang="tr-TR" sz="2000" dirty="0">
                <a:solidFill>
                  <a:prstClr val="black"/>
                </a:solidFill>
                <a:latin typeface="Calibri" pitchFamily="34" charset="0"/>
                <a:ea typeface="ヒラギノ角ゴ Pro W3" pitchFamily="1" charset="-128"/>
              </a:rPr>
              <a:t>Payını ve etkinliğini artırmak</a:t>
            </a:r>
          </a:p>
        </p:txBody>
      </p:sp>
      <p:sp>
        <p:nvSpPr>
          <p:cNvPr id="18" name="17 Metin kutusu"/>
          <p:cNvSpPr txBox="1"/>
          <p:nvPr/>
        </p:nvSpPr>
        <p:spPr>
          <a:xfrm>
            <a:off x="2082648" y="4286632"/>
            <a:ext cx="4743543" cy="401597"/>
          </a:xfrm>
          <a:prstGeom prst="rect">
            <a:avLst/>
          </a:prstGeom>
          <a:noFill/>
        </p:spPr>
        <p:txBody>
          <a:bodyPr wrap="none" rtlCol="0">
            <a:spAutoFit/>
          </a:bodyPr>
          <a:lstStyle/>
          <a:p>
            <a:pPr defTabSz="917783" fontAlgn="base">
              <a:spcBef>
                <a:spcPct val="0"/>
              </a:spcBef>
              <a:spcAft>
                <a:spcPct val="0"/>
              </a:spcAft>
            </a:pPr>
            <a:r>
              <a:rPr lang="tr-TR" sz="2000" dirty="0">
                <a:solidFill>
                  <a:prstClr val="black"/>
                </a:solidFill>
                <a:latin typeface="Calibri" pitchFamily="34" charset="0"/>
                <a:ea typeface="ヒラギノ角ゴ Pro W3" pitchFamily="1" charset="-128"/>
              </a:rPr>
              <a:t>Rekabet güçlerini ve düzeylerini yükseltmek</a:t>
            </a:r>
          </a:p>
        </p:txBody>
      </p:sp>
      <p:sp>
        <p:nvSpPr>
          <p:cNvPr id="19" name="18 Metin kutusu"/>
          <p:cNvSpPr txBox="1"/>
          <p:nvPr/>
        </p:nvSpPr>
        <p:spPr>
          <a:xfrm>
            <a:off x="1947527" y="4670810"/>
            <a:ext cx="8372460" cy="401597"/>
          </a:xfrm>
          <a:prstGeom prst="rect">
            <a:avLst/>
          </a:prstGeom>
          <a:noFill/>
        </p:spPr>
        <p:txBody>
          <a:bodyPr wrap="none" rtlCol="0">
            <a:spAutoFit/>
          </a:bodyPr>
          <a:lstStyle/>
          <a:p>
            <a:pPr defTabSz="917783" fontAlgn="base">
              <a:spcBef>
                <a:spcPct val="0"/>
              </a:spcBef>
              <a:spcAft>
                <a:spcPct val="0"/>
              </a:spcAft>
            </a:pPr>
            <a:r>
              <a:rPr lang="tr-TR" sz="2000" dirty="0">
                <a:solidFill>
                  <a:prstClr val="black"/>
                </a:solidFill>
                <a:latin typeface="Calibri" pitchFamily="34" charset="0"/>
                <a:ea typeface="ヒラギノ角ゴ Pro W3" pitchFamily="1" charset="-128"/>
              </a:rPr>
              <a:t>  Sanayide entegrasyonu ekonomik gelişmelere uygun biçimde gerçekleştirmek</a:t>
            </a:r>
          </a:p>
        </p:txBody>
      </p:sp>
      <p:sp>
        <p:nvSpPr>
          <p:cNvPr id="21" name="20 Metin kutusu"/>
          <p:cNvSpPr txBox="1"/>
          <p:nvPr/>
        </p:nvSpPr>
        <p:spPr>
          <a:xfrm>
            <a:off x="1644401" y="5392702"/>
            <a:ext cx="8932983" cy="710518"/>
          </a:xfrm>
          <a:prstGeom prst="rect">
            <a:avLst/>
          </a:prstGeom>
          <a:noFill/>
        </p:spPr>
        <p:txBody>
          <a:bodyPr wrap="square" rtlCol="0">
            <a:spAutoFit/>
          </a:bodyPr>
          <a:lstStyle/>
          <a:p>
            <a:pPr defTabSz="917783" fontAlgn="base">
              <a:spcBef>
                <a:spcPct val="0"/>
              </a:spcBef>
              <a:spcAft>
                <a:spcPct val="0"/>
              </a:spcAft>
            </a:pPr>
            <a:r>
              <a:rPr lang="tr-TR" sz="2000" b="1" dirty="0">
                <a:solidFill>
                  <a:prstClr val="black"/>
                </a:solidFill>
                <a:latin typeface="Calibri" pitchFamily="34" charset="0"/>
                <a:ea typeface="ヒラギノ角ゴ Pro W3" pitchFamily="1" charset="-128"/>
              </a:rPr>
              <a:t>KOSGEB’in</a:t>
            </a:r>
            <a:r>
              <a:rPr lang="tr-TR" sz="2007" b="1" dirty="0">
                <a:solidFill>
                  <a:prstClr val="black"/>
                </a:solidFill>
                <a:latin typeface="Calibri" pitchFamily="34" charset="0"/>
                <a:ea typeface="ヒラギノ角ゴ Pro W3" pitchFamily="1" charset="-128"/>
              </a:rPr>
              <a:t> hedef kitlesini; 2009/15431 sayılı Bakanlar Kurulu Kararı’nda belirlenen sektörlerde faaliyet gösteren </a:t>
            </a:r>
            <a:r>
              <a:rPr lang="tr-TR" sz="2007" b="1" dirty="0">
                <a:solidFill>
                  <a:srgbClr val="00BAD9"/>
                </a:solidFill>
                <a:latin typeface="Calibri" pitchFamily="34" charset="0"/>
                <a:ea typeface="ヒラギノ角ゴ Pro W3" pitchFamily="1" charset="-128"/>
                <a:hlinkClick r:id="rId7" action="ppaction://hlinkfile"/>
              </a:rPr>
              <a:t>KOBİ</a:t>
            </a:r>
            <a:r>
              <a:rPr lang="tr-TR" sz="2007" b="1" dirty="0">
                <a:solidFill>
                  <a:prstClr val="black"/>
                </a:solidFill>
                <a:latin typeface="Calibri" pitchFamily="34" charset="0"/>
                <a:ea typeface="ヒラギノ角ゴ Pro W3" pitchFamily="1" charset="-128"/>
              </a:rPr>
              <a:t>’ler oluşturmaktadır.</a:t>
            </a:r>
          </a:p>
        </p:txBody>
      </p:sp>
      <p:sp>
        <p:nvSpPr>
          <p:cNvPr id="4" name="Slayt Numarası Yer Tutucusu 3"/>
          <p:cNvSpPr>
            <a:spLocks noGrp="1"/>
          </p:cNvSpPr>
          <p:nvPr>
            <p:ph type="sldNum" sz="quarter" idx="12"/>
          </p:nvPr>
        </p:nvSpPr>
        <p:spPr/>
        <p:txBody>
          <a:bodyPr/>
          <a:lstStyle/>
          <a:p>
            <a:pPr defTabSz="917783" fontAlgn="base">
              <a:spcBef>
                <a:spcPct val="0"/>
              </a:spcBef>
              <a:spcAft>
                <a:spcPct val="0"/>
              </a:spcAft>
              <a:defRPr/>
            </a:pPr>
            <a:fld id="{FF16F97C-866D-4F85-A1F6-DDF39F62CB6A}" type="slidenum">
              <a:rPr lang="en-CA">
                <a:solidFill>
                  <a:prstClr val="black">
                    <a:tint val="75000"/>
                  </a:prstClr>
                </a:solidFill>
                <a:latin typeface="Calibri" pitchFamily="34" charset="0"/>
                <a:ea typeface="ヒラギノ角ゴ Pro W3" pitchFamily="1" charset="-128"/>
              </a:rPr>
              <a:pPr defTabSz="917783" fontAlgn="base">
                <a:spcBef>
                  <a:spcPct val="0"/>
                </a:spcBef>
                <a:spcAft>
                  <a:spcPct val="0"/>
                </a:spcAft>
                <a:defRPr/>
              </a:pPr>
              <a:t>2</a:t>
            </a:fld>
            <a:endParaRPr lang="en-CA">
              <a:solidFill>
                <a:prstClr val="black">
                  <a:tint val="75000"/>
                </a:prstClr>
              </a:solidFill>
              <a:latin typeface="Calibri" pitchFamily="34" charset="0"/>
              <a:ea typeface="ヒラギノ角ゴ Pro W3" pitchFamily="1" charset="-128"/>
            </a:endParaRPr>
          </a:p>
        </p:txBody>
      </p:sp>
      <p:pic>
        <p:nvPicPr>
          <p:cNvPr id="17" name="Picture 2"/>
          <p:cNvPicPr>
            <a:picLocks noChangeAspect="1" noChangeArrowheads="1"/>
          </p:cNvPicPr>
          <p:nvPr/>
        </p:nvPicPr>
        <p:blipFill>
          <a:blip r:embed="rId4" cstate="print"/>
          <a:srcRect/>
          <a:stretch>
            <a:fillRect/>
          </a:stretch>
        </p:blipFill>
        <p:spPr bwMode="auto">
          <a:xfrm>
            <a:off x="1039270" y="2166169"/>
            <a:ext cx="411098" cy="420658"/>
          </a:xfrm>
          <a:prstGeom prst="rect">
            <a:avLst/>
          </a:prstGeom>
          <a:noFill/>
          <a:ln w="9525">
            <a:noFill/>
            <a:miter lim="800000"/>
            <a:headEnd/>
            <a:tailEnd/>
          </a:ln>
        </p:spPr>
      </p:pic>
      <p:sp>
        <p:nvSpPr>
          <p:cNvPr id="5" name="Dikdörtgen 4"/>
          <p:cNvSpPr/>
          <p:nvPr/>
        </p:nvSpPr>
        <p:spPr>
          <a:xfrm>
            <a:off x="1656175" y="2097816"/>
            <a:ext cx="9106559" cy="707886"/>
          </a:xfrm>
          <a:prstGeom prst="rect">
            <a:avLst/>
          </a:prstGeom>
        </p:spPr>
        <p:txBody>
          <a:bodyPr wrap="square">
            <a:spAutoFit/>
          </a:bodyPr>
          <a:lstStyle/>
          <a:p>
            <a:r>
              <a:rPr lang="tr-TR" sz="2000" b="1" dirty="0">
                <a:solidFill>
                  <a:prstClr val="black"/>
                </a:solidFill>
                <a:latin typeface="Calibri" pitchFamily="34" charset="0"/>
                <a:ea typeface="ヒラギノ角ゴ Pro W3" pitchFamily="1" charset="-128"/>
              </a:rPr>
              <a:t>02/07/2018 tarih</a:t>
            </a:r>
            <a:r>
              <a:rPr lang="tr-TR" sz="2000" b="1" dirty="0" smtClean="0">
                <a:solidFill>
                  <a:prstClr val="black"/>
                </a:solidFill>
                <a:latin typeface="Calibri" pitchFamily="34" charset="0"/>
                <a:ea typeface="ヒラギノ角ゴ Pro W3" pitchFamily="1" charset="-128"/>
              </a:rPr>
              <a:t>, 703 </a:t>
            </a:r>
            <a:r>
              <a:rPr lang="tr-TR" sz="2000" b="1" dirty="0">
                <a:solidFill>
                  <a:prstClr val="black"/>
                </a:solidFill>
                <a:latin typeface="Calibri" pitchFamily="34" charset="0"/>
                <a:ea typeface="ヒラギノ角ゴ Pro W3" pitchFamily="1" charset="-128"/>
              </a:rPr>
              <a:t>sayılı Kanun Hükmünde Kararname ve </a:t>
            </a:r>
            <a:r>
              <a:rPr lang="tr-TR" sz="2000" b="1" dirty="0" smtClean="0">
                <a:solidFill>
                  <a:prstClr val="black"/>
                </a:solidFill>
                <a:latin typeface="Calibri" pitchFamily="34" charset="0"/>
                <a:ea typeface="ヒラギノ角ゴ Pro W3" pitchFamily="1" charset="-128"/>
              </a:rPr>
              <a:t/>
            </a:r>
            <a:br>
              <a:rPr lang="tr-TR" sz="2000" b="1" dirty="0" smtClean="0">
                <a:solidFill>
                  <a:prstClr val="black"/>
                </a:solidFill>
                <a:latin typeface="Calibri" pitchFamily="34" charset="0"/>
                <a:ea typeface="ヒラギノ角ゴ Pro W3" pitchFamily="1" charset="-128"/>
              </a:rPr>
            </a:br>
            <a:r>
              <a:rPr lang="tr-TR" sz="2000" b="1" dirty="0" smtClean="0">
                <a:solidFill>
                  <a:prstClr val="black"/>
                </a:solidFill>
                <a:latin typeface="Calibri" pitchFamily="34" charset="0"/>
                <a:ea typeface="ヒラギノ角ゴ Pro W3" pitchFamily="1" charset="-128"/>
              </a:rPr>
              <a:t>15/07/2018 </a:t>
            </a:r>
            <a:r>
              <a:rPr lang="tr-TR" sz="2000" b="1" dirty="0">
                <a:solidFill>
                  <a:prstClr val="black"/>
                </a:solidFill>
                <a:latin typeface="Calibri" pitchFamily="34" charset="0"/>
                <a:ea typeface="ヒラギノ角ゴ Pro W3" pitchFamily="1" charset="-128"/>
              </a:rPr>
              <a:t>tarih, 4 sayılı Cumhurbaşkanlığı Kararnamesi ile son şeklini almıştır.</a:t>
            </a:r>
            <a:endParaRPr lang="tr-TR" sz="2000" dirty="0"/>
          </a:p>
        </p:txBody>
      </p:sp>
    </p:spTree>
    <p:extLst>
      <p:ext uri="{BB962C8B-B14F-4D97-AF65-F5344CB8AC3E}">
        <p14:creationId xmlns:p14="http://schemas.microsoft.com/office/powerpoint/2010/main" val="182116632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sim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62144" y="0"/>
            <a:ext cx="6858000" cy="6858000"/>
          </a:xfrm>
          <a:prstGeom prst="rect">
            <a:avLst/>
          </a:prstGeom>
        </p:spPr>
      </p:pic>
      <p:grpSp>
        <p:nvGrpSpPr>
          <p:cNvPr id="5" name="Grup 4"/>
          <p:cNvGrpSpPr/>
          <p:nvPr/>
        </p:nvGrpSpPr>
        <p:grpSpPr>
          <a:xfrm>
            <a:off x="17593" y="1366651"/>
            <a:ext cx="6170905" cy="3350873"/>
            <a:chOff x="17593" y="1023935"/>
            <a:chExt cx="6170905" cy="3350873"/>
          </a:xfrm>
        </p:grpSpPr>
        <p:sp>
          <p:nvSpPr>
            <p:cNvPr id="12" name="Dikdörtgen 11">
              <a:extLst>
                <a:ext uri="{FF2B5EF4-FFF2-40B4-BE49-F238E27FC236}">
                  <a16:creationId xmlns:a16="http://schemas.microsoft.com/office/drawing/2014/main" id="{6FC9B9F4-D0DB-4329-BDC7-5613B9CE3B7B}"/>
                </a:ext>
              </a:extLst>
            </p:cNvPr>
            <p:cNvSpPr/>
            <p:nvPr/>
          </p:nvSpPr>
          <p:spPr>
            <a:xfrm>
              <a:off x="17593" y="1023935"/>
              <a:ext cx="5802296" cy="3350873"/>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p:cNvSpPr/>
            <p:nvPr/>
          </p:nvSpPr>
          <p:spPr>
            <a:xfrm>
              <a:off x="360188" y="1665676"/>
              <a:ext cx="5828310" cy="25658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895" marR="0" lvl="0" indent="-342895" algn="l" defTabSz="914388"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400" b="0" i="0" u="none" strike="noStrike" kern="1200" cap="none" spc="0" normalizeH="0" baseline="0" noProof="0" dirty="0">
                  <a:ln>
                    <a:noFill/>
                  </a:ln>
                  <a:solidFill>
                    <a:prstClr val="black"/>
                  </a:solidFill>
                  <a:effectLst/>
                  <a:uLnTx/>
                  <a:uFillTx/>
                  <a:latin typeface="Calibri"/>
                  <a:ea typeface="+mn-ea"/>
                  <a:cs typeface="+mn-cs"/>
                </a:rPr>
                <a:t>Üniversiteler, </a:t>
              </a:r>
            </a:p>
            <a:p>
              <a:pPr marL="342895" marR="0" lvl="0" indent="-342895" algn="l" defTabSz="914388"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400" b="0" i="0" u="none" strike="noStrike" kern="1200" cap="none" spc="0" normalizeH="0" baseline="0" noProof="0" dirty="0">
                  <a:ln>
                    <a:noFill/>
                  </a:ln>
                  <a:solidFill>
                    <a:prstClr val="black"/>
                  </a:solidFill>
                  <a:effectLst/>
                  <a:uLnTx/>
                  <a:uFillTx/>
                  <a:latin typeface="Calibri"/>
                  <a:ea typeface="+mn-ea"/>
                  <a:cs typeface="+mn-cs"/>
                </a:rPr>
                <a:t>Üniversitelerin bu amaçla kurulmuş iştirakleri </a:t>
              </a:r>
            </a:p>
            <a:p>
              <a:pPr marL="342895" marR="0" lvl="0" indent="-342895" algn="l" defTabSz="914388"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400" b="0" i="0" u="none" strike="noStrike" kern="1200" cap="none" spc="0" normalizeH="0" baseline="0" noProof="0" dirty="0">
                  <a:ln>
                    <a:noFill/>
                  </a:ln>
                  <a:solidFill>
                    <a:prstClr val="black"/>
                  </a:solidFill>
                  <a:effectLst/>
                  <a:uLnTx/>
                  <a:uFillTx/>
                  <a:latin typeface="Calibri"/>
                  <a:ea typeface="+mn-ea"/>
                  <a:cs typeface="+mn-cs"/>
                </a:rPr>
                <a:t>Teknoloji geliştirme bölgesi yönetici şirketleri </a:t>
              </a:r>
            </a:p>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tr-TR"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388" rtl="0" eaLnBrk="1" fontAlgn="auto" latinLnBrk="0" hangingPunct="1">
                <a:lnSpc>
                  <a:spcPct val="100000"/>
                </a:lnSpc>
                <a:spcBef>
                  <a:spcPts val="0"/>
                </a:spcBef>
                <a:spcAft>
                  <a:spcPts val="0"/>
                </a:spcAft>
                <a:buClrTx/>
                <a:buSzTx/>
                <a:buFontTx/>
                <a:buNone/>
                <a:tabLst/>
                <a:defRPr/>
              </a:pPr>
              <a:r>
                <a:rPr kumimoji="0" lang="tr-TR" sz="2400" b="0" i="0" u="none" strike="noStrike" kern="1200" cap="none" spc="0" normalizeH="0" baseline="0" noProof="0" dirty="0">
                  <a:ln>
                    <a:noFill/>
                  </a:ln>
                  <a:solidFill>
                    <a:prstClr val="black"/>
                  </a:solidFill>
                  <a:effectLst/>
                  <a:uLnTx/>
                  <a:uFillTx/>
                  <a:latin typeface="Calibri"/>
                  <a:ea typeface="+mn-ea"/>
                  <a:cs typeface="+mn-cs"/>
                </a:rPr>
                <a:t>tek başına ya da konsorsiyum olarak</a:t>
              </a:r>
            </a:p>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tr-TR" sz="2400" b="1" i="0" u="none" strike="noStrike" kern="0" cap="none" spc="0" normalizeH="0" baseline="0" noProof="0" dirty="0">
                <a:ln>
                  <a:noFill/>
                </a:ln>
                <a:solidFill>
                  <a:srgbClr val="FF0000"/>
                </a:solidFill>
                <a:effectLst/>
                <a:uLnTx/>
                <a:uFillTx/>
                <a:latin typeface="Calibri"/>
                <a:ea typeface="+mn-ea"/>
                <a:cs typeface="+mn-cs"/>
              </a:endParaRPr>
            </a:p>
          </p:txBody>
        </p:sp>
        <p:sp>
          <p:nvSpPr>
            <p:cNvPr id="13" name="Dikdörtgen 12"/>
            <p:cNvSpPr/>
            <p:nvPr/>
          </p:nvSpPr>
          <p:spPr>
            <a:xfrm>
              <a:off x="175461" y="1023935"/>
              <a:ext cx="4045851" cy="584775"/>
            </a:xfrm>
            <a:prstGeom prst="rect">
              <a:avLst/>
            </a:prstGeom>
          </p:spPr>
          <p:txBody>
            <a:bodyPr wrap="none">
              <a:spAutoFit/>
            </a:bodyPr>
            <a:lstStyle/>
            <a:p>
              <a:pPr marL="0" marR="0" lvl="0" indent="0" algn="l" defTabSz="914388"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smtClean="0">
                  <a:ln>
                    <a:noFill/>
                  </a:ln>
                  <a:solidFill>
                    <a:srgbClr val="0070C0"/>
                  </a:solidFill>
                  <a:effectLst/>
                  <a:uLnTx/>
                  <a:uFillTx/>
                  <a:latin typeface="Times New Roman" panose="02020603050405020304" pitchFamily="18" charset="0"/>
                  <a:ea typeface="+mn-ea"/>
                  <a:cs typeface="Times New Roman" panose="02020603050405020304" pitchFamily="18" charset="0"/>
                </a:rPr>
                <a:t>Kimler Başvurabilir </a:t>
              </a:r>
              <a:r>
                <a:rPr kumimoji="0" lang="tr-TR" sz="3200" b="1" i="0" u="none" strike="noStrike" kern="1200" cap="none" spc="0" normalizeH="0" baseline="0" noProof="0" dirty="0">
                  <a:ln>
                    <a:noFill/>
                  </a:ln>
                  <a:solidFill>
                    <a:srgbClr val="0070C0"/>
                  </a:solidFill>
                  <a:effectLst/>
                  <a:uLnTx/>
                  <a:uFillTx/>
                  <a:latin typeface="Times New Roman" panose="02020603050405020304" pitchFamily="18" charset="0"/>
                  <a:ea typeface="+mn-ea"/>
                  <a:cs typeface="Times New Roman" panose="02020603050405020304" pitchFamily="18" charset="0"/>
                </a:rPr>
                <a:t>?</a:t>
              </a:r>
              <a:endParaRPr kumimoji="0" lang="en-US" sz="3200" b="1" i="0" u="none" strike="noStrike" kern="1200" cap="none" spc="0" normalizeH="0" baseline="0" noProof="0" dirty="0">
                <a:ln>
                  <a:noFill/>
                </a:ln>
                <a:solidFill>
                  <a:srgbClr val="0070C0"/>
                </a:solidFill>
                <a:effectLst/>
                <a:uLnTx/>
                <a:uFillTx/>
                <a:latin typeface="Times New Roman" panose="02020603050405020304" pitchFamily="18" charset="0"/>
                <a:ea typeface="+mn-ea"/>
                <a:cs typeface="Times New Roman" panose="02020603050405020304" pitchFamily="18" charset="0"/>
              </a:endParaRPr>
            </a:p>
          </p:txBody>
        </p:sp>
      </p:grpSp>
      <p:sp>
        <p:nvSpPr>
          <p:cNvPr id="3" name="Slayt Numarası Yer Tutucusu 2"/>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20</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16" name="4 Metin kutusu"/>
          <p:cNvSpPr txBox="1"/>
          <p:nvPr/>
        </p:nvSpPr>
        <p:spPr>
          <a:xfrm>
            <a:off x="175461" y="-13312"/>
            <a:ext cx="5264237" cy="108093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r-TR" sz="3212" b="1" i="0" u="none" strike="noStrike" kern="1200" cap="none" spc="0" normalizeH="0" baseline="0" noProof="0" dirty="0">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Uluslararası Kuluçka Merkezi Kurma Programı</a:t>
            </a:r>
          </a:p>
        </p:txBody>
      </p:sp>
      <p:grpSp>
        <p:nvGrpSpPr>
          <p:cNvPr id="4" name="Grup 3"/>
          <p:cNvGrpSpPr/>
          <p:nvPr/>
        </p:nvGrpSpPr>
        <p:grpSpPr>
          <a:xfrm>
            <a:off x="17593" y="5016550"/>
            <a:ext cx="5802296" cy="1576171"/>
            <a:chOff x="17593" y="4851314"/>
            <a:chExt cx="5802296" cy="1576171"/>
          </a:xfrm>
        </p:grpSpPr>
        <p:sp>
          <p:nvSpPr>
            <p:cNvPr id="9" name="Dikdörtgen 8">
              <a:extLst>
                <a:ext uri="{FF2B5EF4-FFF2-40B4-BE49-F238E27FC236}">
                  <a16:creationId xmlns:a16="http://schemas.microsoft.com/office/drawing/2014/main" id="{F6ABEFEC-C981-4585-AF7B-177B518A9092}"/>
                </a:ext>
              </a:extLst>
            </p:cNvPr>
            <p:cNvSpPr/>
            <p:nvPr/>
          </p:nvSpPr>
          <p:spPr>
            <a:xfrm>
              <a:off x="17593" y="4851314"/>
              <a:ext cx="5802296" cy="150513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Dikdörtgen 13"/>
            <p:cNvSpPr/>
            <p:nvPr/>
          </p:nvSpPr>
          <p:spPr>
            <a:xfrm>
              <a:off x="360188" y="4986631"/>
              <a:ext cx="3281219" cy="584775"/>
            </a:xfrm>
            <a:prstGeom prst="rect">
              <a:avLst/>
            </a:prstGeom>
          </p:spPr>
          <p:txBody>
            <a:bodyPr wrap="none">
              <a:spAutoFit/>
            </a:bodyPr>
            <a:lstStyle/>
            <a:p>
              <a:pPr marL="0" marR="0" lvl="0" indent="0" algn="l" defTabSz="914388"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smtClean="0">
                  <a:ln>
                    <a:noFill/>
                  </a:ln>
                  <a:solidFill>
                    <a:srgbClr val="F9A91C"/>
                  </a:solidFill>
                  <a:effectLst/>
                  <a:uLnTx/>
                  <a:uFillTx/>
                  <a:latin typeface="Times New Roman" panose="02020603050405020304" pitchFamily="18" charset="0"/>
                  <a:ea typeface="+mn-ea"/>
                  <a:cs typeface="Times New Roman" panose="02020603050405020304" pitchFamily="18" charset="0"/>
                </a:rPr>
                <a:t>Programın Süresi</a:t>
              </a:r>
              <a:endParaRPr kumimoji="0" lang="en-US" sz="3200" b="1" i="0" u="none" strike="noStrike" kern="1200" cap="none" spc="0" normalizeH="0" baseline="0" noProof="0" dirty="0">
                <a:ln>
                  <a:noFill/>
                </a:ln>
                <a:solidFill>
                  <a:srgbClr val="F9A91C"/>
                </a:solidFill>
                <a:effectLst/>
                <a:uLnTx/>
                <a:uFillTx/>
                <a:latin typeface="Times New Roman" panose="02020603050405020304" pitchFamily="18" charset="0"/>
                <a:ea typeface="+mn-ea"/>
                <a:cs typeface="Times New Roman" panose="02020603050405020304" pitchFamily="18" charset="0"/>
              </a:endParaRPr>
            </a:p>
          </p:txBody>
        </p:sp>
        <p:sp>
          <p:nvSpPr>
            <p:cNvPr id="17" name="Dikdörtgen 16"/>
            <p:cNvSpPr/>
            <p:nvPr/>
          </p:nvSpPr>
          <p:spPr>
            <a:xfrm>
              <a:off x="360189" y="5596488"/>
              <a:ext cx="2678576" cy="830997"/>
            </a:xfrm>
            <a:prstGeom prst="rect">
              <a:avLst/>
            </a:prstGeom>
          </p:spPr>
          <p:txBody>
            <a:bodyPr wrap="square">
              <a:spAutoFit/>
            </a:bodyPr>
            <a:lstStyle/>
            <a:p>
              <a:pPr marL="342900" marR="0" lvl="0" indent="-342900" algn="l" defTabSz="914400" rtl="0" eaLnBrk="1" fontAlgn="base" latinLnBrk="0" hangingPunct="1">
                <a:lnSpc>
                  <a:spcPct val="120000"/>
                </a:lnSpc>
                <a:spcBef>
                  <a:spcPct val="0"/>
                </a:spcBef>
                <a:spcAft>
                  <a:spcPct val="0"/>
                </a:spcAft>
                <a:buClr>
                  <a:srgbClr val="F9A91C"/>
                </a:buClr>
                <a:buSzPct val="125000"/>
                <a:buFont typeface="Wingdings" panose="05000000000000000000" pitchFamily="2" charset="2"/>
                <a:buChar char="ü"/>
                <a:tabLst>
                  <a:tab pos="261938" algn="l"/>
                </a:tabLst>
                <a:defRPr/>
              </a:pPr>
              <a:r>
                <a:rPr kumimoji="0" lang="tr-TR"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5 Yıl</a:t>
              </a:r>
              <a:endParaRPr kumimoji="0" lang="tr-TR"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base" latinLnBrk="0" hangingPunct="1">
                <a:lnSpc>
                  <a:spcPct val="120000"/>
                </a:lnSpc>
                <a:spcBef>
                  <a:spcPct val="0"/>
                </a:spcBef>
                <a:spcAft>
                  <a:spcPct val="0"/>
                </a:spcAft>
                <a:buClr>
                  <a:srgbClr val="F9A91C"/>
                </a:buClr>
                <a:buSzPct val="125000"/>
                <a:buFontTx/>
                <a:buNone/>
                <a:tabLst>
                  <a:tab pos="261938" algn="l"/>
                </a:tabLst>
                <a:defRPr/>
              </a:pPr>
              <a:endParaRPr kumimoji="0" lang="tr-TR"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grpSp>
      <p:pic>
        <p:nvPicPr>
          <p:cNvPr id="18" name="Picture 3"/>
          <p:cNvPicPr>
            <a:picLocks noChangeAspect="1" noChangeArrowheads="1"/>
          </p:cNvPicPr>
          <p:nvPr/>
        </p:nvPicPr>
        <p:blipFill>
          <a:blip r:embed="rId3" cstate="print"/>
          <a:srcRect/>
          <a:stretch>
            <a:fillRect/>
          </a:stretch>
        </p:blipFill>
        <p:spPr bwMode="auto">
          <a:xfrm>
            <a:off x="0" y="64341"/>
            <a:ext cx="960106" cy="677217"/>
          </a:xfrm>
          <a:prstGeom prst="rect">
            <a:avLst/>
          </a:prstGeom>
          <a:noFill/>
          <a:ln w="9525">
            <a:noFill/>
            <a:miter lim="800000"/>
            <a:headEnd/>
            <a:tailEnd/>
          </a:ln>
        </p:spPr>
      </p:pic>
    </p:spTree>
    <p:extLst>
      <p:ext uri="{BB962C8B-B14F-4D97-AF65-F5344CB8AC3E}">
        <p14:creationId xmlns:p14="http://schemas.microsoft.com/office/powerpoint/2010/main" val="2634936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27 Yuvarlatılmış Dikdörtgen"/>
          <p:cNvSpPr/>
          <p:nvPr/>
        </p:nvSpPr>
        <p:spPr>
          <a:xfrm>
            <a:off x="322555" y="1694032"/>
            <a:ext cx="3558206" cy="650443"/>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7" b="1"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Kuruluş ve Donanım Desteği</a:t>
            </a:r>
          </a:p>
        </p:txBody>
      </p:sp>
      <p:sp>
        <p:nvSpPr>
          <p:cNvPr id="10" name="Sağ Ayraç 9"/>
          <p:cNvSpPr/>
          <p:nvPr/>
        </p:nvSpPr>
        <p:spPr>
          <a:xfrm>
            <a:off x="3996558" y="1517306"/>
            <a:ext cx="144543" cy="1011801"/>
          </a:xfrm>
          <a:prstGeom prst="rightBrac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7" b="0" i="0" u="none" strike="noStrike" kern="1200" cap="none" spc="0" normalizeH="0" baseline="0" noProof="0">
              <a:ln>
                <a:noFill/>
              </a:ln>
              <a:solidFill>
                <a:prstClr val="black"/>
              </a:solidFill>
              <a:effectLst/>
              <a:uLnTx/>
              <a:uFillTx/>
              <a:latin typeface="Calibri"/>
              <a:ea typeface="+mn-ea"/>
              <a:cs typeface="+mn-cs"/>
            </a:endParaRPr>
          </a:p>
        </p:txBody>
      </p:sp>
      <p:sp>
        <p:nvSpPr>
          <p:cNvPr id="20" name="Metin kutusu 19"/>
          <p:cNvSpPr txBox="1"/>
          <p:nvPr/>
        </p:nvSpPr>
        <p:spPr>
          <a:xfrm>
            <a:off x="4360322" y="1602398"/>
            <a:ext cx="3107674" cy="9267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7" b="1" i="0" u="none" strike="noStrike" kern="1200" cap="none" spc="0" normalizeH="0" baseline="0" noProof="0" dirty="0">
                <a:ln>
                  <a:noFill/>
                </a:ln>
                <a:solidFill>
                  <a:prstClr val="black"/>
                </a:solidFill>
                <a:effectLst/>
                <a:uLnTx/>
                <a:uFillTx/>
                <a:latin typeface="Calibri"/>
                <a:ea typeface="+mn-ea"/>
                <a:cs typeface="+mn-cs"/>
              </a:rPr>
              <a:t>En fazla 1 yıl içinde gerçekleşen Kuruluş ve Donanım giderleri için verilir</a:t>
            </a:r>
          </a:p>
        </p:txBody>
      </p:sp>
      <p:sp>
        <p:nvSpPr>
          <p:cNvPr id="23" name="Dikdörtgen 22"/>
          <p:cNvSpPr/>
          <p:nvPr/>
        </p:nvSpPr>
        <p:spPr>
          <a:xfrm>
            <a:off x="8430845" y="1332365"/>
            <a:ext cx="5324345" cy="1477328"/>
          </a:xfrm>
          <a:prstGeom prst="rect">
            <a:avLst/>
          </a:prstGeom>
        </p:spPr>
        <p:txBody>
          <a:bodyPr wrap="square">
            <a:spAutoFit/>
          </a:bodyPr>
          <a:lstStyle/>
          <a:p>
            <a:pPr marL="286807" marR="0" lvl="0" indent="-286807"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İşletme kuruluş giderleri, </a:t>
            </a:r>
          </a:p>
          <a:p>
            <a:pPr marL="286807" marR="0" lvl="0" indent="-286807"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Bina tadilatı, </a:t>
            </a:r>
          </a:p>
          <a:p>
            <a:pPr marL="286807" marR="0" lvl="0" indent="-286807"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Altyapı, </a:t>
            </a:r>
          </a:p>
          <a:p>
            <a:pPr marL="286807" marR="0" lvl="0" indent="-286807"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Ofis donanımı </a:t>
            </a:r>
          </a:p>
          <a:p>
            <a:pPr marL="286807" marR="0" lvl="0" indent="-286807"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Yazılım giderleri </a:t>
            </a:r>
          </a:p>
        </p:txBody>
      </p:sp>
      <p:grpSp>
        <p:nvGrpSpPr>
          <p:cNvPr id="3" name="Grup 2"/>
          <p:cNvGrpSpPr/>
          <p:nvPr/>
        </p:nvGrpSpPr>
        <p:grpSpPr>
          <a:xfrm>
            <a:off x="983185" y="2642926"/>
            <a:ext cx="2489159" cy="652795"/>
            <a:chOff x="5770753" y="2449992"/>
            <a:chExt cx="2480084" cy="650415"/>
          </a:xfrm>
        </p:grpSpPr>
        <p:sp>
          <p:nvSpPr>
            <p:cNvPr id="32" name="27 Yuvarlatılmış Dikdörtgen"/>
            <p:cNvSpPr/>
            <p:nvPr/>
          </p:nvSpPr>
          <p:spPr>
            <a:xfrm>
              <a:off x="5770753" y="2452335"/>
              <a:ext cx="2480084" cy="648072"/>
            </a:xfrm>
            <a:prstGeom prst="roundRect">
              <a:avLst/>
            </a:prstGeom>
            <a:noFill/>
            <a:ln w="28575">
              <a:solidFill>
                <a:srgbClr val="00BA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2007" b="1" i="0" u="none" strike="noStrike" kern="1200" cap="none" spc="0" normalizeH="0" baseline="0" noProof="0" dirty="0">
                <a:ln>
                  <a:noFill/>
                </a:ln>
                <a:solidFill>
                  <a:srgbClr val="8064A2">
                    <a:lumMod val="75000"/>
                  </a:srgbClr>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7" b="1" i="0" u="none" strike="noStrike" kern="1200" cap="none" spc="0" normalizeH="0" baseline="0" noProof="0" dirty="0">
                  <a:ln>
                    <a:noFill/>
                  </a:ln>
                  <a:solidFill>
                    <a:srgbClr val="8064A2">
                      <a:lumMod val="75000"/>
                    </a:srgbClr>
                  </a:solidFill>
                  <a:effectLst/>
                  <a:uLnTx/>
                  <a:uFillTx/>
                  <a:latin typeface="Calibri"/>
                  <a:ea typeface="+mn-ea"/>
                  <a:cs typeface="+mn-cs"/>
                </a:rPr>
                <a:t>%80 destek oranı</a:t>
              </a:r>
            </a:p>
          </p:txBody>
        </p:sp>
        <p:sp>
          <p:nvSpPr>
            <p:cNvPr id="28" name="Dikdörtgen 27"/>
            <p:cNvSpPr/>
            <p:nvPr/>
          </p:nvSpPr>
          <p:spPr>
            <a:xfrm>
              <a:off x="5886128" y="2449992"/>
              <a:ext cx="2249334"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007" b="1" i="0" u="none" strike="noStrike" kern="1200" cap="none" spc="0" normalizeH="0" baseline="0" noProof="0" dirty="0">
                  <a:ln>
                    <a:noFill/>
                  </a:ln>
                  <a:solidFill>
                    <a:srgbClr val="FF0000"/>
                  </a:solidFill>
                  <a:effectLst/>
                  <a:uLnTx/>
                  <a:uFillTx/>
                  <a:latin typeface="Calibri"/>
                  <a:ea typeface="+mn-ea"/>
                  <a:cs typeface="+mn-cs"/>
                </a:rPr>
                <a:t>100.000-ABD doları</a:t>
              </a:r>
            </a:p>
          </p:txBody>
        </p:sp>
      </p:grpSp>
      <p:sp>
        <p:nvSpPr>
          <p:cNvPr id="24" name="3 Metin kutusu"/>
          <p:cNvSpPr txBox="1"/>
          <p:nvPr/>
        </p:nvSpPr>
        <p:spPr>
          <a:xfrm>
            <a:off x="983185" y="306788"/>
            <a:ext cx="9099375" cy="5866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12" b="1" i="0" u="none" strike="noStrike" kern="1200" cap="none" spc="0" normalizeH="0" baseline="0" noProof="0" dirty="0">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Uluslararası Kuluçka Merkezi Kurma Programı</a:t>
            </a:r>
          </a:p>
        </p:txBody>
      </p:sp>
      <p:sp>
        <p:nvSpPr>
          <p:cNvPr id="19" name="Sağ Ayraç 18">
            <a:extLst>
              <a:ext uri="{FF2B5EF4-FFF2-40B4-BE49-F238E27FC236}">
                <a16:creationId xmlns:a16="http://schemas.microsoft.com/office/drawing/2014/main" id="{E2A41F53-CA87-40D4-820B-EB91DA03315A}"/>
              </a:ext>
            </a:extLst>
          </p:cNvPr>
          <p:cNvSpPr/>
          <p:nvPr/>
        </p:nvSpPr>
        <p:spPr>
          <a:xfrm>
            <a:off x="7906358" y="1227435"/>
            <a:ext cx="144543" cy="1888406"/>
          </a:xfrm>
          <a:prstGeom prst="rightBrac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7" b="0" i="0" u="none" strike="noStrike" kern="1200" cap="none" spc="0" normalizeH="0" baseline="0" noProof="0">
              <a:ln>
                <a:noFill/>
              </a:ln>
              <a:solidFill>
                <a:prstClr val="black"/>
              </a:solidFill>
              <a:effectLst/>
              <a:uLnTx/>
              <a:uFillTx/>
              <a:latin typeface="Calibri"/>
              <a:ea typeface="+mn-ea"/>
              <a:cs typeface="+mn-cs"/>
            </a:endParaRPr>
          </a:p>
        </p:txBody>
      </p:sp>
      <p:sp>
        <p:nvSpPr>
          <p:cNvPr id="21" name="27 Yuvarlatılmış Dikdörtgen">
            <a:extLst>
              <a:ext uri="{FF2B5EF4-FFF2-40B4-BE49-F238E27FC236}">
                <a16:creationId xmlns:a16="http://schemas.microsoft.com/office/drawing/2014/main" id="{78C15177-CB79-4E7A-A0AE-51F11490B90A}"/>
              </a:ext>
            </a:extLst>
          </p:cNvPr>
          <p:cNvSpPr/>
          <p:nvPr/>
        </p:nvSpPr>
        <p:spPr>
          <a:xfrm>
            <a:off x="322555" y="4628886"/>
            <a:ext cx="3674003" cy="650443"/>
          </a:xfrm>
          <a:prstGeom prst="roundRect">
            <a:avLst/>
          </a:prstGeom>
          <a:solidFill>
            <a:schemeClr val="accent5">
              <a:lumMod val="75000"/>
            </a:schemeClr>
          </a:solidFill>
          <a:ln/>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7" b="1" i="0" u="none" strike="noStrike" kern="1200" cap="none" spc="0" normalizeH="0" baseline="0" noProof="0" dirty="0" err="1">
                <a:ln>
                  <a:noFill/>
                </a:ln>
                <a:solidFill>
                  <a:prstClr val="black"/>
                </a:solidFill>
                <a:effectLst/>
                <a:uLnTx/>
                <a:uFillTx/>
                <a:latin typeface="Calibri"/>
                <a:ea typeface="+mn-ea"/>
                <a:cs typeface="+mn-cs"/>
              </a:rPr>
              <a:t>Operasyonel</a:t>
            </a:r>
            <a:r>
              <a:rPr kumimoji="0" lang="tr-TR" sz="2007" b="1" i="0" u="none" strike="noStrike" kern="1200" cap="none" spc="0" normalizeH="0" baseline="0" noProof="0" dirty="0">
                <a:ln>
                  <a:noFill/>
                </a:ln>
                <a:solidFill>
                  <a:prstClr val="black"/>
                </a:solidFill>
                <a:effectLst/>
                <a:uLnTx/>
                <a:uFillTx/>
                <a:latin typeface="Calibri"/>
                <a:ea typeface="+mn-ea"/>
                <a:cs typeface="+mn-cs"/>
              </a:rPr>
              <a:t> Giderler Desteği</a:t>
            </a:r>
          </a:p>
        </p:txBody>
      </p:sp>
      <p:sp>
        <p:nvSpPr>
          <p:cNvPr id="25" name="Sağ Ayraç 24">
            <a:extLst>
              <a:ext uri="{FF2B5EF4-FFF2-40B4-BE49-F238E27FC236}">
                <a16:creationId xmlns:a16="http://schemas.microsoft.com/office/drawing/2014/main" id="{1652B7E6-38AB-4280-BC95-3D7A9F722B85}"/>
              </a:ext>
            </a:extLst>
          </p:cNvPr>
          <p:cNvSpPr/>
          <p:nvPr/>
        </p:nvSpPr>
        <p:spPr>
          <a:xfrm>
            <a:off x="4115876" y="4484343"/>
            <a:ext cx="226994" cy="1011801"/>
          </a:xfrm>
          <a:prstGeom prst="rightBrace">
            <a:avLst/>
          </a:prstGeom>
          <a:ln w="381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7" b="0" i="0" u="none" strike="noStrike" kern="1200" cap="none" spc="0" normalizeH="0" baseline="0" noProof="0">
              <a:ln>
                <a:noFill/>
              </a:ln>
              <a:solidFill>
                <a:prstClr val="black"/>
              </a:solidFill>
              <a:effectLst/>
              <a:uLnTx/>
              <a:uFillTx/>
              <a:latin typeface="Calibri"/>
              <a:ea typeface="+mn-ea"/>
              <a:cs typeface="+mn-cs"/>
            </a:endParaRPr>
          </a:p>
        </p:txBody>
      </p:sp>
      <p:sp>
        <p:nvSpPr>
          <p:cNvPr id="29" name="Metin kutusu 28">
            <a:extLst>
              <a:ext uri="{FF2B5EF4-FFF2-40B4-BE49-F238E27FC236}">
                <a16:creationId xmlns:a16="http://schemas.microsoft.com/office/drawing/2014/main" id="{CA627C4F-F5F3-4023-B242-19614B1CB6BD}"/>
              </a:ext>
            </a:extLst>
          </p:cNvPr>
          <p:cNvSpPr txBox="1"/>
          <p:nvPr/>
        </p:nvSpPr>
        <p:spPr>
          <a:xfrm>
            <a:off x="4415819" y="4628886"/>
            <a:ext cx="3277525" cy="9267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7" b="1" i="0" u="none" strike="noStrike" kern="1200" cap="none" spc="0" normalizeH="0" baseline="0" noProof="0" dirty="0">
                <a:ln>
                  <a:noFill/>
                </a:ln>
                <a:solidFill>
                  <a:prstClr val="black"/>
                </a:solidFill>
                <a:effectLst/>
                <a:uLnTx/>
                <a:uFillTx/>
                <a:latin typeface="Calibri"/>
                <a:ea typeface="+mn-ea"/>
                <a:cs typeface="+mn-cs"/>
              </a:rPr>
              <a:t>1’inci ve 2’nci yıl için % 80</a:t>
            </a:r>
            <a:br>
              <a:rPr kumimoji="0" lang="tr-TR" sz="1807" b="1" i="0" u="none" strike="noStrike" kern="1200" cap="none" spc="0" normalizeH="0" baseline="0" noProof="0" dirty="0">
                <a:ln>
                  <a:noFill/>
                </a:ln>
                <a:solidFill>
                  <a:prstClr val="black"/>
                </a:solidFill>
                <a:effectLst/>
                <a:uLnTx/>
                <a:uFillTx/>
                <a:latin typeface="Calibri"/>
                <a:ea typeface="+mn-ea"/>
                <a:cs typeface="+mn-cs"/>
              </a:rPr>
            </a:br>
            <a:r>
              <a:rPr kumimoji="0" lang="tr-TR" sz="1807" b="1" i="0" u="none" strike="noStrike" kern="1200" cap="none" spc="0" normalizeH="0" baseline="0" noProof="0" dirty="0">
                <a:ln>
                  <a:noFill/>
                </a:ln>
                <a:solidFill>
                  <a:prstClr val="black"/>
                </a:solidFill>
                <a:effectLst/>
                <a:uLnTx/>
                <a:uFillTx/>
                <a:latin typeface="Calibri"/>
                <a:ea typeface="+mn-ea"/>
                <a:cs typeface="+mn-cs"/>
              </a:rPr>
              <a:t>3 ile 5’inci yıllar için % 60 oranında uygulanır.</a:t>
            </a:r>
          </a:p>
        </p:txBody>
      </p:sp>
      <p:sp>
        <p:nvSpPr>
          <p:cNvPr id="30" name="Sağ Ayraç 29">
            <a:extLst>
              <a:ext uri="{FF2B5EF4-FFF2-40B4-BE49-F238E27FC236}">
                <a16:creationId xmlns:a16="http://schemas.microsoft.com/office/drawing/2014/main" id="{A77B30F6-D426-4C5E-A1EE-7E48BFD5408B}"/>
              </a:ext>
            </a:extLst>
          </p:cNvPr>
          <p:cNvSpPr/>
          <p:nvPr/>
        </p:nvSpPr>
        <p:spPr>
          <a:xfrm>
            <a:off x="7905320" y="3697190"/>
            <a:ext cx="144543" cy="2637602"/>
          </a:xfrm>
          <a:prstGeom prst="rightBrace">
            <a:avLst/>
          </a:prstGeom>
          <a:ln w="381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7" b="0" i="0" u="none" strike="noStrike" kern="1200" cap="none" spc="0" normalizeH="0" baseline="0" noProof="0">
              <a:ln>
                <a:noFill/>
              </a:ln>
              <a:solidFill>
                <a:prstClr val="black"/>
              </a:solidFill>
              <a:effectLst/>
              <a:uLnTx/>
              <a:uFillTx/>
              <a:latin typeface="Calibri"/>
              <a:ea typeface="+mn-ea"/>
              <a:cs typeface="+mn-cs"/>
            </a:endParaRPr>
          </a:p>
        </p:txBody>
      </p:sp>
      <p:sp>
        <p:nvSpPr>
          <p:cNvPr id="31" name="Dikdörtgen 30">
            <a:extLst>
              <a:ext uri="{FF2B5EF4-FFF2-40B4-BE49-F238E27FC236}">
                <a16:creationId xmlns:a16="http://schemas.microsoft.com/office/drawing/2014/main" id="{869019ED-9DE5-4B51-A02A-A542E22EE310}"/>
              </a:ext>
            </a:extLst>
          </p:cNvPr>
          <p:cNvSpPr/>
          <p:nvPr/>
        </p:nvSpPr>
        <p:spPr>
          <a:xfrm>
            <a:off x="8351671" y="3649388"/>
            <a:ext cx="3616658" cy="2862322"/>
          </a:xfrm>
          <a:prstGeom prst="rect">
            <a:avLst/>
          </a:prstGeom>
        </p:spPr>
        <p:txBody>
          <a:bodyPr wrap="square">
            <a:spAutoFit/>
          </a:bodyPr>
          <a:lstStyle/>
          <a:p>
            <a:pPr marL="286807" marR="0" lvl="0" indent="-286807"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Kuluçka merkezi kirası, </a:t>
            </a:r>
          </a:p>
          <a:p>
            <a:pPr marL="286807" marR="0" lvl="0" indent="-286807"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İşletim giderleri, </a:t>
            </a:r>
          </a:p>
          <a:p>
            <a:pPr marL="286807" marR="0" lvl="0" indent="-286807"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İşletici kuruluş personeli ve bu personele ait ulaşım giderleri ile </a:t>
            </a:r>
          </a:p>
          <a:p>
            <a:pPr marL="286807" marR="0" lvl="0" indent="-286807"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Tanıtım faaliyetleri, </a:t>
            </a:r>
          </a:p>
          <a:p>
            <a:pPr marL="286807" marR="0" lvl="0" indent="-286807"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Eğitim, danışmanlık, </a:t>
            </a:r>
            <a:r>
              <a:rPr kumimoji="0" lang="tr-TR" sz="1800" b="1" i="0" u="none" strike="noStrike" kern="1200" cap="none" spc="0" normalizeH="0" baseline="0" noProof="0" dirty="0" err="1">
                <a:ln>
                  <a:noFill/>
                </a:ln>
                <a:solidFill>
                  <a:prstClr val="black"/>
                </a:solidFill>
                <a:effectLst/>
                <a:uLnTx/>
                <a:uFillTx/>
                <a:latin typeface="Calibri"/>
                <a:ea typeface="+mn-ea"/>
                <a:cs typeface="+mn-cs"/>
              </a:rPr>
              <a:t>mentörlük</a:t>
            </a:r>
            <a:r>
              <a:rPr kumimoji="0" lang="tr-TR" sz="1800" b="1" i="0" u="none" strike="noStrike" kern="1200" cap="none" spc="0" normalizeH="0" baseline="0" noProof="0" dirty="0">
                <a:ln>
                  <a:noFill/>
                </a:ln>
                <a:solidFill>
                  <a:prstClr val="black"/>
                </a:solidFill>
                <a:effectLst/>
                <a:uLnTx/>
                <a:uFillTx/>
                <a:latin typeface="Calibri"/>
                <a:ea typeface="+mn-ea"/>
                <a:cs typeface="+mn-cs"/>
              </a:rPr>
              <a:t>, iş yönetimi, hukuk, fikri ve sınai mülkiyet hakları, </a:t>
            </a:r>
          </a:p>
          <a:p>
            <a:pPr marL="286807" marR="0" lvl="0" indent="-286807"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Düzenleyeceği organizasyonlar için destek verilir.</a:t>
            </a:r>
          </a:p>
        </p:txBody>
      </p:sp>
      <p:sp>
        <p:nvSpPr>
          <p:cNvPr id="33" name="27 Yuvarlatılmış Dikdörtgen">
            <a:extLst>
              <a:ext uri="{FF2B5EF4-FFF2-40B4-BE49-F238E27FC236}">
                <a16:creationId xmlns:a16="http://schemas.microsoft.com/office/drawing/2014/main" id="{835AEC9D-535F-4616-AA98-917FDA964BC1}"/>
              </a:ext>
            </a:extLst>
          </p:cNvPr>
          <p:cNvSpPr/>
          <p:nvPr/>
        </p:nvSpPr>
        <p:spPr>
          <a:xfrm>
            <a:off x="911810" y="5496144"/>
            <a:ext cx="2845683" cy="883618"/>
          </a:xfrm>
          <a:prstGeom prst="roundRect">
            <a:avLst/>
          </a:prstGeom>
          <a:noFill/>
          <a:ln w="28575">
            <a:solidFill>
              <a:srgbClr val="00BA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7" b="1" i="0" u="none" strike="noStrike" kern="1200" cap="none" spc="0" normalizeH="0" baseline="0" noProof="0" dirty="0">
                <a:ln>
                  <a:noFill/>
                </a:ln>
                <a:solidFill>
                  <a:srgbClr val="FF0000"/>
                </a:solidFill>
                <a:effectLst/>
                <a:uLnTx/>
                <a:uFillTx/>
                <a:latin typeface="Calibri"/>
                <a:ea typeface="+mn-ea"/>
                <a:cs typeface="+mn-cs"/>
              </a:rPr>
              <a:t>3.750.000 ABD Doları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7" b="1" i="0" u="none" strike="noStrike" kern="1200" cap="none" spc="0" normalizeH="0" baseline="0" noProof="0" dirty="0">
                <a:ln>
                  <a:noFill/>
                </a:ln>
                <a:solidFill>
                  <a:srgbClr val="FF0000"/>
                </a:solidFill>
                <a:effectLst/>
                <a:uLnTx/>
                <a:uFillTx/>
                <a:latin typeface="Calibri"/>
                <a:ea typeface="+mn-ea"/>
                <a:cs typeface="+mn-cs"/>
              </a:rPr>
              <a:t>yıllık üst limit 750.000 ABD Doları </a:t>
            </a:r>
          </a:p>
        </p:txBody>
      </p:sp>
      <p:sp>
        <p:nvSpPr>
          <p:cNvPr id="4" name="Slayt Numarası Yer Tutucusu 3"/>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21</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pic>
        <p:nvPicPr>
          <p:cNvPr id="26" name="Picture 3"/>
          <p:cNvPicPr>
            <a:picLocks noChangeAspect="1" noChangeArrowheads="1"/>
          </p:cNvPicPr>
          <p:nvPr/>
        </p:nvPicPr>
        <p:blipFill>
          <a:blip r:embed="rId3" cstate="print"/>
          <a:srcRect/>
          <a:stretch>
            <a:fillRect/>
          </a:stretch>
        </p:blipFill>
        <p:spPr bwMode="auto">
          <a:xfrm>
            <a:off x="138876" y="277902"/>
            <a:ext cx="960106" cy="677217"/>
          </a:xfrm>
          <a:prstGeom prst="rect">
            <a:avLst/>
          </a:prstGeom>
          <a:noFill/>
          <a:ln w="9525">
            <a:noFill/>
            <a:miter lim="800000"/>
            <a:headEnd/>
            <a:tailEnd/>
          </a:ln>
        </p:spPr>
      </p:pic>
    </p:spTree>
    <p:extLst>
      <p:ext uri="{BB962C8B-B14F-4D97-AF65-F5344CB8AC3E}">
        <p14:creationId xmlns:p14="http://schemas.microsoft.com/office/powerpoint/2010/main" val="35724856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3"/>
          <p:cNvGrpSpPr/>
          <p:nvPr/>
        </p:nvGrpSpPr>
        <p:grpSpPr>
          <a:xfrm rot="2749472">
            <a:off x="4932795" y="2170778"/>
            <a:ext cx="2803812" cy="2820856"/>
            <a:chOff x="3655139" y="2262242"/>
            <a:chExt cx="2102981" cy="2115765"/>
          </a:xfrm>
          <a:solidFill>
            <a:schemeClr val="accent1"/>
          </a:solidFill>
          <a:effectLst>
            <a:outerShdw blurRad="152400" dist="889000" dir="5400000" sx="90000" sy="-19000" rotWithShape="0">
              <a:prstClr val="black">
                <a:alpha val="15000"/>
              </a:prstClr>
            </a:outerShdw>
          </a:effectLst>
        </p:grpSpPr>
        <p:sp>
          <p:nvSpPr>
            <p:cNvPr id="37" name="Cube 36"/>
            <p:cNvSpPr/>
            <p:nvPr/>
          </p:nvSpPr>
          <p:spPr>
            <a:xfrm>
              <a:off x="3655139" y="2262242"/>
              <a:ext cx="1216152" cy="1216152"/>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Cube 35"/>
            <p:cNvSpPr/>
            <p:nvPr/>
          </p:nvSpPr>
          <p:spPr>
            <a:xfrm>
              <a:off x="4541966" y="3161855"/>
              <a:ext cx="1216152" cy="1216152"/>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Cube 34"/>
            <p:cNvSpPr/>
            <p:nvPr/>
          </p:nvSpPr>
          <p:spPr>
            <a:xfrm>
              <a:off x="4541968" y="2262242"/>
              <a:ext cx="1216152" cy="1216152"/>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15" name="1"/>
          <p:cNvSpPr/>
          <p:nvPr/>
        </p:nvSpPr>
        <p:spPr>
          <a:xfrm rot="2701321">
            <a:off x="4733860" y="2757782"/>
            <a:ext cx="1621442" cy="1621442"/>
          </a:xfrm>
          <a:prstGeom prst="cub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9" tIns="60954" rIns="121909" bIns="60954"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7" name="2"/>
          <p:cNvGrpSpPr/>
          <p:nvPr/>
        </p:nvGrpSpPr>
        <p:grpSpPr>
          <a:xfrm>
            <a:off x="4109644" y="1921352"/>
            <a:ext cx="2475283" cy="3320803"/>
            <a:chOff x="3743753" y="1518612"/>
            <a:chExt cx="1856570" cy="2490747"/>
          </a:xfrm>
          <a:solidFill>
            <a:schemeClr val="tx2"/>
          </a:solidFill>
          <a:effectLst>
            <a:outerShdw blurRad="152400" dist="889000" dir="5400000" sx="90000" sy="-19000" rotWithShape="0">
              <a:prstClr val="black">
                <a:alpha val="15000"/>
              </a:prstClr>
            </a:outerShdw>
          </a:effectLst>
        </p:grpSpPr>
        <p:sp>
          <p:nvSpPr>
            <p:cNvPr id="12" name="Cube 11"/>
            <p:cNvSpPr/>
            <p:nvPr/>
          </p:nvSpPr>
          <p:spPr>
            <a:xfrm rot="2701321">
              <a:off x="3743753" y="2152297"/>
              <a:ext cx="1216152" cy="1216152"/>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Cube 12"/>
            <p:cNvSpPr/>
            <p:nvPr/>
          </p:nvSpPr>
          <p:spPr>
            <a:xfrm rot="2701321">
              <a:off x="4384171" y="2793207"/>
              <a:ext cx="1216152" cy="1216152"/>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Cube 13"/>
            <p:cNvSpPr/>
            <p:nvPr/>
          </p:nvSpPr>
          <p:spPr>
            <a:xfrm rot="2701321">
              <a:off x="4377925" y="1518612"/>
              <a:ext cx="1216152" cy="1216152"/>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0" name="4"/>
          <p:cNvSpPr/>
          <p:nvPr/>
        </p:nvSpPr>
        <p:spPr>
          <a:xfrm rot="2701321">
            <a:off x="5832663" y="2790506"/>
            <a:ext cx="1621442" cy="1621442"/>
          </a:xfrm>
          <a:prstGeom prst="cub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9" tIns="60954" rIns="121909" bIns="60954"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3 Metin kutusu"/>
          <p:cNvSpPr txBox="1"/>
          <p:nvPr/>
        </p:nvSpPr>
        <p:spPr>
          <a:xfrm>
            <a:off x="1061153" y="333707"/>
            <a:ext cx="9098847" cy="5866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12" b="1" i="0" u="none" strike="noStrike" kern="1200" cap="none" spc="0" normalizeH="0" baseline="0" noProof="0" dirty="0">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Uluslararası Hızlandırıcı Programı</a:t>
            </a:r>
          </a:p>
        </p:txBody>
      </p:sp>
      <p:sp>
        <p:nvSpPr>
          <p:cNvPr id="4" name="Dikdörtgen 3"/>
          <p:cNvSpPr/>
          <p:nvPr/>
        </p:nvSpPr>
        <p:spPr>
          <a:xfrm>
            <a:off x="641686" y="2660615"/>
            <a:ext cx="2805199" cy="206210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err="1">
                <a:ln>
                  <a:noFill/>
                </a:ln>
                <a:solidFill>
                  <a:srgbClr val="1F497D"/>
                </a:solidFill>
                <a:effectLst/>
                <a:uLnTx/>
                <a:uFillTx/>
                <a:latin typeface="Calibri"/>
                <a:ea typeface="+mn-ea"/>
                <a:cs typeface="+mn-cs"/>
              </a:rPr>
              <a:t>Organizasyonel</a:t>
            </a:r>
            <a:r>
              <a:rPr kumimoji="0" lang="tr-TR" sz="3200" b="1" i="0" u="none" strike="noStrike" kern="1200" cap="none" spc="0" normalizeH="0" baseline="0" noProof="0" dirty="0">
                <a:ln>
                  <a:noFill/>
                </a:ln>
                <a:solidFill>
                  <a:srgbClr val="1F497D"/>
                </a:solidFill>
                <a:effectLst/>
                <a:uLnTx/>
                <a:uFillTx/>
                <a:latin typeface="Calibri"/>
                <a:ea typeface="+mn-ea"/>
                <a:cs typeface="+mn-cs"/>
              </a:rPr>
              <a:t> Uluslararası Hızlandırıcı Programı</a:t>
            </a:r>
          </a:p>
        </p:txBody>
      </p:sp>
      <p:sp>
        <p:nvSpPr>
          <p:cNvPr id="19" name="3 Metin kutusu"/>
          <p:cNvSpPr txBox="1"/>
          <p:nvPr/>
        </p:nvSpPr>
        <p:spPr>
          <a:xfrm>
            <a:off x="8566710" y="2607342"/>
            <a:ext cx="3015052" cy="206210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a:noFill/>
                </a:ln>
                <a:solidFill>
                  <a:srgbClr val="729ACA"/>
                </a:solidFill>
                <a:effectLst/>
                <a:uLnTx/>
                <a:uFillTx/>
                <a:latin typeface="Calibri"/>
                <a:ea typeface="+mn-ea"/>
                <a:cs typeface="+mn-cs"/>
              </a:rPr>
              <a:t>Bireysel Uluslararası Hızlandırıcı Programı</a:t>
            </a:r>
          </a:p>
        </p:txBody>
      </p:sp>
      <p:sp>
        <p:nvSpPr>
          <p:cNvPr id="2" name="Slayt Numarası Yer Tutucusu 1"/>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22</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pic>
        <p:nvPicPr>
          <p:cNvPr id="20" name="Picture 3">
            <a:extLst>
              <a:ext uri="{FF2B5EF4-FFF2-40B4-BE49-F238E27FC236}">
                <a16:creationId xmlns:a16="http://schemas.microsoft.com/office/drawing/2014/main" id="{22F31EF3-0294-43F2-A1C8-66BD4A085E1C}"/>
              </a:ext>
            </a:extLst>
          </p:cNvPr>
          <p:cNvPicPr>
            <a:picLocks noChangeAspect="1" noChangeArrowheads="1"/>
          </p:cNvPicPr>
          <p:nvPr/>
        </p:nvPicPr>
        <p:blipFill>
          <a:blip r:embed="rId3" cstate="print"/>
          <a:srcRect/>
          <a:stretch>
            <a:fillRect/>
          </a:stretch>
        </p:blipFill>
        <p:spPr bwMode="auto">
          <a:xfrm>
            <a:off x="641686" y="333707"/>
            <a:ext cx="960106" cy="677217"/>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37092772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8" decel="100000" fill="hold" nodeType="after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additive="base">
                                        <p:cTn id="12" dur="500" fill="hold"/>
                                        <p:tgtEl>
                                          <p:spTgt spid="17"/>
                                        </p:tgtEl>
                                        <p:attrNameLst>
                                          <p:attrName>ppt_x</p:attrName>
                                        </p:attrNameLst>
                                      </p:cBhvr>
                                      <p:tavLst>
                                        <p:tav tm="0">
                                          <p:val>
                                            <p:strVal val="0-#ppt_w/2"/>
                                          </p:val>
                                        </p:tav>
                                        <p:tav tm="100000">
                                          <p:val>
                                            <p:strVal val="#ppt_x"/>
                                          </p:val>
                                        </p:tav>
                                      </p:tavLst>
                                    </p:anim>
                                    <p:anim calcmode="lin" valueType="num">
                                      <p:cBhvr additive="base">
                                        <p:cTn id="13" dur="500" fill="hold"/>
                                        <p:tgtEl>
                                          <p:spTgt spid="17"/>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nodeType="afterEffect">
                                  <p:stCondLst>
                                    <p:cond delay="0"/>
                                  </p:stCondLst>
                                  <p:childTnLst>
                                    <p:set>
                                      <p:cBhvr>
                                        <p:cTn id="16" dur="1" fill="hold">
                                          <p:stCondLst>
                                            <p:cond delay="0"/>
                                          </p:stCondLst>
                                        </p:cTn>
                                        <p:tgtEl>
                                          <p:spTgt spid="38"/>
                                        </p:tgtEl>
                                        <p:attrNameLst>
                                          <p:attrName>style.visibility</p:attrName>
                                        </p:attrNameLst>
                                      </p:cBhvr>
                                      <p:to>
                                        <p:strVal val="visible"/>
                                      </p:to>
                                    </p:set>
                                    <p:anim calcmode="lin" valueType="num">
                                      <p:cBhvr additive="base">
                                        <p:cTn id="17" dur="500" fill="hold"/>
                                        <p:tgtEl>
                                          <p:spTgt spid="38"/>
                                        </p:tgtEl>
                                        <p:attrNameLst>
                                          <p:attrName>ppt_x</p:attrName>
                                        </p:attrNameLst>
                                      </p:cBhvr>
                                      <p:tavLst>
                                        <p:tav tm="0">
                                          <p:val>
                                            <p:strVal val="1+#ppt_w/2"/>
                                          </p:val>
                                        </p:tav>
                                        <p:tav tm="100000">
                                          <p:val>
                                            <p:strVal val="#ppt_x"/>
                                          </p:val>
                                        </p:tav>
                                      </p:tavLst>
                                    </p:anim>
                                    <p:anim calcmode="lin" valueType="num">
                                      <p:cBhvr additive="base">
                                        <p:cTn id="18" dur="500" fill="hold"/>
                                        <p:tgtEl>
                                          <p:spTgt spid="38"/>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decel="100000" fill="hold" grpId="0" nodeType="afterEffect">
                                  <p:stCondLst>
                                    <p:cond delay="0"/>
                                  </p:stCondLst>
                                  <p:childTnLst>
                                    <p:set>
                                      <p:cBhvr>
                                        <p:cTn id="21" dur="1" fill="hold">
                                          <p:stCondLst>
                                            <p:cond delay="0"/>
                                          </p:stCondLst>
                                        </p:cTn>
                                        <p:tgtEl>
                                          <p:spTgt spid="40"/>
                                        </p:tgtEl>
                                        <p:attrNameLst>
                                          <p:attrName>style.visibility</p:attrName>
                                        </p:attrNameLst>
                                      </p:cBhvr>
                                      <p:to>
                                        <p:strVal val="visible"/>
                                      </p:to>
                                    </p:set>
                                    <p:anim calcmode="lin" valueType="num">
                                      <p:cBhvr additive="base">
                                        <p:cTn id="22" dur="500" fill="hold"/>
                                        <p:tgtEl>
                                          <p:spTgt spid="40"/>
                                        </p:tgtEl>
                                        <p:attrNameLst>
                                          <p:attrName>ppt_x</p:attrName>
                                        </p:attrNameLst>
                                      </p:cBhvr>
                                      <p:tavLst>
                                        <p:tav tm="0">
                                          <p:val>
                                            <p:strVal val="0-#ppt_w/2"/>
                                          </p:val>
                                        </p:tav>
                                        <p:tav tm="100000">
                                          <p:val>
                                            <p:strVal val="#ppt_x"/>
                                          </p:val>
                                        </p:tav>
                                      </p:tavLst>
                                    </p:anim>
                                    <p:anim calcmode="lin" valueType="num">
                                      <p:cBhvr additive="base">
                                        <p:cTn id="23" dur="5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4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a:spLocks/>
          </p:cNvSpPr>
          <p:nvPr/>
        </p:nvSpPr>
        <p:spPr bwMode="auto">
          <a:xfrm>
            <a:off x="1421138" y="3918987"/>
            <a:ext cx="10231685" cy="11030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Destek</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oranı</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 80’dir</a:t>
            </a:r>
            <a:r>
              <a:rPr kumimoji="0" lang="tr-TR"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a:t>
            </a:r>
            <a:endPar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endParaRPr>
          </a:p>
        </p:txBody>
      </p:sp>
      <p:sp>
        <p:nvSpPr>
          <p:cNvPr id="63" name="Pentagon 33"/>
          <p:cNvSpPr/>
          <p:nvPr/>
        </p:nvSpPr>
        <p:spPr bwMode="auto">
          <a:xfrm>
            <a:off x="638716" y="3926011"/>
            <a:ext cx="1046053" cy="1096027"/>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7" name="Rectangle 66"/>
          <p:cNvSpPr>
            <a:spLocks/>
          </p:cNvSpPr>
          <p:nvPr/>
        </p:nvSpPr>
        <p:spPr bwMode="auto">
          <a:xfrm>
            <a:off x="1378424" y="2619839"/>
            <a:ext cx="10231685" cy="11030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Programın</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süresi</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3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yıldı</a:t>
            </a:r>
            <a:r>
              <a:rPr kumimoji="0" lang="tr-TR"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r.</a:t>
            </a:r>
            <a:endPar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endParaRPr>
          </a:p>
        </p:txBody>
      </p:sp>
      <p:sp>
        <p:nvSpPr>
          <p:cNvPr id="68" name="Pentagon 19"/>
          <p:cNvSpPr/>
          <p:nvPr/>
        </p:nvSpPr>
        <p:spPr bwMode="auto">
          <a:xfrm>
            <a:off x="638714" y="2617801"/>
            <a:ext cx="1088601" cy="1105092"/>
          </a:xfrm>
          <a:prstGeom prst="homePlate">
            <a:avLst>
              <a:gd name="adj" fmla="val 273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9" name="Rectangle 78"/>
          <p:cNvSpPr/>
          <p:nvPr/>
        </p:nvSpPr>
        <p:spPr bwMode="auto">
          <a:xfrm>
            <a:off x="1378424" y="1308295"/>
            <a:ext cx="10231685" cy="11030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Katılım</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sağlanan</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bir</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hızlandırıcı</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programı</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için</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15.000 $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destek</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verilmekte</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olup</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destek</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üst</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limiti</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60.000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dır</a:t>
            </a:r>
            <a:r>
              <a:rPr kumimoji="0" lang="tr-TR"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a:t>
            </a:r>
            <a:endPar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endParaRPr>
          </a:p>
        </p:txBody>
      </p:sp>
      <p:sp>
        <p:nvSpPr>
          <p:cNvPr id="80" name="Pentagon 26"/>
          <p:cNvSpPr/>
          <p:nvPr/>
        </p:nvSpPr>
        <p:spPr bwMode="auto">
          <a:xfrm>
            <a:off x="638714" y="1308295"/>
            <a:ext cx="1075482" cy="1113412"/>
          </a:xfrm>
          <a:prstGeom prst="homePlate">
            <a:avLst>
              <a:gd name="adj" fmla="val 2732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0" name="Rectangle 9">
            <a:extLst>
              <a:ext uri="{FF2B5EF4-FFF2-40B4-BE49-F238E27FC236}">
                <a16:creationId xmlns:a16="http://schemas.microsoft.com/office/drawing/2014/main" id="{6EA2D36D-222D-4A06-B2F0-BA2402128916}"/>
              </a:ext>
            </a:extLst>
          </p:cNvPr>
          <p:cNvSpPr>
            <a:spLocks/>
          </p:cNvSpPr>
          <p:nvPr/>
        </p:nvSpPr>
        <p:spPr bwMode="auto">
          <a:xfrm>
            <a:off x="1378424" y="5204487"/>
            <a:ext cx="10231685" cy="11030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Hızlandırıcı</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Ofis</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Kirası</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Eğitim</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tr-TR"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Danışmanlık</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tr-TR"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Mentörlük</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tr-TR"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İ</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ş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Yönetimi</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Hukuk</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Fikri</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ve</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Sınai</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Mülkiyet</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Hakları</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tr-TR"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Ulaşım</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tr-TR"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Konaklama</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ve</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tr-TR"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Organizasyonla</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İlgili</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Genel</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 </a:t>
            </a:r>
            <a:r>
              <a:rPr kumimoji="0" lang="en-US" sz="2200" b="0" i="0" u="none" strike="noStrike" kern="0" cap="none" spc="0" normalizeH="0" baseline="0" noProof="0" dirty="0" err="1">
                <a:ln>
                  <a:noFill/>
                </a:ln>
                <a:solidFill>
                  <a:srgbClr val="000000"/>
                </a:solidFill>
                <a:effectLst/>
                <a:uLnTx/>
                <a:uFillTx/>
                <a:latin typeface="Calibri" panose="020F0502020204030204" pitchFamily="34" charset="0"/>
                <a:ea typeface="+mn-ea"/>
                <a:cs typeface="Arial" pitchFamily="34" charset="0"/>
              </a:rPr>
              <a:t>Giderler</a:t>
            </a:r>
            <a:r>
              <a:rPr kumimoji="0" lang="tr-TR"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rPr>
              <a:t>.</a:t>
            </a:r>
            <a:endPar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endParaRPr>
          </a:p>
        </p:txBody>
      </p:sp>
      <p:sp>
        <p:nvSpPr>
          <p:cNvPr id="11" name="Pentagon 33">
            <a:extLst>
              <a:ext uri="{FF2B5EF4-FFF2-40B4-BE49-F238E27FC236}">
                <a16:creationId xmlns:a16="http://schemas.microsoft.com/office/drawing/2014/main" id="{9545D002-1E78-4AB1-9F45-EA95C0CA846F}"/>
              </a:ext>
            </a:extLst>
          </p:cNvPr>
          <p:cNvSpPr/>
          <p:nvPr/>
        </p:nvSpPr>
        <p:spPr bwMode="auto">
          <a:xfrm>
            <a:off x="638716" y="5211511"/>
            <a:ext cx="1046053" cy="1096027"/>
          </a:xfrm>
          <a:prstGeom prst="homePlate">
            <a:avLst>
              <a:gd name="adj" fmla="val 273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4" name="3 Metin kutusu">
            <a:extLst>
              <a:ext uri="{FF2B5EF4-FFF2-40B4-BE49-F238E27FC236}">
                <a16:creationId xmlns:a16="http://schemas.microsoft.com/office/drawing/2014/main" id="{8DB81448-0C95-4341-81B3-DD0DA5ECD166}"/>
              </a:ext>
            </a:extLst>
          </p:cNvPr>
          <p:cNvSpPr txBox="1"/>
          <p:nvPr/>
        </p:nvSpPr>
        <p:spPr>
          <a:xfrm>
            <a:off x="1231640" y="315026"/>
            <a:ext cx="9099375" cy="5866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12" b="1" i="0" u="none" strike="noStrike" kern="1200" cap="none" spc="0" normalizeH="0" baseline="0" noProof="0" dirty="0">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Uluslararası Hızlandırıcı Programı</a:t>
            </a:r>
          </a:p>
        </p:txBody>
      </p:sp>
      <p:pic>
        <p:nvPicPr>
          <p:cNvPr id="75" name="Picture 3">
            <a:extLst>
              <a:ext uri="{FF2B5EF4-FFF2-40B4-BE49-F238E27FC236}">
                <a16:creationId xmlns:a16="http://schemas.microsoft.com/office/drawing/2014/main" id="{22F31EF3-0294-43F2-A1C8-66BD4A085E1C}"/>
              </a:ext>
            </a:extLst>
          </p:cNvPr>
          <p:cNvPicPr>
            <a:picLocks noChangeAspect="1" noChangeArrowheads="1"/>
          </p:cNvPicPr>
          <p:nvPr/>
        </p:nvPicPr>
        <p:blipFill>
          <a:blip r:embed="rId11" cstate="print"/>
          <a:srcRect/>
          <a:stretch>
            <a:fillRect/>
          </a:stretch>
        </p:blipFill>
        <p:spPr bwMode="auto">
          <a:xfrm>
            <a:off x="582287" y="315026"/>
            <a:ext cx="960106" cy="677217"/>
          </a:xfrm>
          <a:prstGeom prst="rect">
            <a:avLst/>
          </a:prstGeom>
          <a:noFill/>
          <a:ln w="9525">
            <a:noFill/>
            <a:miter lim="800000"/>
            <a:headEnd/>
            <a:tailEnd/>
          </a:ln>
        </p:spPr>
      </p:pic>
      <p:sp>
        <p:nvSpPr>
          <p:cNvPr id="77" name="POWER_USER_ID_ICONS_Magnifying_Glass2">
            <a:extLst>
              <a:ext uri="{FF2B5EF4-FFF2-40B4-BE49-F238E27FC236}">
                <a16:creationId xmlns:a16="http://schemas.microsoft.com/office/drawing/2014/main" id="{669AA5F2-83EE-4A10-8041-74E2C9B85B65}"/>
              </a:ext>
            </a:extLst>
          </p:cNvPr>
          <p:cNvSpPr>
            <a:spLocks noChangeAspect="1" noEditPoints="1"/>
          </p:cNvSpPr>
          <p:nvPr>
            <p:custDataLst>
              <p:tags r:id="rId2"/>
            </p:custDataLst>
          </p:nvPr>
        </p:nvSpPr>
        <p:spPr bwMode="auto">
          <a:xfrm>
            <a:off x="837986" y="1588362"/>
            <a:ext cx="534957" cy="534957"/>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solidFill>
            <a:srgbClr val="FFFFFF"/>
          </a:solid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78" name="POWER_USER_ID_ICONS_Stopwatch5">
            <a:extLst>
              <a:ext uri="{FF2B5EF4-FFF2-40B4-BE49-F238E27FC236}">
                <a16:creationId xmlns:a16="http://schemas.microsoft.com/office/drawing/2014/main" id="{BEE08CCE-F516-4294-8458-176D7BE7AED5}"/>
              </a:ext>
            </a:extLst>
          </p:cNvPr>
          <p:cNvSpPr>
            <a:spLocks noChangeAspect="1" noEditPoints="1"/>
          </p:cNvSpPr>
          <p:nvPr>
            <p:custDataLst>
              <p:tags r:id="rId3"/>
            </p:custDataLst>
          </p:nvPr>
        </p:nvSpPr>
        <p:spPr bwMode="auto">
          <a:xfrm>
            <a:off x="820321" y="2962935"/>
            <a:ext cx="665295" cy="493462"/>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rgbClr val="FFFFFF"/>
          </a:solidFill>
          <a:ln>
            <a:noFill/>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grpSp>
        <p:nvGrpSpPr>
          <p:cNvPr id="82" name="Trends3">
            <a:extLst>
              <a:ext uri="{FF2B5EF4-FFF2-40B4-BE49-F238E27FC236}">
                <a16:creationId xmlns:a16="http://schemas.microsoft.com/office/drawing/2014/main" id="{4707A3EA-E51F-4A41-9285-9C1A6736F478}"/>
              </a:ext>
            </a:extLst>
          </p:cNvPr>
          <p:cNvGrpSpPr>
            <a:grpSpLocks noChangeAspect="1"/>
          </p:cNvGrpSpPr>
          <p:nvPr/>
        </p:nvGrpSpPr>
        <p:grpSpPr>
          <a:xfrm>
            <a:off x="792868" y="4294073"/>
            <a:ext cx="548814" cy="476158"/>
            <a:chOff x="1111703" y="154135"/>
            <a:chExt cx="625769" cy="542925"/>
          </a:xfrm>
          <a:solidFill>
            <a:srgbClr val="FFFFFF"/>
          </a:solidFill>
        </p:grpSpPr>
        <p:sp>
          <p:nvSpPr>
            <p:cNvPr id="83" name="Trends3">
              <a:extLst>
                <a:ext uri="{FF2B5EF4-FFF2-40B4-BE49-F238E27FC236}">
                  <a16:creationId xmlns:a16="http://schemas.microsoft.com/office/drawing/2014/main" id="{0144BF27-5094-45DB-BBC9-AC6968276C98}"/>
                </a:ext>
              </a:extLst>
            </p:cNvPr>
            <p:cNvSpPr>
              <a:spLocks noEditPoints="1"/>
            </p:cNvSpPr>
            <p:nvPr>
              <p:custDataLst>
                <p:tags r:id="rId7"/>
              </p:custDataLst>
            </p:nvPr>
          </p:nvSpPr>
          <p:spPr bwMode="auto">
            <a:xfrm>
              <a:off x="1111703" y="154135"/>
              <a:ext cx="625769" cy="542925"/>
            </a:xfrm>
            <a:custGeom>
              <a:avLst/>
              <a:gdLst>
                <a:gd name="T0" fmla="*/ 1101 w 1126"/>
                <a:gd name="T1" fmla="*/ 0 h 975"/>
                <a:gd name="T2" fmla="*/ 25 w 1126"/>
                <a:gd name="T3" fmla="*/ 0 h 975"/>
                <a:gd name="T4" fmla="*/ 0 w 1126"/>
                <a:gd name="T5" fmla="*/ 25 h 975"/>
                <a:gd name="T6" fmla="*/ 0 w 1126"/>
                <a:gd name="T7" fmla="*/ 799 h 975"/>
                <a:gd name="T8" fmla="*/ 25 w 1126"/>
                <a:gd name="T9" fmla="*/ 825 h 975"/>
                <a:gd name="T10" fmla="*/ 388 w 1126"/>
                <a:gd name="T11" fmla="*/ 825 h 975"/>
                <a:gd name="T12" fmla="*/ 305 w 1126"/>
                <a:gd name="T13" fmla="*/ 934 h 975"/>
                <a:gd name="T14" fmla="*/ 303 w 1126"/>
                <a:gd name="T15" fmla="*/ 960 h 975"/>
                <a:gd name="T16" fmla="*/ 325 w 1126"/>
                <a:gd name="T17" fmla="*/ 975 h 975"/>
                <a:gd name="T18" fmla="*/ 800 w 1126"/>
                <a:gd name="T19" fmla="*/ 975 h 975"/>
                <a:gd name="T20" fmla="*/ 823 w 1126"/>
                <a:gd name="T21" fmla="*/ 961 h 975"/>
                <a:gd name="T22" fmla="*/ 821 w 1126"/>
                <a:gd name="T23" fmla="*/ 935 h 975"/>
                <a:gd name="T24" fmla="*/ 738 w 1126"/>
                <a:gd name="T25" fmla="*/ 825 h 975"/>
                <a:gd name="T26" fmla="*/ 1101 w 1126"/>
                <a:gd name="T27" fmla="*/ 825 h 975"/>
                <a:gd name="T28" fmla="*/ 1126 w 1126"/>
                <a:gd name="T29" fmla="*/ 799 h 975"/>
                <a:gd name="T30" fmla="*/ 1126 w 1126"/>
                <a:gd name="T31" fmla="*/ 25 h 975"/>
                <a:gd name="T32" fmla="*/ 1101 w 1126"/>
                <a:gd name="T33" fmla="*/ 0 h 975"/>
                <a:gd name="T34" fmla="*/ 375 w 1126"/>
                <a:gd name="T35" fmla="*/ 924 h 975"/>
                <a:gd name="T36" fmla="*/ 413 w 1126"/>
                <a:gd name="T37" fmla="*/ 874 h 975"/>
                <a:gd name="T38" fmla="*/ 713 w 1126"/>
                <a:gd name="T39" fmla="*/ 874 h 975"/>
                <a:gd name="T40" fmla="*/ 750 w 1126"/>
                <a:gd name="T41" fmla="*/ 924 h 975"/>
                <a:gd name="T42" fmla="*/ 375 w 1126"/>
                <a:gd name="T43" fmla="*/ 924 h 975"/>
                <a:gd name="T44" fmla="*/ 1075 w 1126"/>
                <a:gd name="T45" fmla="*/ 775 h 975"/>
                <a:gd name="T46" fmla="*/ 50 w 1126"/>
                <a:gd name="T47" fmla="*/ 775 h 975"/>
                <a:gd name="T48" fmla="*/ 50 w 1126"/>
                <a:gd name="T49" fmla="*/ 675 h 975"/>
                <a:gd name="T50" fmla="*/ 1075 w 1126"/>
                <a:gd name="T51" fmla="*/ 675 h 975"/>
                <a:gd name="T52" fmla="*/ 1075 w 1126"/>
                <a:gd name="T53" fmla="*/ 775 h 975"/>
                <a:gd name="T54" fmla="*/ 1076 w 1126"/>
                <a:gd name="T55" fmla="*/ 624 h 975"/>
                <a:gd name="T56" fmla="*/ 50 w 1126"/>
                <a:gd name="T57" fmla="*/ 624 h 975"/>
                <a:gd name="T58" fmla="*/ 50 w 1126"/>
                <a:gd name="T59" fmla="*/ 50 h 975"/>
                <a:gd name="T60" fmla="*/ 1076 w 1126"/>
                <a:gd name="T61" fmla="*/ 50 h 975"/>
                <a:gd name="T62" fmla="*/ 1076 w 1126"/>
                <a:gd name="T63" fmla="*/ 62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6" h="975">
                  <a:moveTo>
                    <a:pt x="1101" y="0"/>
                  </a:moveTo>
                  <a:lnTo>
                    <a:pt x="25" y="0"/>
                  </a:lnTo>
                  <a:cubicBezTo>
                    <a:pt x="12" y="0"/>
                    <a:pt x="0" y="11"/>
                    <a:pt x="0" y="25"/>
                  </a:cubicBezTo>
                  <a:lnTo>
                    <a:pt x="0" y="799"/>
                  </a:lnTo>
                  <a:cubicBezTo>
                    <a:pt x="0" y="813"/>
                    <a:pt x="12" y="825"/>
                    <a:pt x="25" y="825"/>
                  </a:cubicBezTo>
                  <a:cubicBezTo>
                    <a:pt x="25" y="825"/>
                    <a:pt x="381" y="825"/>
                    <a:pt x="388" y="825"/>
                  </a:cubicBezTo>
                  <a:lnTo>
                    <a:pt x="305" y="934"/>
                  </a:lnTo>
                  <a:cubicBezTo>
                    <a:pt x="300" y="942"/>
                    <a:pt x="299" y="952"/>
                    <a:pt x="303" y="960"/>
                  </a:cubicBezTo>
                  <a:cubicBezTo>
                    <a:pt x="307" y="969"/>
                    <a:pt x="316" y="975"/>
                    <a:pt x="325" y="975"/>
                  </a:cubicBezTo>
                  <a:lnTo>
                    <a:pt x="800" y="975"/>
                  </a:lnTo>
                  <a:cubicBezTo>
                    <a:pt x="810" y="975"/>
                    <a:pt x="819" y="969"/>
                    <a:pt x="823" y="961"/>
                  </a:cubicBezTo>
                  <a:cubicBezTo>
                    <a:pt x="827" y="952"/>
                    <a:pt x="826" y="942"/>
                    <a:pt x="821" y="935"/>
                  </a:cubicBezTo>
                  <a:lnTo>
                    <a:pt x="738" y="825"/>
                  </a:lnTo>
                  <a:cubicBezTo>
                    <a:pt x="746" y="825"/>
                    <a:pt x="1101" y="825"/>
                    <a:pt x="1101" y="825"/>
                  </a:cubicBezTo>
                  <a:cubicBezTo>
                    <a:pt x="1114" y="825"/>
                    <a:pt x="1126" y="813"/>
                    <a:pt x="1126" y="799"/>
                  </a:cubicBezTo>
                  <a:lnTo>
                    <a:pt x="1126" y="25"/>
                  </a:lnTo>
                  <a:cubicBezTo>
                    <a:pt x="1126" y="11"/>
                    <a:pt x="1114" y="0"/>
                    <a:pt x="1101" y="0"/>
                  </a:cubicBezTo>
                  <a:close/>
                  <a:moveTo>
                    <a:pt x="375" y="924"/>
                  </a:moveTo>
                  <a:lnTo>
                    <a:pt x="413" y="874"/>
                  </a:lnTo>
                  <a:lnTo>
                    <a:pt x="713" y="874"/>
                  </a:lnTo>
                  <a:lnTo>
                    <a:pt x="750" y="924"/>
                  </a:lnTo>
                  <a:lnTo>
                    <a:pt x="375" y="924"/>
                  </a:lnTo>
                  <a:close/>
                  <a:moveTo>
                    <a:pt x="1075" y="775"/>
                  </a:moveTo>
                  <a:lnTo>
                    <a:pt x="50" y="775"/>
                  </a:lnTo>
                  <a:lnTo>
                    <a:pt x="50" y="675"/>
                  </a:lnTo>
                  <a:lnTo>
                    <a:pt x="1075" y="675"/>
                  </a:lnTo>
                  <a:lnTo>
                    <a:pt x="1075" y="775"/>
                  </a:lnTo>
                  <a:close/>
                  <a:moveTo>
                    <a:pt x="1076" y="624"/>
                  </a:moveTo>
                  <a:lnTo>
                    <a:pt x="50" y="624"/>
                  </a:lnTo>
                  <a:lnTo>
                    <a:pt x="50" y="50"/>
                  </a:lnTo>
                  <a:lnTo>
                    <a:pt x="1076" y="50"/>
                  </a:lnTo>
                  <a:lnTo>
                    <a:pt x="1076" y="624"/>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84" name="Trends3">
              <a:extLst>
                <a:ext uri="{FF2B5EF4-FFF2-40B4-BE49-F238E27FC236}">
                  <a16:creationId xmlns:a16="http://schemas.microsoft.com/office/drawing/2014/main" id="{3B89772E-1FF0-4AD7-80B5-15733327EF5B}"/>
                </a:ext>
              </a:extLst>
            </p:cNvPr>
            <p:cNvSpPr>
              <a:spLocks noChangeArrowheads="1"/>
            </p:cNvSpPr>
            <p:nvPr>
              <p:custDataLst>
                <p:tags r:id="rId8"/>
              </p:custDataLst>
            </p:nvPr>
          </p:nvSpPr>
          <p:spPr bwMode="auto">
            <a:xfrm>
              <a:off x="1410534" y="543207"/>
              <a:ext cx="28108" cy="28108"/>
            </a:xfrm>
            <a:prstGeom prst="ellipse">
              <a:avLst/>
            </a:pr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85" name="Trends3">
              <a:extLst>
                <a:ext uri="{FF2B5EF4-FFF2-40B4-BE49-F238E27FC236}">
                  <a16:creationId xmlns:a16="http://schemas.microsoft.com/office/drawing/2014/main" id="{6CF96E9E-EF72-4E45-A3C3-F048B8119539}"/>
                </a:ext>
              </a:extLst>
            </p:cNvPr>
            <p:cNvSpPr>
              <a:spLocks/>
            </p:cNvSpPr>
            <p:nvPr/>
          </p:nvSpPr>
          <p:spPr bwMode="auto">
            <a:xfrm>
              <a:off x="1177787" y="269652"/>
              <a:ext cx="322690" cy="193892"/>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86" name="Trends3">
              <a:extLst>
                <a:ext uri="{FF2B5EF4-FFF2-40B4-BE49-F238E27FC236}">
                  <a16:creationId xmlns:a16="http://schemas.microsoft.com/office/drawing/2014/main" id="{773DB933-323F-4ADF-8B19-4259B2AF92CE}"/>
                </a:ext>
              </a:extLst>
            </p:cNvPr>
            <p:cNvSpPr>
              <a:spLocks noChangeArrowheads="1"/>
            </p:cNvSpPr>
            <p:nvPr/>
          </p:nvSpPr>
          <p:spPr bwMode="auto">
            <a:xfrm>
              <a:off x="1487058" y="210266"/>
              <a:ext cx="69258" cy="69258"/>
            </a:xfrm>
            <a:prstGeom prst="ellipse">
              <a:avLst/>
            </a:pr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87" name="Trends3">
              <a:extLst>
                <a:ext uri="{FF2B5EF4-FFF2-40B4-BE49-F238E27FC236}">
                  <a16:creationId xmlns:a16="http://schemas.microsoft.com/office/drawing/2014/main" id="{0F3731C1-CA9D-413A-822D-1233A8B47E45}"/>
                </a:ext>
              </a:extLst>
            </p:cNvPr>
            <p:cNvSpPr>
              <a:spLocks/>
            </p:cNvSpPr>
            <p:nvPr/>
          </p:nvSpPr>
          <p:spPr bwMode="auto">
            <a:xfrm>
              <a:off x="1552614" y="265487"/>
              <a:ext cx="118772" cy="149005"/>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grpSp>
      <p:grpSp>
        <p:nvGrpSpPr>
          <p:cNvPr id="91" name="Clipboard">
            <a:extLst>
              <a:ext uri="{FF2B5EF4-FFF2-40B4-BE49-F238E27FC236}">
                <a16:creationId xmlns:a16="http://schemas.microsoft.com/office/drawing/2014/main" id="{6587C159-8581-4BCD-BB23-EAB90C4FC47E}"/>
              </a:ext>
            </a:extLst>
          </p:cNvPr>
          <p:cNvGrpSpPr>
            <a:grpSpLocks noChangeAspect="1"/>
          </p:cNvGrpSpPr>
          <p:nvPr>
            <p:custDataLst>
              <p:tags r:id="rId4"/>
            </p:custDataLst>
          </p:nvPr>
        </p:nvGrpSpPr>
        <p:grpSpPr bwMode="auto">
          <a:xfrm>
            <a:off x="859119" y="5438144"/>
            <a:ext cx="406442" cy="554882"/>
            <a:chOff x="8" y="8"/>
            <a:chExt cx="345" cy="471"/>
          </a:xfrm>
          <a:solidFill>
            <a:srgbClr val="FFFFFF"/>
          </a:solidFill>
        </p:grpSpPr>
        <p:sp>
          <p:nvSpPr>
            <p:cNvPr id="92" name="Clipboard">
              <a:extLst>
                <a:ext uri="{FF2B5EF4-FFF2-40B4-BE49-F238E27FC236}">
                  <a16:creationId xmlns:a16="http://schemas.microsoft.com/office/drawing/2014/main" id="{F568F072-6C40-4E24-BCD6-E5C745B16405}"/>
                </a:ext>
              </a:extLst>
            </p:cNvPr>
            <p:cNvSpPr>
              <a:spLocks/>
            </p:cNvSpPr>
            <p:nvPr>
              <p:custDataLst>
                <p:tags r:id="rId5"/>
              </p:custDataLst>
            </p:nvPr>
          </p:nvSpPr>
          <p:spPr bwMode="auto">
            <a:xfrm>
              <a:off x="8" y="8"/>
              <a:ext cx="345" cy="471"/>
            </a:xfrm>
            <a:custGeom>
              <a:avLst/>
              <a:gdLst>
                <a:gd name="T0" fmla="*/ 387 w 918"/>
                <a:gd name="T1" fmla="*/ 0 h 1250"/>
                <a:gd name="T2" fmla="*/ 361 w 918"/>
                <a:gd name="T3" fmla="*/ 33 h 1250"/>
                <a:gd name="T4" fmla="*/ 361 w 918"/>
                <a:gd name="T5" fmla="*/ 54 h 1250"/>
                <a:gd name="T6" fmla="*/ 281 w 918"/>
                <a:gd name="T7" fmla="*/ 54 h 1250"/>
                <a:gd name="T8" fmla="*/ 248 w 918"/>
                <a:gd name="T9" fmla="*/ 85 h 1250"/>
                <a:gd name="T10" fmla="*/ 248 w 918"/>
                <a:gd name="T11" fmla="*/ 86 h 1250"/>
                <a:gd name="T12" fmla="*/ 252 w 918"/>
                <a:gd name="T13" fmla="*/ 213 h 1250"/>
                <a:gd name="T14" fmla="*/ 204 w 918"/>
                <a:gd name="T15" fmla="*/ 354 h 1250"/>
                <a:gd name="T16" fmla="*/ 224 w 918"/>
                <a:gd name="T17" fmla="*/ 395 h 1250"/>
                <a:gd name="T18" fmla="*/ 235 w 918"/>
                <a:gd name="T19" fmla="*/ 397 h 1250"/>
                <a:gd name="T20" fmla="*/ 659 w 918"/>
                <a:gd name="T21" fmla="*/ 397 h 1250"/>
                <a:gd name="T22" fmla="*/ 691 w 918"/>
                <a:gd name="T23" fmla="*/ 364 h 1250"/>
                <a:gd name="T24" fmla="*/ 691 w 918"/>
                <a:gd name="T25" fmla="*/ 358 h 1250"/>
                <a:gd name="T26" fmla="*/ 671 w 918"/>
                <a:gd name="T27" fmla="*/ 249 h 1250"/>
                <a:gd name="T28" fmla="*/ 772 w 918"/>
                <a:gd name="T29" fmla="*/ 249 h 1250"/>
                <a:gd name="T30" fmla="*/ 853 w 918"/>
                <a:gd name="T31" fmla="*/ 338 h 1250"/>
                <a:gd name="T32" fmla="*/ 853 w 918"/>
                <a:gd name="T33" fmla="*/ 1105 h 1250"/>
                <a:gd name="T34" fmla="*/ 772 w 918"/>
                <a:gd name="T35" fmla="*/ 1186 h 1250"/>
                <a:gd name="T36" fmla="*/ 145 w 918"/>
                <a:gd name="T37" fmla="*/ 1186 h 1250"/>
                <a:gd name="T38" fmla="*/ 64 w 918"/>
                <a:gd name="T39" fmla="*/ 1105 h 1250"/>
                <a:gd name="T40" fmla="*/ 64 w 918"/>
                <a:gd name="T41" fmla="*/ 338 h 1250"/>
                <a:gd name="T42" fmla="*/ 145 w 918"/>
                <a:gd name="T43" fmla="*/ 249 h 1250"/>
                <a:gd name="T44" fmla="*/ 178 w 918"/>
                <a:gd name="T45" fmla="*/ 218 h 1250"/>
                <a:gd name="T46" fmla="*/ 147 w 918"/>
                <a:gd name="T47" fmla="*/ 185 h 1250"/>
                <a:gd name="T48" fmla="*/ 145 w 918"/>
                <a:gd name="T49" fmla="*/ 185 h 1250"/>
                <a:gd name="T50" fmla="*/ 0 w 918"/>
                <a:gd name="T51" fmla="*/ 338 h 1250"/>
                <a:gd name="T52" fmla="*/ 0 w 918"/>
                <a:gd name="T53" fmla="*/ 1105 h 1250"/>
                <a:gd name="T54" fmla="*/ 145 w 918"/>
                <a:gd name="T55" fmla="*/ 1250 h 1250"/>
                <a:gd name="T56" fmla="*/ 773 w 918"/>
                <a:gd name="T57" fmla="*/ 1250 h 1250"/>
                <a:gd name="T58" fmla="*/ 918 w 918"/>
                <a:gd name="T59" fmla="*/ 1105 h 1250"/>
                <a:gd name="T60" fmla="*/ 918 w 918"/>
                <a:gd name="T61" fmla="*/ 338 h 1250"/>
                <a:gd name="T62" fmla="*/ 773 w 918"/>
                <a:gd name="T63" fmla="*/ 185 h 1250"/>
                <a:gd name="T64" fmla="*/ 633 w 918"/>
                <a:gd name="T65" fmla="*/ 185 h 1250"/>
                <a:gd name="T66" fmla="*/ 600 w 918"/>
                <a:gd name="T67" fmla="*/ 217 h 1250"/>
                <a:gd name="T68" fmla="*/ 601 w 918"/>
                <a:gd name="T69" fmla="*/ 223 h 1250"/>
                <a:gd name="T70" fmla="*/ 621 w 918"/>
                <a:gd name="T71" fmla="*/ 332 h 1250"/>
                <a:gd name="T72" fmla="*/ 280 w 918"/>
                <a:gd name="T73" fmla="*/ 332 h 1250"/>
                <a:gd name="T74" fmla="*/ 316 w 918"/>
                <a:gd name="T75" fmla="*/ 228 h 1250"/>
                <a:gd name="T76" fmla="*/ 317 w 918"/>
                <a:gd name="T77" fmla="*/ 216 h 1250"/>
                <a:gd name="T78" fmla="*/ 314 w 918"/>
                <a:gd name="T79" fmla="*/ 118 h 1250"/>
                <a:gd name="T80" fmla="*/ 393 w 918"/>
                <a:gd name="T81" fmla="*/ 118 h 1250"/>
                <a:gd name="T82" fmla="*/ 425 w 918"/>
                <a:gd name="T83" fmla="*/ 85 h 1250"/>
                <a:gd name="T84" fmla="*/ 425 w 918"/>
                <a:gd name="T85" fmla="*/ 64 h 1250"/>
                <a:gd name="T86" fmla="*/ 464 w 918"/>
                <a:gd name="T87" fmla="*/ 64 h 1250"/>
                <a:gd name="T88" fmla="*/ 464 w 918"/>
                <a:gd name="T89" fmla="*/ 85 h 1250"/>
                <a:gd name="T90" fmla="*/ 496 w 918"/>
                <a:gd name="T91" fmla="*/ 118 h 1250"/>
                <a:gd name="T92" fmla="*/ 616 w 918"/>
                <a:gd name="T93" fmla="*/ 118 h 1250"/>
                <a:gd name="T94" fmla="*/ 649 w 918"/>
                <a:gd name="T95" fmla="*/ 86 h 1250"/>
                <a:gd name="T96" fmla="*/ 618 w 918"/>
                <a:gd name="T97" fmla="*/ 54 h 1250"/>
                <a:gd name="T98" fmla="*/ 616 w 918"/>
                <a:gd name="T99" fmla="*/ 54 h 1250"/>
                <a:gd name="T100" fmla="*/ 529 w 918"/>
                <a:gd name="T101" fmla="*/ 54 h 1250"/>
                <a:gd name="T102" fmla="*/ 529 w 918"/>
                <a:gd name="T103" fmla="*/ 33 h 1250"/>
                <a:gd name="T104" fmla="*/ 497 w 918"/>
                <a:gd name="T105" fmla="*/ 0 h 1250"/>
                <a:gd name="T106" fmla="*/ 496 w 918"/>
                <a:gd name="T107" fmla="*/ 0 h 1250"/>
                <a:gd name="T108" fmla="*/ 393 w 918"/>
                <a:gd name="T109" fmla="*/ 0 h 1250"/>
                <a:gd name="T110" fmla="*/ 390 w 918"/>
                <a:gd name="T111" fmla="*/ 0 h 1250"/>
                <a:gd name="T112" fmla="*/ 387 w 918"/>
                <a:gd name="T113"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8" h="1250">
                  <a:moveTo>
                    <a:pt x="387" y="0"/>
                  </a:moveTo>
                  <a:cubicBezTo>
                    <a:pt x="371" y="3"/>
                    <a:pt x="360" y="17"/>
                    <a:pt x="361" y="33"/>
                  </a:cubicBezTo>
                  <a:lnTo>
                    <a:pt x="361" y="54"/>
                  </a:lnTo>
                  <a:lnTo>
                    <a:pt x="281" y="54"/>
                  </a:lnTo>
                  <a:cubicBezTo>
                    <a:pt x="263" y="53"/>
                    <a:pt x="248" y="67"/>
                    <a:pt x="248" y="85"/>
                  </a:cubicBezTo>
                  <a:lnTo>
                    <a:pt x="248" y="86"/>
                  </a:lnTo>
                  <a:lnTo>
                    <a:pt x="252" y="213"/>
                  </a:lnTo>
                  <a:lnTo>
                    <a:pt x="204" y="354"/>
                  </a:lnTo>
                  <a:cubicBezTo>
                    <a:pt x="199" y="371"/>
                    <a:pt x="208" y="389"/>
                    <a:pt x="224" y="395"/>
                  </a:cubicBezTo>
                  <a:cubicBezTo>
                    <a:pt x="228" y="396"/>
                    <a:pt x="231" y="397"/>
                    <a:pt x="235" y="397"/>
                  </a:cubicBezTo>
                  <a:lnTo>
                    <a:pt x="659" y="397"/>
                  </a:lnTo>
                  <a:cubicBezTo>
                    <a:pt x="677" y="397"/>
                    <a:pt x="691" y="382"/>
                    <a:pt x="691" y="364"/>
                  </a:cubicBezTo>
                  <a:cubicBezTo>
                    <a:pt x="691" y="362"/>
                    <a:pt x="691" y="360"/>
                    <a:pt x="691" y="358"/>
                  </a:cubicBezTo>
                  <a:lnTo>
                    <a:pt x="671" y="249"/>
                  </a:lnTo>
                  <a:lnTo>
                    <a:pt x="772" y="249"/>
                  </a:lnTo>
                  <a:cubicBezTo>
                    <a:pt x="815" y="249"/>
                    <a:pt x="853" y="292"/>
                    <a:pt x="853" y="338"/>
                  </a:cubicBezTo>
                  <a:lnTo>
                    <a:pt x="853" y="1105"/>
                  </a:lnTo>
                  <a:cubicBezTo>
                    <a:pt x="853" y="1150"/>
                    <a:pt x="818" y="1186"/>
                    <a:pt x="772" y="1186"/>
                  </a:cubicBezTo>
                  <a:lnTo>
                    <a:pt x="145" y="1186"/>
                  </a:lnTo>
                  <a:cubicBezTo>
                    <a:pt x="100" y="1186"/>
                    <a:pt x="64" y="1150"/>
                    <a:pt x="64" y="1105"/>
                  </a:cubicBezTo>
                  <a:lnTo>
                    <a:pt x="64" y="338"/>
                  </a:lnTo>
                  <a:cubicBezTo>
                    <a:pt x="64" y="292"/>
                    <a:pt x="103" y="249"/>
                    <a:pt x="145" y="249"/>
                  </a:cubicBezTo>
                  <a:cubicBezTo>
                    <a:pt x="163" y="250"/>
                    <a:pt x="178" y="235"/>
                    <a:pt x="178" y="218"/>
                  </a:cubicBezTo>
                  <a:cubicBezTo>
                    <a:pt x="179" y="200"/>
                    <a:pt x="164" y="185"/>
                    <a:pt x="147" y="185"/>
                  </a:cubicBezTo>
                  <a:lnTo>
                    <a:pt x="145" y="185"/>
                  </a:lnTo>
                  <a:cubicBezTo>
                    <a:pt x="63" y="185"/>
                    <a:pt x="0" y="258"/>
                    <a:pt x="0" y="338"/>
                  </a:cubicBezTo>
                  <a:lnTo>
                    <a:pt x="0" y="1105"/>
                  </a:lnTo>
                  <a:cubicBezTo>
                    <a:pt x="0" y="1185"/>
                    <a:pt x="65" y="1250"/>
                    <a:pt x="145" y="1250"/>
                  </a:cubicBezTo>
                  <a:lnTo>
                    <a:pt x="773" y="1250"/>
                  </a:lnTo>
                  <a:cubicBezTo>
                    <a:pt x="852" y="1250"/>
                    <a:pt x="918" y="1185"/>
                    <a:pt x="918" y="1105"/>
                  </a:cubicBezTo>
                  <a:lnTo>
                    <a:pt x="918" y="338"/>
                  </a:lnTo>
                  <a:cubicBezTo>
                    <a:pt x="918" y="258"/>
                    <a:pt x="855" y="185"/>
                    <a:pt x="773" y="185"/>
                  </a:cubicBezTo>
                  <a:lnTo>
                    <a:pt x="633" y="185"/>
                  </a:lnTo>
                  <a:cubicBezTo>
                    <a:pt x="615" y="185"/>
                    <a:pt x="600" y="199"/>
                    <a:pt x="600" y="217"/>
                  </a:cubicBezTo>
                  <a:cubicBezTo>
                    <a:pt x="600" y="219"/>
                    <a:pt x="601" y="221"/>
                    <a:pt x="601" y="223"/>
                  </a:cubicBezTo>
                  <a:lnTo>
                    <a:pt x="621" y="332"/>
                  </a:lnTo>
                  <a:lnTo>
                    <a:pt x="280" y="332"/>
                  </a:lnTo>
                  <a:lnTo>
                    <a:pt x="316" y="228"/>
                  </a:lnTo>
                  <a:cubicBezTo>
                    <a:pt x="317" y="225"/>
                    <a:pt x="317" y="220"/>
                    <a:pt x="317" y="216"/>
                  </a:cubicBezTo>
                  <a:lnTo>
                    <a:pt x="314" y="118"/>
                  </a:lnTo>
                  <a:lnTo>
                    <a:pt x="393" y="118"/>
                  </a:lnTo>
                  <a:cubicBezTo>
                    <a:pt x="411" y="118"/>
                    <a:pt x="425" y="103"/>
                    <a:pt x="425" y="85"/>
                  </a:cubicBezTo>
                  <a:lnTo>
                    <a:pt x="425" y="64"/>
                  </a:lnTo>
                  <a:lnTo>
                    <a:pt x="464" y="64"/>
                  </a:lnTo>
                  <a:lnTo>
                    <a:pt x="464" y="85"/>
                  </a:lnTo>
                  <a:cubicBezTo>
                    <a:pt x="464" y="103"/>
                    <a:pt x="478" y="118"/>
                    <a:pt x="496" y="118"/>
                  </a:cubicBezTo>
                  <a:lnTo>
                    <a:pt x="616" y="118"/>
                  </a:lnTo>
                  <a:cubicBezTo>
                    <a:pt x="634" y="118"/>
                    <a:pt x="649" y="104"/>
                    <a:pt x="649" y="86"/>
                  </a:cubicBezTo>
                  <a:cubicBezTo>
                    <a:pt x="650" y="69"/>
                    <a:pt x="635" y="54"/>
                    <a:pt x="618" y="54"/>
                  </a:cubicBezTo>
                  <a:lnTo>
                    <a:pt x="616" y="54"/>
                  </a:lnTo>
                  <a:lnTo>
                    <a:pt x="529" y="54"/>
                  </a:lnTo>
                  <a:lnTo>
                    <a:pt x="529" y="33"/>
                  </a:lnTo>
                  <a:cubicBezTo>
                    <a:pt x="529" y="15"/>
                    <a:pt x="515" y="0"/>
                    <a:pt x="497" y="0"/>
                  </a:cubicBezTo>
                  <a:lnTo>
                    <a:pt x="496" y="0"/>
                  </a:lnTo>
                  <a:lnTo>
                    <a:pt x="393" y="0"/>
                  </a:lnTo>
                  <a:cubicBezTo>
                    <a:pt x="392" y="0"/>
                    <a:pt x="391" y="0"/>
                    <a:pt x="390" y="0"/>
                  </a:cubicBezTo>
                  <a:cubicBezTo>
                    <a:pt x="389" y="0"/>
                    <a:pt x="388" y="0"/>
                    <a:pt x="387"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93" name="Clipboard">
              <a:extLst>
                <a:ext uri="{FF2B5EF4-FFF2-40B4-BE49-F238E27FC236}">
                  <a16:creationId xmlns:a16="http://schemas.microsoft.com/office/drawing/2014/main" id="{3A0381FC-D03C-4FB3-9CD1-25237BD6520A}"/>
                </a:ext>
              </a:extLst>
            </p:cNvPr>
            <p:cNvSpPr>
              <a:spLocks/>
            </p:cNvSpPr>
            <p:nvPr>
              <p:custDataLst>
                <p:tags r:id="rId6"/>
              </p:custDataLst>
            </p:nvPr>
          </p:nvSpPr>
          <p:spPr bwMode="auto">
            <a:xfrm>
              <a:off x="76" y="195"/>
              <a:ext cx="203" cy="218"/>
            </a:xfrm>
            <a:custGeom>
              <a:avLst/>
              <a:gdLst>
                <a:gd name="T0" fmla="*/ 507 w 541"/>
                <a:gd name="T1" fmla="*/ 0 h 579"/>
                <a:gd name="T2" fmla="*/ 502 w 541"/>
                <a:gd name="T3" fmla="*/ 1 h 579"/>
                <a:gd name="T4" fmla="*/ 485 w 541"/>
                <a:gd name="T5" fmla="*/ 10 h 579"/>
                <a:gd name="T6" fmla="*/ 202 w 541"/>
                <a:gd name="T7" fmla="*/ 293 h 579"/>
                <a:gd name="T8" fmla="*/ 55 w 541"/>
                <a:gd name="T9" fmla="*/ 147 h 579"/>
                <a:gd name="T10" fmla="*/ 9 w 541"/>
                <a:gd name="T11" fmla="*/ 147 h 579"/>
                <a:gd name="T12" fmla="*/ 0 w 541"/>
                <a:gd name="T13" fmla="*/ 168 h 579"/>
                <a:gd name="T14" fmla="*/ 0 w 541"/>
                <a:gd name="T15" fmla="*/ 373 h 579"/>
                <a:gd name="T16" fmla="*/ 10 w 541"/>
                <a:gd name="T17" fmla="*/ 396 h 579"/>
                <a:gd name="T18" fmla="*/ 179 w 541"/>
                <a:gd name="T19" fmla="*/ 566 h 579"/>
                <a:gd name="T20" fmla="*/ 225 w 541"/>
                <a:gd name="T21" fmla="*/ 566 h 579"/>
                <a:gd name="T22" fmla="*/ 225 w 541"/>
                <a:gd name="T23" fmla="*/ 566 h 579"/>
                <a:gd name="T24" fmla="*/ 431 w 541"/>
                <a:gd name="T25" fmla="*/ 361 h 579"/>
                <a:gd name="T26" fmla="*/ 431 w 541"/>
                <a:gd name="T27" fmla="*/ 315 h 579"/>
                <a:gd name="T28" fmla="*/ 385 w 541"/>
                <a:gd name="T29" fmla="*/ 315 h 579"/>
                <a:gd name="T30" fmla="*/ 202 w 541"/>
                <a:gd name="T31" fmla="*/ 497 h 579"/>
                <a:gd name="T32" fmla="*/ 65 w 541"/>
                <a:gd name="T33" fmla="*/ 360 h 579"/>
                <a:gd name="T34" fmla="*/ 65 w 541"/>
                <a:gd name="T35" fmla="*/ 246 h 579"/>
                <a:gd name="T36" fmla="*/ 179 w 541"/>
                <a:gd name="T37" fmla="*/ 361 h 579"/>
                <a:gd name="T38" fmla="*/ 225 w 541"/>
                <a:gd name="T39" fmla="*/ 361 h 579"/>
                <a:gd name="T40" fmla="*/ 225 w 541"/>
                <a:gd name="T41" fmla="*/ 361 h 579"/>
                <a:gd name="T42" fmla="*/ 477 w 541"/>
                <a:gd name="T43" fmla="*/ 110 h 579"/>
                <a:gd name="T44" fmla="*/ 477 w 541"/>
                <a:gd name="T45" fmla="*/ 237 h 579"/>
                <a:gd name="T46" fmla="*/ 508 w 541"/>
                <a:gd name="T47" fmla="*/ 270 h 579"/>
                <a:gd name="T48" fmla="*/ 541 w 541"/>
                <a:gd name="T49" fmla="*/ 239 h 579"/>
                <a:gd name="T50" fmla="*/ 541 w 541"/>
                <a:gd name="T51" fmla="*/ 237 h 579"/>
                <a:gd name="T52" fmla="*/ 541 w 541"/>
                <a:gd name="T53" fmla="*/ 33 h 579"/>
                <a:gd name="T54" fmla="*/ 509 w 541"/>
                <a:gd name="T55" fmla="*/ 0 h 579"/>
                <a:gd name="T56" fmla="*/ 507 w 541"/>
                <a:gd name="T57" fmla="*/ 0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1" h="579">
                  <a:moveTo>
                    <a:pt x="507" y="0"/>
                  </a:moveTo>
                  <a:cubicBezTo>
                    <a:pt x="505" y="0"/>
                    <a:pt x="504" y="1"/>
                    <a:pt x="502" y="1"/>
                  </a:cubicBezTo>
                  <a:cubicBezTo>
                    <a:pt x="496" y="2"/>
                    <a:pt x="490" y="5"/>
                    <a:pt x="485" y="10"/>
                  </a:cubicBezTo>
                  <a:lnTo>
                    <a:pt x="202" y="293"/>
                  </a:lnTo>
                  <a:lnTo>
                    <a:pt x="55" y="147"/>
                  </a:lnTo>
                  <a:cubicBezTo>
                    <a:pt x="42" y="134"/>
                    <a:pt x="22" y="134"/>
                    <a:pt x="9" y="147"/>
                  </a:cubicBezTo>
                  <a:cubicBezTo>
                    <a:pt x="4" y="153"/>
                    <a:pt x="1" y="160"/>
                    <a:pt x="0" y="168"/>
                  </a:cubicBezTo>
                  <a:lnTo>
                    <a:pt x="0" y="373"/>
                  </a:lnTo>
                  <a:cubicBezTo>
                    <a:pt x="0" y="381"/>
                    <a:pt x="4" y="390"/>
                    <a:pt x="10" y="396"/>
                  </a:cubicBezTo>
                  <a:lnTo>
                    <a:pt x="179" y="566"/>
                  </a:lnTo>
                  <a:cubicBezTo>
                    <a:pt x="192" y="579"/>
                    <a:pt x="212" y="579"/>
                    <a:pt x="225" y="566"/>
                  </a:cubicBezTo>
                  <a:cubicBezTo>
                    <a:pt x="225" y="566"/>
                    <a:pt x="225" y="566"/>
                    <a:pt x="225" y="566"/>
                  </a:cubicBezTo>
                  <a:lnTo>
                    <a:pt x="431" y="361"/>
                  </a:lnTo>
                  <a:cubicBezTo>
                    <a:pt x="443" y="348"/>
                    <a:pt x="443" y="327"/>
                    <a:pt x="431" y="315"/>
                  </a:cubicBezTo>
                  <a:cubicBezTo>
                    <a:pt x="418" y="302"/>
                    <a:pt x="398" y="302"/>
                    <a:pt x="385" y="315"/>
                  </a:cubicBezTo>
                  <a:lnTo>
                    <a:pt x="202" y="497"/>
                  </a:lnTo>
                  <a:lnTo>
                    <a:pt x="65" y="360"/>
                  </a:lnTo>
                  <a:lnTo>
                    <a:pt x="65" y="246"/>
                  </a:lnTo>
                  <a:lnTo>
                    <a:pt x="179" y="361"/>
                  </a:lnTo>
                  <a:cubicBezTo>
                    <a:pt x="192" y="373"/>
                    <a:pt x="212" y="373"/>
                    <a:pt x="225" y="361"/>
                  </a:cubicBezTo>
                  <a:cubicBezTo>
                    <a:pt x="225" y="361"/>
                    <a:pt x="225" y="361"/>
                    <a:pt x="225" y="361"/>
                  </a:cubicBezTo>
                  <a:lnTo>
                    <a:pt x="477" y="110"/>
                  </a:lnTo>
                  <a:lnTo>
                    <a:pt x="477" y="237"/>
                  </a:lnTo>
                  <a:cubicBezTo>
                    <a:pt x="476" y="255"/>
                    <a:pt x="490" y="270"/>
                    <a:pt x="508" y="270"/>
                  </a:cubicBezTo>
                  <a:cubicBezTo>
                    <a:pt x="526" y="270"/>
                    <a:pt x="541" y="256"/>
                    <a:pt x="541" y="239"/>
                  </a:cubicBezTo>
                  <a:lnTo>
                    <a:pt x="541" y="237"/>
                  </a:lnTo>
                  <a:lnTo>
                    <a:pt x="541" y="33"/>
                  </a:lnTo>
                  <a:cubicBezTo>
                    <a:pt x="541" y="15"/>
                    <a:pt x="527" y="0"/>
                    <a:pt x="509" y="0"/>
                  </a:cubicBezTo>
                  <a:cubicBezTo>
                    <a:pt x="509" y="0"/>
                    <a:pt x="508" y="0"/>
                    <a:pt x="507"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grpSp>
      <p:sp>
        <p:nvSpPr>
          <p:cNvPr id="2" name="Slayt Numarası Yer Tutucusu 1"/>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23</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custDataLst>
      <p:tags r:id="rId1"/>
    </p:custDataLst>
    <p:extLst>
      <p:ext uri="{BB962C8B-B14F-4D97-AF65-F5344CB8AC3E}">
        <p14:creationId xmlns:p14="http://schemas.microsoft.com/office/powerpoint/2010/main" val="1620729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Dikdörtgen 46"/>
          <p:cNvSpPr/>
          <p:nvPr/>
        </p:nvSpPr>
        <p:spPr>
          <a:xfrm>
            <a:off x="458822" y="888459"/>
            <a:ext cx="3252218" cy="39922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007" b="1" i="0" u="none" strike="noStrike" kern="1200" cap="none" spc="0" normalizeH="0" baseline="0" noProof="0" dirty="0">
                <a:ln>
                  <a:noFill/>
                </a:ln>
                <a:solidFill>
                  <a:prstClr val="black"/>
                </a:solidFill>
                <a:effectLst/>
                <a:uLnTx/>
                <a:uFillTx/>
                <a:latin typeface="Calibri"/>
                <a:ea typeface="+mn-ea"/>
                <a:cs typeface="+mn-cs"/>
              </a:rPr>
              <a:t>KİMLER DÜZENLEYEBİLİR</a:t>
            </a:r>
          </a:p>
        </p:txBody>
      </p:sp>
      <p:sp>
        <p:nvSpPr>
          <p:cNvPr id="14" name="Yuvarlatılmış Dikdörtgen 13"/>
          <p:cNvSpPr/>
          <p:nvPr/>
        </p:nvSpPr>
        <p:spPr>
          <a:xfrm>
            <a:off x="458824" y="1488134"/>
            <a:ext cx="6865793" cy="1963039"/>
          </a:xfrm>
          <a:prstGeom prst="roundRect">
            <a:avLst/>
          </a:prstGeom>
          <a:solidFill>
            <a:schemeClr val="bg1"/>
          </a:solidFill>
        </p:spPr>
        <p:style>
          <a:lnRef idx="1">
            <a:schemeClr val="accent2"/>
          </a:lnRef>
          <a:fillRef idx="2">
            <a:schemeClr val="accent2"/>
          </a:fillRef>
          <a:effectRef idx="1">
            <a:schemeClr val="accent2"/>
          </a:effectRef>
          <a:fontRef idx="minor">
            <a:schemeClr val="dk1"/>
          </a:fontRef>
        </p:style>
        <p:txBody>
          <a:bodyPr rtlCol="0" anchor="ctr"/>
          <a:lstStyle/>
          <a:p>
            <a:pPr marL="286807" marR="0" lvl="0" indent="-286807"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007" b="0" i="0" u="none" strike="noStrike" kern="1200" cap="none" spc="0" normalizeH="0" baseline="0" noProof="0" dirty="0">
                <a:ln>
                  <a:noFill/>
                </a:ln>
                <a:solidFill>
                  <a:prstClr val="black"/>
                </a:solidFill>
                <a:effectLst/>
                <a:uLnTx/>
                <a:uFillTx/>
                <a:latin typeface="Calibri"/>
                <a:ea typeface="+mn-ea"/>
                <a:cs typeface="+mn-cs"/>
              </a:rPr>
              <a:t>KOSGEB birimleri</a:t>
            </a:r>
          </a:p>
          <a:p>
            <a:pPr marL="286807" marR="0" lvl="0" indent="-286807"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007" b="0" i="0" u="none" strike="noStrike" kern="1200" cap="none" spc="0" normalizeH="0" baseline="0" noProof="0" dirty="0">
                <a:ln>
                  <a:noFill/>
                </a:ln>
                <a:solidFill>
                  <a:prstClr val="black"/>
                </a:solidFill>
                <a:effectLst/>
                <a:uLnTx/>
                <a:uFillTx/>
                <a:latin typeface="Calibri"/>
                <a:ea typeface="+mn-ea"/>
                <a:cs typeface="+mn-cs"/>
              </a:rPr>
              <a:t>Üniversiteler</a:t>
            </a:r>
          </a:p>
          <a:p>
            <a:pPr marL="286807" marR="0" lvl="0" indent="-286807"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007" b="0" i="0" u="none" strike="noStrike" kern="1200" cap="none" spc="0" normalizeH="0" baseline="0" noProof="0" dirty="0">
                <a:ln>
                  <a:noFill/>
                </a:ln>
                <a:solidFill>
                  <a:prstClr val="black"/>
                </a:solidFill>
                <a:effectLst/>
                <a:uLnTx/>
                <a:uFillTx/>
                <a:latin typeface="Calibri"/>
                <a:ea typeface="+mn-ea"/>
                <a:cs typeface="+mn-cs"/>
              </a:rPr>
              <a:t>Teknoloji geliştirme bölgesi yönetici şirketleri</a:t>
            </a:r>
          </a:p>
          <a:p>
            <a:pPr marL="286807" marR="0" lvl="0" indent="-286807"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007" b="0" i="0" u="none" strike="noStrike" kern="1200" cap="none" spc="0" normalizeH="0" baseline="0" noProof="0" dirty="0">
                <a:ln>
                  <a:noFill/>
                </a:ln>
                <a:solidFill>
                  <a:prstClr val="black"/>
                </a:solidFill>
                <a:effectLst/>
                <a:uLnTx/>
                <a:uFillTx/>
                <a:latin typeface="Calibri"/>
                <a:ea typeface="+mn-ea"/>
                <a:cs typeface="+mn-cs"/>
              </a:rPr>
              <a:t>Teknoloji transfer ofisleri</a:t>
            </a:r>
          </a:p>
          <a:p>
            <a:pPr marL="286807" marR="0" lvl="0" indent="-286807"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007" b="0" i="0" u="none" strike="noStrike" kern="1200" cap="none" spc="0" normalizeH="0" baseline="0" noProof="0" dirty="0">
                <a:ln>
                  <a:noFill/>
                </a:ln>
                <a:solidFill>
                  <a:prstClr val="black"/>
                </a:solidFill>
                <a:effectLst/>
                <a:uLnTx/>
                <a:uFillTx/>
                <a:latin typeface="Calibri"/>
                <a:ea typeface="+mn-ea"/>
                <a:cs typeface="+mn-cs"/>
              </a:rPr>
              <a:t>Özel kuluçka merkezleri/hızlandırıcıla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007" b="0" i="0" u="none" strike="noStrike" kern="1200" cap="none" spc="0" normalizeH="0" baseline="0" noProof="0" dirty="0">
                <a:ln>
                  <a:noFill/>
                </a:ln>
                <a:solidFill>
                  <a:prstClr val="black"/>
                </a:solidFill>
                <a:effectLst/>
                <a:uLnTx/>
                <a:uFillTx/>
                <a:latin typeface="Calibri"/>
                <a:ea typeface="+mn-ea"/>
                <a:cs typeface="+mn-cs"/>
              </a:rPr>
              <a:t>tarafından münferiden veya birlikte düzenleyebilirler </a:t>
            </a:r>
          </a:p>
        </p:txBody>
      </p:sp>
      <p:sp>
        <p:nvSpPr>
          <p:cNvPr id="15" name="Dikdörtgen 14"/>
          <p:cNvSpPr/>
          <p:nvPr/>
        </p:nvSpPr>
        <p:spPr>
          <a:xfrm>
            <a:off x="458823" y="3774669"/>
            <a:ext cx="5563001" cy="39922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007" b="1" i="0" u="none" strike="noStrike" kern="1200" cap="none" spc="0" normalizeH="0" baseline="0" noProof="0" dirty="0">
                <a:ln>
                  <a:noFill/>
                </a:ln>
                <a:solidFill>
                  <a:prstClr val="black"/>
                </a:solidFill>
                <a:effectLst/>
                <a:uLnTx/>
                <a:uFillTx/>
                <a:latin typeface="Calibri"/>
                <a:ea typeface="+mn-ea"/>
                <a:cs typeface="+mn-cs"/>
              </a:rPr>
              <a:t>BAŞVURU VE DEĞERLENDİRME DÖNEMLERİ</a:t>
            </a:r>
          </a:p>
        </p:txBody>
      </p:sp>
      <p:graphicFrame>
        <p:nvGraphicFramePr>
          <p:cNvPr id="4" name="Tablo 3"/>
          <p:cNvGraphicFramePr>
            <a:graphicFrameLocks noGrp="1"/>
          </p:cNvGraphicFramePr>
          <p:nvPr/>
        </p:nvGraphicFramePr>
        <p:xfrm>
          <a:off x="531096" y="4502032"/>
          <a:ext cx="7082605" cy="2141405"/>
        </p:xfrm>
        <a:graphic>
          <a:graphicData uri="http://schemas.openxmlformats.org/drawingml/2006/table">
            <a:tbl>
              <a:tblPr firstRow="1" firstCol="1" bandRow="1">
                <a:tableStyleId>{0E3FDE45-AF77-4B5C-9715-49D594BDF05E}</a:tableStyleId>
              </a:tblPr>
              <a:tblGrid>
                <a:gridCol w="990043">
                  <a:extLst>
                    <a:ext uri="{9D8B030D-6E8A-4147-A177-3AD203B41FA5}">
                      <a16:colId xmlns:a16="http://schemas.microsoft.com/office/drawing/2014/main" val="20000"/>
                    </a:ext>
                  </a:extLst>
                </a:gridCol>
                <a:gridCol w="3046281">
                  <a:extLst>
                    <a:ext uri="{9D8B030D-6E8A-4147-A177-3AD203B41FA5}">
                      <a16:colId xmlns:a16="http://schemas.microsoft.com/office/drawing/2014/main" val="20001"/>
                    </a:ext>
                  </a:extLst>
                </a:gridCol>
                <a:gridCol w="3046281">
                  <a:extLst>
                    <a:ext uri="{9D8B030D-6E8A-4147-A177-3AD203B41FA5}">
                      <a16:colId xmlns:a16="http://schemas.microsoft.com/office/drawing/2014/main" val="20002"/>
                    </a:ext>
                  </a:extLst>
                </a:gridCol>
              </a:tblGrid>
              <a:tr h="305915">
                <a:tc>
                  <a:txBody>
                    <a:bodyPr/>
                    <a:lstStyle/>
                    <a:p>
                      <a:pPr algn="ctr">
                        <a:spcAft>
                          <a:spcPts val="0"/>
                        </a:spcAft>
                      </a:pPr>
                      <a:r>
                        <a:rPr lang="tr-TR" sz="2000" dirty="0">
                          <a:effectLst/>
                        </a:rPr>
                        <a:t> Dönem </a:t>
                      </a:r>
                      <a:endParaRPr lang="tr-TR" sz="2000" dirty="0">
                        <a:solidFill>
                          <a:schemeClr val="bg1"/>
                        </a:solidFill>
                        <a:effectLst/>
                        <a:latin typeface="Times New Roman"/>
                        <a:ea typeface="SimSun"/>
                      </a:endParaRPr>
                    </a:p>
                  </a:txBody>
                  <a:tcPr marL="68831" marR="68831" marT="0" marB="0"/>
                </a:tc>
                <a:tc>
                  <a:txBody>
                    <a:bodyPr/>
                    <a:lstStyle/>
                    <a:p>
                      <a:pPr algn="ctr">
                        <a:spcAft>
                          <a:spcPts val="0"/>
                        </a:spcAft>
                      </a:pPr>
                      <a:r>
                        <a:rPr lang="tr-TR" sz="2000" dirty="0">
                          <a:effectLst/>
                        </a:rPr>
                        <a:t>Başvuru Dönemi</a:t>
                      </a:r>
                      <a:endParaRPr lang="tr-TR" sz="2000" dirty="0">
                        <a:solidFill>
                          <a:schemeClr val="bg1"/>
                        </a:solidFill>
                        <a:effectLst/>
                        <a:latin typeface="Times New Roman"/>
                        <a:ea typeface="SimSun"/>
                      </a:endParaRPr>
                    </a:p>
                  </a:txBody>
                  <a:tcPr marL="68831" marR="68831" marT="0" marB="0"/>
                </a:tc>
                <a:tc>
                  <a:txBody>
                    <a:bodyPr/>
                    <a:lstStyle/>
                    <a:p>
                      <a:pPr algn="ctr">
                        <a:spcAft>
                          <a:spcPts val="0"/>
                        </a:spcAft>
                      </a:pPr>
                      <a:r>
                        <a:rPr lang="tr-TR" sz="2000" dirty="0">
                          <a:effectLst/>
                        </a:rPr>
                        <a:t>Değerlendirme Dönemi</a:t>
                      </a:r>
                      <a:endParaRPr lang="tr-TR" sz="2000" dirty="0">
                        <a:solidFill>
                          <a:schemeClr val="bg1"/>
                        </a:solidFill>
                        <a:effectLst/>
                        <a:latin typeface="Times New Roman"/>
                        <a:ea typeface="SimSun"/>
                      </a:endParaRPr>
                    </a:p>
                  </a:txBody>
                  <a:tcPr marL="68831" marR="68831" marT="0" marB="0"/>
                </a:tc>
                <a:extLst>
                  <a:ext uri="{0D108BD9-81ED-4DB2-BD59-A6C34878D82A}">
                    <a16:rowId xmlns:a16="http://schemas.microsoft.com/office/drawing/2014/main" val="10000"/>
                  </a:ext>
                </a:extLst>
              </a:tr>
              <a:tr h="305915">
                <a:tc>
                  <a:txBody>
                    <a:bodyPr/>
                    <a:lstStyle/>
                    <a:p>
                      <a:pPr marL="0" lvl="0" indent="0" algn="ctr" defTabSz="914400" rtl="0" eaLnBrk="1" latinLnBrk="0" hangingPunct="1">
                        <a:spcAft>
                          <a:spcPts val="0"/>
                        </a:spcAft>
                        <a:buFont typeface="+mj-lt"/>
                        <a:buNone/>
                      </a:pPr>
                      <a:r>
                        <a:rPr lang="tr-TR" sz="2000" kern="1200" dirty="0">
                          <a:effectLst/>
                        </a:rPr>
                        <a:t>1</a:t>
                      </a:r>
                      <a:endParaRPr lang="tr-TR" sz="2000" b="1" kern="1200" dirty="0">
                        <a:solidFill>
                          <a:schemeClr val="tx1"/>
                        </a:solidFill>
                        <a:effectLst/>
                        <a:latin typeface="+mn-lt"/>
                        <a:ea typeface="+mn-ea"/>
                        <a:cs typeface="+mn-cs"/>
                      </a:endParaRPr>
                    </a:p>
                  </a:txBody>
                  <a:tcPr marL="68831" marR="68831" marT="0" marB="0"/>
                </a:tc>
                <a:tc>
                  <a:txBody>
                    <a:bodyPr/>
                    <a:lstStyle/>
                    <a:p>
                      <a:pPr marL="0" algn="ctr" defTabSz="914400" rtl="0" eaLnBrk="1" latinLnBrk="0" hangingPunct="1">
                        <a:spcAft>
                          <a:spcPts val="0"/>
                        </a:spcAft>
                      </a:pPr>
                      <a:r>
                        <a:rPr lang="tr-TR" sz="2000" b="0" kern="1200" dirty="0">
                          <a:effectLst/>
                        </a:rPr>
                        <a:t>Ocak</a:t>
                      </a:r>
                      <a:endParaRPr lang="tr-TR" sz="2000" b="0" kern="1200" dirty="0">
                        <a:solidFill>
                          <a:schemeClr val="tx1"/>
                        </a:solidFill>
                        <a:effectLst/>
                        <a:latin typeface="+mn-lt"/>
                        <a:ea typeface="+mn-ea"/>
                        <a:cs typeface="+mn-cs"/>
                      </a:endParaRPr>
                    </a:p>
                  </a:txBody>
                  <a:tcPr marL="68831" marR="68831" marT="0" marB="0"/>
                </a:tc>
                <a:tc>
                  <a:txBody>
                    <a:bodyPr/>
                    <a:lstStyle/>
                    <a:p>
                      <a:pPr marL="0" algn="ctr" defTabSz="914400" rtl="0" eaLnBrk="1" latinLnBrk="0" hangingPunct="1">
                        <a:spcAft>
                          <a:spcPts val="0"/>
                        </a:spcAft>
                      </a:pPr>
                      <a:r>
                        <a:rPr lang="tr-TR" sz="2000" b="0" kern="1200" dirty="0">
                          <a:effectLst/>
                        </a:rPr>
                        <a:t>Şubat</a:t>
                      </a:r>
                      <a:endParaRPr lang="tr-TR" sz="2000" b="0" kern="1200" dirty="0">
                        <a:solidFill>
                          <a:schemeClr val="tx1"/>
                        </a:solidFill>
                        <a:effectLst/>
                        <a:latin typeface="+mn-lt"/>
                        <a:ea typeface="+mn-ea"/>
                        <a:cs typeface="+mn-cs"/>
                      </a:endParaRPr>
                    </a:p>
                  </a:txBody>
                  <a:tcPr marL="68831" marR="68831" marT="0" marB="0"/>
                </a:tc>
                <a:extLst>
                  <a:ext uri="{0D108BD9-81ED-4DB2-BD59-A6C34878D82A}">
                    <a16:rowId xmlns:a16="http://schemas.microsoft.com/office/drawing/2014/main" val="10001"/>
                  </a:ext>
                </a:extLst>
              </a:tr>
              <a:tr h="305915">
                <a:tc>
                  <a:txBody>
                    <a:bodyPr/>
                    <a:lstStyle/>
                    <a:p>
                      <a:pPr marL="0" lvl="0" indent="0" algn="ctr" defTabSz="914400" rtl="0" eaLnBrk="1" latinLnBrk="0" hangingPunct="1">
                        <a:spcAft>
                          <a:spcPts val="0"/>
                        </a:spcAft>
                        <a:buFont typeface="+mj-lt"/>
                        <a:buNone/>
                      </a:pPr>
                      <a:r>
                        <a:rPr lang="tr-TR" sz="2000" kern="1200" dirty="0">
                          <a:effectLst/>
                        </a:rPr>
                        <a:t>2</a:t>
                      </a:r>
                      <a:endParaRPr lang="tr-TR" sz="2000" b="1" kern="1200" dirty="0">
                        <a:solidFill>
                          <a:schemeClr val="tx1"/>
                        </a:solidFill>
                        <a:effectLst/>
                        <a:latin typeface="+mn-lt"/>
                        <a:ea typeface="+mn-ea"/>
                        <a:cs typeface="+mn-cs"/>
                      </a:endParaRPr>
                    </a:p>
                  </a:txBody>
                  <a:tcPr marL="68831" marR="68831" marT="0" marB="0"/>
                </a:tc>
                <a:tc>
                  <a:txBody>
                    <a:bodyPr/>
                    <a:lstStyle/>
                    <a:p>
                      <a:pPr marL="0" algn="ctr" defTabSz="914400" rtl="0" eaLnBrk="1" latinLnBrk="0" hangingPunct="1">
                        <a:spcAft>
                          <a:spcPts val="0"/>
                        </a:spcAft>
                      </a:pPr>
                      <a:r>
                        <a:rPr lang="tr-TR" sz="2000" b="0" kern="1200" dirty="0">
                          <a:effectLst/>
                        </a:rPr>
                        <a:t>Mart</a:t>
                      </a:r>
                      <a:endParaRPr lang="tr-TR" sz="2000" b="0" kern="1200" dirty="0">
                        <a:solidFill>
                          <a:schemeClr val="tx1"/>
                        </a:solidFill>
                        <a:effectLst/>
                        <a:latin typeface="+mn-lt"/>
                        <a:ea typeface="+mn-ea"/>
                        <a:cs typeface="+mn-cs"/>
                      </a:endParaRPr>
                    </a:p>
                  </a:txBody>
                  <a:tcPr marL="68831" marR="68831" marT="0" marB="0"/>
                </a:tc>
                <a:tc>
                  <a:txBody>
                    <a:bodyPr/>
                    <a:lstStyle/>
                    <a:p>
                      <a:pPr marL="0" algn="ctr" defTabSz="914400" rtl="0" eaLnBrk="1" latinLnBrk="0" hangingPunct="1">
                        <a:spcAft>
                          <a:spcPts val="0"/>
                        </a:spcAft>
                      </a:pPr>
                      <a:r>
                        <a:rPr lang="tr-TR" sz="2000" b="0" kern="1200" dirty="0">
                          <a:effectLst/>
                        </a:rPr>
                        <a:t>Nisan</a:t>
                      </a:r>
                      <a:endParaRPr lang="tr-TR" sz="2000" b="0" kern="1200" dirty="0">
                        <a:solidFill>
                          <a:schemeClr val="tx1"/>
                        </a:solidFill>
                        <a:effectLst/>
                        <a:latin typeface="+mn-lt"/>
                        <a:ea typeface="+mn-ea"/>
                        <a:cs typeface="+mn-cs"/>
                      </a:endParaRPr>
                    </a:p>
                  </a:txBody>
                  <a:tcPr marL="68831" marR="68831" marT="0" marB="0"/>
                </a:tc>
                <a:extLst>
                  <a:ext uri="{0D108BD9-81ED-4DB2-BD59-A6C34878D82A}">
                    <a16:rowId xmlns:a16="http://schemas.microsoft.com/office/drawing/2014/main" val="10002"/>
                  </a:ext>
                </a:extLst>
              </a:tr>
              <a:tr h="305915">
                <a:tc>
                  <a:txBody>
                    <a:bodyPr/>
                    <a:lstStyle/>
                    <a:p>
                      <a:pPr marL="0" lvl="0" indent="0" algn="ctr" defTabSz="914400" rtl="0" eaLnBrk="1" latinLnBrk="0" hangingPunct="1">
                        <a:spcAft>
                          <a:spcPts val="0"/>
                        </a:spcAft>
                        <a:buFont typeface="+mj-lt"/>
                        <a:buNone/>
                      </a:pPr>
                      <a:r>
                        <a:rPr lang="tr-TR" sz="2000" kern="1200" dirty="0">
                          <a:effectLst/>
                        </a:rPr>
                        <a:t>3</a:t>
                      </a:r>
                      <a:endParaRPr lang="tr-TR" sz="2000" b="1" kern="1200" dirty="0">
                        <a:solidFill>
                          <a:schemeClr val="tx1"/>
                        </a:solidFill>
                        <a:effectLst/>
                        <a:latin typeface="+mn-lt"/>
                        <a:ea typeface="+mn-ea"/>
                        <a:cs typeface="+mn-cs"/>
                      </a:endParaRPr>
                    </a:p>
                  </a:txBody>
                  <a:tcPr marL="68831" marR="68831" marT="0" marB="0"/>
                </a:tc>
                <a:tc>
                  <a:txBody>
                    <a:bodyPr/>
                    <a:lstStyle/>
                    <a:p>
                      <a:pPr marL="0" algn="ctr" defTabSz="914400" rtl="0" eaLnBrk="1" latinLnBrk="0" hangingPunct="1">
                        <a:spcAft>
                          <a:spcPts val="0"/>
                        </a:spcAft>
                      </a:pPr>
                      <a:r>
                        <a:rPr lang="tr-TR" sz="2000" b="0" kern="1200" dirty="0">
                          <a:effectLst/>
                        </a:rPr>
                        <a:t>Mayıs</a:t>
                      </a:r>
                      <a:endParaRPr lang="tr-TR" sz="2000" b="0" kern="1200" dirty="0">
                        <a:solidFill>
                          <a:schemeClr val="tx1"/>
                        </a:solidFill>
                        <a:effectLst/>
                        <a:latin typeface="+mn-lt"/>
                        <a:ea typeface="+mn-ea"/>
                        <a:cs typeface="+mn-cs"/>
                      </a:endParaRPr>
                    </a:p>
                  </a:txBody>
                  <a:tcPr marL="68831" marR="68831" marT="0" marB="0"/>
                </a:tc>
                <a:tc>
                  <a:txBody>
                    <a:bodyPr/>
                    <a:lstStyle/>
                    <a:p>
                      <a:pPr marL="0" algn="ctr" defTabSz="914400" rtl="0" eaLnBrk="1" latinLnBrk="0" hangingPunct="1">
                        <a:spcAft>
                          <a:spcPts val="0"/>
                        </a:spcAft>
                      </a:pPr>
                      <a:r>
                        <a:rPr lang="tr-TR" sz="2000" b="0" kern="1200" dirty="0">
                          <a:effectLst/>
                        </a:rPr>
                        <a:t>Haziran</a:t>
                      </a:r>
                      <a:endParaRPr lang="tr-TR" sz="2000" b="0" kern="1200" dirty="0">
                        <a:solidFill>
                          <a:schemeClr val="tx1"/>
                        </a:solidFill>
                        <a:effectLst/>
                        <a:latin typeface="+mn-lt"/>
                        <a:ea typeface="+mn-ea"/>
                        <a:cs typeface="+mn-cs"/>
                      </a:endParaRPr>
                    </a:p>
                  </a:txBody>
                  <a:tcPr marL="68831" marR="68831" marT="0" marB="0"/>
                </a:tc>
                <a:extLst>
                  <a:ext uri="{0D108BD9-81ED-4DB2-BD59-A6C34878D82A}">
                    <a16:rowId xmlns:a16="http://schemas.microsoft.com/office/drawing/2014/main" val="10003"/>
                  </a:ext>
                </a:extLst>
              </a:tr>
              <a:tr h="305915">
                <a:tc>
                  <a:txBody>
                    <a:bodyPr/>
                    <a:lstStyle/>
                    <a:p>
                      <a:pPr marL="0" lvl="0" indent="0" algn="ctr" defTabSz="914400" rtl="0" eaLnBrk="1" latinLnBrk="0" hangingPunct="1">
                        <a:spcAft>
                          <a:spcPts val="0"/>
                        </a:spcAft>
                        <a:buFont typeface="+mj-lt"/>
                        <a:buNone/>
                      </a:pPr>
                      <a:r>
                        <a:rPr lang="tr-TR" sz="2000" kern="1200" dirty="0">
                          <a:effectLst/>
                        </a:rPr>
                        <a:t>4</a:t>
                      </a:r>
                      <a:endParaRPr lang="tr-TR" sz="2000" b="1" kern="1200" dirty="0">
                        <a:solidFill>
                          <a:schemeClr val="tx1"/>
                        </a:solidFill>
                        <a:effectLst/>
                        <a:latin typeface="+mn-lt"/>
                        <a:ea typeface="+mn-ea"/>
                        <a:cs typeface="+mn-cs"/>
                      </a:endParaRPr>
                    </a:p>
                  </a:txBody>
                  <a:tcPr marL="68831" marR="68831" marT="0" marB="0"/>
                </a:tc>
                <a:tc>
                  <a:txBody>
                    <a:bodyPr/>
                    <a:lstStyle/>
                    <a:p>
                      <a:pPr marL="0" algn="ctr" defTabSz="914400" rtl="0" eaLnBrk="1" latinLnBrk="0" hangingPunct="1">
                        <a:spcAft>
                          <a:spcPts val="0"/>
                        </a:spcAft>
                      </a:pPr>
                      <a:r>
                        <a:rPr lang="tr-TR" sz="2000" b="0" kern="1200" dirty="0">
                          <a:effectLst/>
                        </a:rPr>
                        <a:t>Temmuz</a:t>
                      </a:r>
                      <a:endParaRPr lang="tr-TR" sz="2000" b="0" kern="1200" dirty="0">
                        <a:solidFill>
                          <a:schemeClr val="tx1"/>
                        </a:solidFill>
                        <a:effectLst/>
                        <a:latin typeface="+mn-lt"/>
                        <a:ea typeface="+mn-ea"/>
                        <a:cs typeface="+mn-cs"/>
                      </a:endParaRPr>
                    </a:p>
                  </a:txBody>
                  <a:tcPr marL="68831" marR="68831" marT="0" marB="0"/>
                </a:tc>
                <a:tc>
                  <a:txBody>
                    <a:bodyPr/>
                    <a:lstStyle/>
                    <a:p>
                      <a:pPr marL="0" algn="ctr" defTabSz="914400" rtl="0" eaLnBrk="1" latinLnBrk="0" hangingPunct="1">
                        <a:spcAft>
                          <a:spcPts val="0"/>
                        </a:spcAft>
                      </a:pPr>
                      <a:r>
                        <a:rPr lang="tr-TR" sz="2000" b="0" kern="1200" dirty="0">
                          <a:effectLst/>
                        </a:rPr>
                        <a:t>Ağustos</a:t>
                      </a:r>
                      <a:endParaRPr lang="tr-TR" sz="2000" b="0" kern="1200" dirty="0">
                        <a:solidFill>
                          <a:schemeClr val="tx1"/>
                        </a:solidFill>
                        <a:effectLst/>
                        <a:latin typeface="+mn-lt"/>
                        <a:ea typeface="+mn-ea"/>
                        <a:cs typeface="+mn-cs"/>
                      </a:endParaRPr>
                    </a:p>
                  </a:txBody>
                  <a:tcPr marL="68831" marR="68831" marT="0" marB="0"/>
                </a:tc>
                <a:extLst>
                  <a:ext uri="{0D108BD9-81ED-4DB2-BD59-A6C34878D82A}">
                    <a16:rowId xmlns:a16="http://schemas.microsoft.com/office/drawing/2014/main" val="10004"/>
                  </a:ext>
                </a:extLst>
              </a:tr>
              <a:tr h="305915">
                <a:tc>
                  <a:txBody>
                    <a:bodyPr/>
                    <a:lstStyle/>
                    <a:p>
                      <a:pPr marL="0" lvl="0" indent="0" algn="ctr" defTabSz="914400" rtl="0" eaLnBrk="1" latinLnBrk="0" hangingPunct="1">
                        <a:spcAft>
                          <a:spcPts val="0"/>
                        </a:spcAft>
                        <a:buFont typeface="+mj-lt"/>
                        <a:buNone/>
                      </a:pPr>
                      <a:r>
                        <a:rPr lang="tr-TR" sz="2000" kern="1200" dirty="0">
                          <a:effectLst/>
                        </a:rPr>
                        <a:t>5</a:t>
                      </a:r>
                      <a:endParaRPr lang="tr-TR" sz="2000" b="1" kern="1200" dirty="0">
                        <a:solidFill>
                          <a:schemeClr val="tx1"/>
                        </a:solidFill>
                        <a:effectLst/>
                        <a:latin typeface="+mn-lt"/>
                        <a:ea typeface="+mn-ea"/>
                        <a:cs typeface="+mn-cs"/>
                      </a:endParaRPr>
                    </a:p>
                  </a:txBody>
                  <a:tcPr marL="68831" marR="68831" marT="0" marB="0"/>
                </a:tc>
                <a:tc>
                  <a:txBody>
                    <a:bodyPr/>
                    <a:lstStyle/>
                    <a:p>
                      <a:pPr marL="0" algn="ctr" defTabSz="914400" rtl="0" eaLnBrk="1" latinLnBrk="0" hangingPunct="1">
                        <a:spcAft>
                          <a:spcPts val="0"/>
                        </a:spcAft>
                      </a:pPr>
                      <a:r>
                        <a:rPr lang="tr-TR" sz="2000" b="0" kern="1200">
                          <a:effectLst/>
                        </a:rPr>
                        <a:t>Eylül</a:t>
                      </a:r>
                      <a:endParaRPr lang="tr-TR" sz="2000" b="0" kern="1200">
                        <a:solidFill>
                          <a:schemeClr val="tx1"/>
                        </a:solidFill>
                        <a:effectLst/>
                        <a:latin typeface="+mn-lt"/>
                        <a:ea typeface="+mn-ea"/>
                        <a:cs typeface="+mn-cs"/>
                      </a:endParaRPr>
                    </a:p>
                  </a:txBody>
                  <a:tcPr marL="68831" marR="68831" marT="0" marB="0"/>
                </a:tc>
                <a:tc>
                  <a:txBody>
                    <a:bodyPr/>
                    <a:lstStyle/>
                    <a:p>
                      <a:pPr marL="0" algn="ctr" defTabSz="914400" rtl="0" eaLnBrk="1" latinLnBrk="0" hangingPunct="1">
                        <a:spcAft>
                          <a:spcPts val="0"/>
                        </a:spcAft>
                      </a:pPr>
                      <a:r>
                        <a:rPr lang="tr-TR" sz="2000" b="0" kern="1200" dirty="0">
                          <a:effectLst/>
                        </a:rPr>
                        <a:t>Ekim</a:t>
                      </a:r>
                      <a:endParaRPr lang="tr-TR" sz="2000" b="0" kern="1200" dirty="0">
                        <a:solidFill>
                          <a:schemeClr val="tx1"/>
                        </a:solidFill>
                        <a:effectLst/>
                        <a:latin typeface="+mn-lt"/>
                        <a:ea typeface="+mn-ea"/>
                        <a:cs typeface="+mn-cs"/>
                      </a:endParaRPr>
                    </a:p>
                  </a:txBody>
                  <a:tcPr marL="68831" marR="68831" marT="0" marB="0"/>
                </a:tc>
                <a:extLst>
                  <a:ext uri="{0D108BD9-81ED-4DB2-BD59-A6C34878D82A}">
                    <a16:rowId xmlns:a16="http://schemas.microsoft.com/office/drawing/2014/main" val="10005"/>
                  </a:ext>
                </a:extLst>
              </a:tr>
              <a:tr h="305915">
                <a:tc>
                  <a:txBody>
                    <a:bodyPr/>
                    <a:lstStyle/>
                    <a:p>
                      <a:pPr marL="0" lvl="0" indent="0" algn="ctr" defTabSz="914400" rtl="0" eaLnBrk="1" latinLnBrk="0" hangingPunct="1">
                        <a:spcAft>
                          <a:spcPts val="0"/>
                        </a:spcAft>
                        <a:buFont typeface="+mj-lt"/>
                        <a:buNone/>
                      </a:pPr>
                      <a:r>
                        <a:rPr lang="tr-TR" sz="2000" kern="1200" dirty="0">
                          <a:effectLst/>
                        </a:rPr>
                        <a:t>6</a:t>
                      </a:r>
                      <a:endParaRPr lang="tr-TR" sz="2000" b="1" kern="1200" dirty="0">
                        <a:solidFill>
                          <a:schemeClr val="tx1"/>
                        </a:solidFill>
                        <a:effectLst/>
                        <a:latin typeface="+mn-lt"/>
                        <a:ea typeface="+mn-ea"/>
                        <a:cs typeface="+mn-cs"/>
                      </a:endParaRPr>
                    </a:p>
                  </a:txBody>
                  <a:tcPr marL="68831" marR="68831" marT="0" marB="0"/>
                </a:tc>
                <a:tc>
                  <a:txBody>
                    <a:bodyPr/>
                    <a:lstStyle/>
                    <a:p>
                      <a:pPr marL="0" algn="ctr" defTabSz="914400" rtl="0" eaLnBrk="1" latinLnBrk="0" hangingPunct="1">
                        <a:spcAft>
                          <a:spcPts val="0"/>
                        </a:spcAft>
                      </a:pPr>
                      <a:r>
                        <a:rPr lang="tr-TR" sz="2000" b="0" kern="1200">
                          <a:effectLst/>
                        </a:rPr>
                        <a:t>Kasım</a:t>
                      </a:r>
                      <a:endParaRPr lang="tr-TR" sz="2000" b="0" kern="1200">
                        <a:solidFill>
                          <a:schemeClr val="tx1"/>
                        </a:solidFill>
                        <a:effectLst/>
                        <a:latin typeface="+mn-lt"/>
                        <a:ea typeface="+mn-ea"/>
                        <a:cs typeface="+mn-cs"/>
                      </a:endParaRPr>
                    </a:p>
                  </a:txBody>
                  <a:tcPr marL="68831" marR="68831" marT="0" marB="0"/>
                </a:tc>
                <a:tc>
                  <a:txBody>
                    <a:bodyPr/>
                    <a:lstStyle/>
                    <a:p>
                      <a:pPr marL="0" algn="ctr" defTabSz="914400" rtl="0" eaLnBrk="1" latinLnBrk="0" hangingPunct="1">
                        <a:spcAft>
                          <a:spcPts val="0"/>
                        </a:spcAft>
                      </a:pPr>
                      <a:r>
                        <a:rPr lang="tr-TR" sz="2000" b="0" kern="1200" dirty="0">
                          <a:effectLst/>
                        </a:rPr>
                        <a:t>Aralık</a:t>
                      </a:r>
                      <a:endParaRPr lang="tr-TR" sz="2000" b="0" kern="1200" dirty="0">
                        <a:solidFill>
                          <a:schemeClr val="tx1"/>
                        </a:solidFill>
                        <a:effectLst/>
                        <a:latin typeface="+mn-lt"/>
                        <a:ea typeface="+mn-ea"/>
                        <a:cs typeface="+mn-cs"/>
                      </a:endParaRPr>
                    </a:p>
                  </a:txBody>
                  <a:tcPr marL="68831" marR="68831" marT="0" marB="0"/>
                </a:tc>
                <a:extLst>
                  <a:ext uri="{0D108BD9-81ED-4DB2-BD59-A6C34878D82A}">
                    <a16:rowId xmlns:a16="http://schemas.microsoft.com/office/drawing/2014/main" val="10006"/>
                  </a:ext>
                </a:extLst>
              </a:tr>
            </a:tbl>
          </a:graphicData>
        </a:graphic>
      </p:graphicFrame>
      <p:pic>
        <p:nvPicPr>
          <p:cNvPr id="9" name="Picture 3"/>
          <p:cNvPicPr>
            <a:picLocks noChangeAspect="1" noChangeArrowheads="1"/>
          </p:cNvPicPr>
          <p:nvPr/>
        </p:nvPicPr>
        <p:blipFill>
          <a:blip r:embed="rId3" cstate="print"/>
          <a:srcRect/>
          <a:stretch>
            <a:fillRect/>
          </a:stretch>
        </p:blipFill>
        <p:spPr bwMode="auto">
          <a:xfrm>
            <a:off x="458822" y="278460"/>
            <a:ext cx="722715" cy="509772"/>
          </a:xfrm>
          <a:prstGeom prst="rect">
            <a:avLst/>
          </a:prstGeom>
          <a:noFill/>
          <a:ln w="9525">
            <a:noFill/>
            <a:miter lim="800000"/>
            <a:headEnd/>
            <a:tailEnd/>
          </a:ln>
        </p:spPr>
      </p:pic>
      <p:sp>
        <p:nvSpPr>
          <p:cNvPr id="10" name="Caution">
            <a:extLst>
              <a:ext uri="{FF2B5EF4-FFF2-40B4-BE49-F238E27FC236}">
                <a16:creationId xmlns:a16="http://schemas.microsoft.com/office/drawing/2014/main" id="{B6782351-929C-4F61-9C1B-23DE2A169ABC}"/>
              </a:ext>
            </a:extLst>
          </p:cNvPr>
          <p:cNvSpPr>
            <a:spLocks noChangeAspect="1"/>
          </p:cNvSpPr>
          <p:nvPr/>
        </p:nvSpPr>
        <p:spPr>
          <a:xfrm>
            <a:off x="10178995" y="3631611"/>
            <a:ext cx="794986" cy="685333"/>
          </a:xfrm>
          <a:custGeom>
            <a:avLst/>
            <a:gdLst>
              <a:gd name="connsiteX0" fmla="*/ 957551 w 1915105"/>
              <a:gd name="connsiteY0" fmla="*/ 1312007 h 1650953"/>
              <a:gd name="connsiteX1" fmla="*/ 1058240 w 1915105"/>
              <a:gd name="connsiteY1" fmla="*/ 1412696 h 1650953"/>
              <a:gd name="connsiteX2" fmla="*/ 957551 w 1915105"/>
              <a:gd name="connsiteY2" fmla="*/ 1513385 h 1650953"/>
              <a:gd name="connsiteX3" fmla="*/ 856862 w 1915105"/>
              <a:gd name="connsiteY3" fmla="*/ 1412696 h 1650953"/>
              <a:gd name="connsiteX4" fmla="*/ 957551 w 1915105"/>
              <a:gd name="connsiteY4" fmla="*/ 1312007 h 1650953"/>
              <a:gd name="connsiteX5" fmla="*/ 957553 w 1915105"/>
              <a:gd name="connsiteY5" fmla="*/ 439775 h 1650953"/>
              <a:gd name="connsiteX6" fmla="*/ 1026486 w 1915105"/>
              <a:gd name="connsiteY6" fmla="*/ 508708 h 1650953"/>
              <a:gd name="connsiteX7" fmla="*/ 1026485 w 1915105"/>
              <a:gd name="connsiteY7" fmla="*/ 1135578 h 1650953"/>
              <a:gd name="connsiteX8" fmla="*/ 957552 w 1915105"/>
              <a:gd name="connsiteY8" fmla="*/ 1204511 h 1650953"/>
              <a:gd name="connsiteX9" fmla="*/ 957553 w 1915105"/>
              <a:gd name="connsiteY9" fmla="*/ 1204510 h 1650953"/>
              <a:gd name="connsiteX10" fmla="*/ 888620 w 1915105"/>
              <a:gd name="connsiteY10" fmla="*/ 1135577 h 1650953"/>
              <a:gd name="connsiteX11" fmla="*/ 888620 w 1915105"/>
              <a:gd name="connsiteY11" fmla="*/ 508708 h 1650953"/>
              <a:gd name="connsiteX12" fmla="*/ 957553 w 1915105"/>
              <a:gd name="connsiteY12" fmla="*/ 439775 h 1650953"/>
              <a:gd name="connsiteX13" fmla="*/ 957553 w 1915105"/>
              <a:gd name="connsiteY13" fmla="*/ 100443 h 1650953"/>
              <a:gd name="connsiteX14" fmla="*/ 87050 w 1915105"/>
              <a:gd name="connsiteY14" fmla="*/ 1601309 h 1650953"/>
              <a:gd name="connsiteX15" fmla="*/ 1828055 w 1915105"/>
              <a:gd name="connsiteY15" fmla="*/ 1601309 h 1650953"/>
              <a:gd name="connsiteX16" fmla="*/ 957553 w 1915105"/>
              <a:gd name="connsiteY16" fmla="*/ 0 h 1650953"/>
              <a:gd name="connsiteX17" fmla="*/ 1915105 w 1915105"/>
              <a:gd name="connsiteY17" fmla="*/ 1650953 h 1650953"/>
              <a:gd name="connsiteX18" fmla="*/ 0 w 1915105"/>
              <a:gd name="connsiteY18" fmla="*/ 1650953 h 165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5105" h="1650953">
                <a:moveTo>
                  <a:pt x="957551" y="1312007"/>
                </a:moveTo>
                <a:cubicBezTo>
                  <a:pt x="1013160" y="1312007"/>
                  <a:pt x="1058240" y="1357087"/>
                  <a:pt x="1058240" y="1412696"/>
                </a:cubicBezTo>
                <a:cubicBezTo>
                  <a:pt x="1058240" y="1468305"/>
                  <a:pt x="1013160" y="1513385"/>
                  <a:pt x="957551" y="1513385"/>
                </a:cubicBezTo>
                <a:cubicBezTo>
                  <a:pt x="901942" y="1513385"/>
                  <a:pt x="856862" y="1468305"/>
                  <a:pt x="856862" y="1412696"/>
                </a:cubicBezTo>
                <a:cubicBezTo>
                  <a:pt x="856862" y="1357087"/>
                  <a:pt x="901942" y="1312007"/>
                  <a:pt x="957551" y="1312007"/>
                </a:cubicBezTo>
                <a:close/>
                <a:moveTo>
                  <a:pt x="957553" y="439775"/>
                </a:moveTo>
                <a:cubicBezTo>
                  <a:pt x="995624" y="439775"/>
                  <a:pt x="1026486" y="470637"/>
                  <a:pt x="1026486" y="508708"/>
                </a:cubicBezTo>
                <a:cubicBezTo>
                  <a:pt x="1026486" y="717665"/>
                  <a:pt x="1026485" y="926621"/>
                  <a:pt x="1026485" y="1135578"/>
                </a:cubicBezTo>
                <a:cubicBezTo>
                  <a:pt x="1026485" y="1173649"/>
                  <a:pt x="995623" y="1204511"/>
                  <a:pt x="957552" y="1204511"/>
                </a:cubicBezTo>
                <a:lnTo>
                  <a:pt x="957553" y="1204510"/>
                </a:lnTo>
                <a:cubicBezTo>
                  <a:pt x="919482" y="1204510"/>
                  <a:pt x="888620" y="1173648"/>
                  <a:pt x="888620" y="1135577"/>
                </a:cubicBezTo>
                <a:lnTo>
                  <a:pt x="888620" y="508708"/>
                </a:lnTo>
                <a:cubicBezTo>
                  <a:pt x="888620" y="470637"/>
                  <a:pt x="919482" y="439775"/>
                  <a:pt x="957553" y="439775"/>
                </a:cubicBezTo>
                <a:close/>
                <a:moveTo>
                  <a:pt x="957553" y="100443"/>
                </a:moveTo>
                <a:lnTo>
                  <a:pt x="87050" y="1601309"/>
                </a:lnTo>
                <a:lnTo>
                  <a:pt x="1828055" y="1601309"/>
                </a:lnTo>
                <a:close/>
                <a:moveTo>
                  <a:pt x="957553" y="0"/>
                </a:moveTo>
                <a:lnTo>
                  <a:pt x="1915105" y="1650953"/>
                </a:lnTo>
                <a:lnTo>
                  <a:pt x="0" y="1650953"/>
                </a:lnTo>
                <a:close/>
              </a:path>
            </a:pathLst>
          </a:cu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Yuvarlatılmış Dikdörtgen 10"/>
          <p:cNvSpPr/>
          <p:nvPr/>
        </p:nvSpPr>
        <p:spPr>
          <a:xfrm>
            <a:off x="9099194" y="4411975"/>
            <a:ext cx="3035403" cy="234009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007" b="0" i="0" u="none" strike="noStrike" kern="1200" cap="none" spc="0" normalizeH="0" baseline="0" noProof="0" dirty="0">
                <a:ln>
                  <a:noFill/>
                </a:ln>
                <a:solidFill>
                  <a:prstClr val="black"/>
                </a:solidFill>
                <a:effectLst/>
                <a:uLnTx/>
                <a:uFillTx/>
                <a:latin typeface="Calibri"/>
                <a:ea typeface="+mn-ea"/>
                <a:cs typeface="+mn-cs"/>
              </a:rPr>
              <a:t>Haziran ayının  ilk haftasında başlayacak olan bir hızlandırma programı için Mart ayında başvuru yapılması gerekmektedir.</a:t>
            </a:r>
          </a:p>
        </p:txBody>
      </p:sp>
      <p:sp>
        <p:nvSpPr>
          <p:cNvPr id="13" name="Yuvarlatılmış Dikdörtgen 12"/>
          <p:cNvSpPr/>
          <p:nvPr/>
        </p:nvSpPr>
        <p:spPr>
          <a:xfrm>
            <a:off x="9099194" y="1134678"/>
            <a:ext cx="3035403" cy="2340096"/>
          </a:xfrm>
          <a:prstGeom prst="roundRect">
            <a:avLst/>
          </a:prstGeom>
          <a:solidFill>
            <a:schemeClr val="bg1"/>
          </a:solidFill>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007" b="0" i="0" u="none" strike="noStrike" kern="1200" cap="none" spc="0" normalizeH="0" baseline="0" noProof="0" dirty="0">
                <a:ln>
                  <a:noFill/>
                </a:ln>
                <a:solidFill>
                  <a:prstClr val="black"/>
                </a:solidFill>
                <a:effectLst/>
                <a:uLnTx/>
                <a:uFillTx/>
                <a:latin typeface="Calibri"/>
                <a:ea typeface="+mn-ea"/>
                <a:cs typeface="+mn-cs"/>
              </a:rPr>
              <a:t>Program kapsamında </a:t>
            </a:r>
            <a:r>
              <a:rPr kumimoji="0" lang="tr-TR" sz="2007" b="1" i="0" u="none" strike="noStrike" kern="1200" cap="none" spc="0" normalizeH="0" baseline="0" noProof="0" dirty="0">
                <a:ln>
                  <a:noFill/>
                </a:ln>
                <a:solidFill>
                  <a:prstClr val="black"/>
                </a:solidFill>
                <a:effectLst/>
                <a:uLnTx/>
                <a:uFillTx/>
                <a:latin typeface="Calibri"/>
                <a:ea typeface="+mn-ea"/>
                <a:cs typeface="+mn-cs"/>
              </a:rPr>
              <a:t>en az 5 en çok 10 işletme </a:t>
            </a:r>
            <a:r>
              <a:rPr kumimoji="0" lang="tr-TR" sz="2007" b="0" i="0" u="none" strike="noStrike" kern="1200" cap="none" spc="0" normalizeH="0" baseline="0" noProof="0" dirty="0">
                <a:ln>
                  <a:noFill/>
                </a:ln>
                <a:solidFill>
                  <a:prstClr val="black"/>
                </a:solidFill>
                <a:effectLst/>
                <a:uLnTx/>
                <a:uFillTx/>
                <a:latin typeface="Calibri"/>
                <a:ea typeface="+mn-ea"/>
                <a:cs typeface="+mn-cs"/>
              </a:rPr>
              <a:t>olmalıdır ve program bu sayı limitleri içerisinde tamamlanmalıdır. </a:t>
            </a:r>
          </a:p>
        </p:txBody>
      </p:sp>
      <p:sp>
        <p:nvSpPr>
          <p:cNvPr id="16" name="3 Metin kutusu"/>
          <p:cNvSpPr txBox="1"/>
          <p:nvPr/>
        </p:nvSpPr>
        <p:spPr>
          <a:xfrm>
            <a:off x="701746" y="210296"/>
            <a:ext cx="9947358" cy="5866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12" b="1" i="0" u="none" strike="noStrike" kern="1200" cap="none" spc="0" normalizeH="0" baseline="0" noProof="0" dirty="0" err="1">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Organizasyonel</a:t>
            </a:r>
            <a:r>
              <a:rPr kumimoji="0" lang="tr-TR" sz="3212" b="1" i="0" u="none" strike="noStrike" kern="1200" cap="none" spc="0" normalizeH="0" baseline="0" noProof="0" dirty="0">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 Uluslararası Hızlandırıcı Programı</a:t>
            </a:r>
          </a:p>
        </p:txBody>
      </p:sp>
      <p:sp>
        <p:nvSpPr>
          <p:cNvPr id="2" name="Slayt Numarası Yer Tutucusu 1"/>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24</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14924312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 3"/>
          <p:cNvGrpSpPr/>
          <p:nvPr/>
        </p:nvGrpSpPr>
        <p:grpSpPr>
          <a:xfrm>
            <a:off x="559558" y="1541221"/>
            <a:ext cx="10986448" cy="5118139"/>
            <a:chOff x="726606" y="1684343"/>
            <a:chExt cx="7690789" cy="4280107"/>
          </a:xfrm>
        </p:grpSpPr>
        <p:grpSp>
          <p:nvGrpSpPr>
            <p:cNvPr id="68" name="Group 67"/>
            <p:cNvGrpSpPr>
              <a:grpSpLocks noChangeAspect="1"/>
            </p:cNvGrpSpPr>
            <p:nvPr/>
          </p:nvGrpSpPr>
          <p:grpSpPr>
            <a:xfrm>
              <a:off x="6947321" y="2270743"/>
              <a:ext cx="1470074" cy="1483078"/>
              <a:chOff x="9268877" y="1596791"/>
              <a:chExt cx="1005840" cy="1014737"/>
            </a:xfrm>
          </p:grpSpPr>
          <p:sp>
            <p:nvSpPr>
              <p:cNvPr id="67"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65"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grpSp>
        <p:cxnSp>
          <p:nvCxnSpPr>
            <p:cNvPr id="6" name="Straight Connector 5"/>
            <p:cNvCxnSpPr/>
            <p:nvPr/>
          </p:nvCxnSpPr>
          <p:spPr>
            <a:xfrm>
              <a:off x="1132084" y="2270743"/>
              <a:ext cx="6561161"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p:cNvSpPr>
              <a:spLocks noChangeAspect="1"/>
            </p:cNvSpPr>
            <p:nvPr/>
          </p:nvSpPr>
          <p:spPr>
            <a:xfrm>
              <a:off x="1986872"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31" name="Oval 30"/>
            <p:cNvSpPr>
              <a:spLocks noChangeAspect="1"/>
            </p:cNvSpPr>
            <p:nvPr/>
          </p:nvSpPr>
          <p:spPr>
            <a:xfrm>
              <a:off x="4203139"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32" name="Oval 31"/>
            <p:cNvSpPr>
              <a:spLocks noChangeAspect="1"/>
            </p:cNvSpPr>
            <p:nvPr/>
          </p:nvSpPr>
          <p:spPr>
            <a:xfrm>
              <a:off x="6419407"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cxnSp>
          <p:nvCxnSpPr>
            <p:cNvPr id="8" name="Straight Connector 7"/>
            <p:cNvCxnSpPr/>
            <p:nvPr/>
          </p:nvCxnSpPr>
          <p:spPr>
            <a:xfrm flipV="1">
              <a:off x="1484729" y="3753769"/>
              <a:ext cx="6210000" cy="51"/>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483987" y="5236796"/>
              <a:ext cx="6210000" cy="51"/>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1684665" y="2321280"/>
              <a:ext cx="777869" cy="335508"/>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Başvuru</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3" name="TextBox 92"/>
            <p:cNvSpPr txBox="1"/>
            <p:nvPr/>
          </p:nvSpPr>
          <p:spPr>
            <a:xfrm>
              <a:off x="3498237" y="2338611"/>
              <a:ext cx="1608254" cy="335508"/>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en-US" sz="2007" b="1" i="0" u="none" strike="noStrike" kern="0" cap="none" spc="0" normalizeH="0" baseline="0" noProof="0" dirty="0" err="1">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Ön</a:t>
              </a:r>
              <a:r>
                <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2007" b="1" i="0" u="none" strike="noStrike" kern="0" cap="none" spc="0" normalizeH="0" baseline="0" noProof="0" dirty="0" err="1">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Değerlendirme</a:t>
              </a:r>
              <a:r>
                <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 </a:t>
              </a:r>
            </a:p>
          </p:txBody>
        </p:sp>
        <p:sp>
          <p:nvSpPr>
            <p:cNvPr id="95" name="TextBox 94"/>
            <p:cNvSpPr txBox="1"/>
            <p:nvPr/>
          </p:nvSpPr>
          <p:spPr>
            <a:xfrm>
              <a:off x="967683" y="2576801"/>
              <a:ext cx="2273429" cy="490527"/>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Ar-Ge ve Yenilik Destekleri Müdürlüğüne</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6" name="TextBox 95"/>
            <p:cNvSpPr txBox="1"/>
            <p:nvPr/>
          </p:nvSpPr>
          <p:spPr>
            <a:xfrm>
              <a:off x="3407942" y="2656085"/>
              <a:ext cx="1735063" cy="284156"/>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E</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ksiklerin</a:t>
              </a: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bildirilmesi</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4" name="TextBox 93"/>
            <p:cNvSpPr txBox="1"/>
            <p:nvPr/>
          </p:nvSpPr>
          <p:spPr>
            <a:xfrm>
              <a:off x="5825155" y="2324855"/>
              <a:ext cx="1411880" cy="335508"/>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Revize İstenmesi</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7" name="TextBox 96"/>
            <p:cNvSpPr txBox="1"/>
            <p:nvPr/>
          </p:nvSpPr>
          <p:spPr>
            <a:xfrm>
              <a:off x="5453777" y="2583601"/>
              <a:ext cx="2081513" cy="490815"/>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Revize edilen başvurunun tekrar sunulması </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nvGrpSpPr>
            <p:cNvPr id="85" name="POWER_USER_ID_ICONS_Gavel"/>
            <p:cNvGrpSpPr>
              <a:grpSpLocks noChangeAspect="1"/>
            </p:cNvGrpSpPr>
            <p:nvPr>
              <p:custDataLst>
                <p:tags r:id="rId21"/>
              </p:custDataLst>
            </p:nvPr>
          </p:nvGrpSpPr>
          <p:grpSpPr>
            <a:xfrm>
              <a:off x="4083508" y="1731573"/>
              <a:ext cx="403436" cy="326506"/>
              <a:chOff x="-1958181" y="55563"/>
              <a:chExt cx="715963" cy="579438"/>
            </a:xfrm>
            <a:solidFill>
              <a:schemeClr val="tx2"/>
            </a:solidFill>
          </p:grpSpPr>
          <p:sp>
            <p:nvSpPr>
              <p:cNvPr id="86" name="POWER_USER_ID_ICONS_Gavel"/>
              <p:cNvSpPr>
                <a:spLocks noChangeArrowheads="1"/>
              </p:cNvSpPr>
              <p:nvPr>
                <p:custDataLst>
                  <p:tags r:id="rId49"/>
                </p:custDataLst>
              </p:nvPr>
            </p:nvSpPr>
            <p:spPr bwMode="auto">
              <a:xfrm>
                <a:off x="-1532731" y="560388"/>
                <a:ext cx="209550" cy="74613"/>
              </a:xfrm>
              <a:prstGeom prst="rect">
                <a:avLst/>
              </a:prstGeom>
              <a:grpFill/>
              <a:ln w="9525">
                <a:noFill/>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7" name="POWER_USER_ID_ICONS_Gavel"/>
              <p:cNvSpPr>
                <a:spLocks noChangeArrowheads="1"/>
              </p:cNvSpPr>
              <p:nvPr>
                <p:custDataLst>
                  <p:tags r:id="rId50"/>
                </p:custDataLst>
              </p:nvPr>
            </p:nvSpPr>
            <p:spPr bwMode="auto">
              <a:xfrm>
                <a:off x="-1643856" y="604838"/>
                <a:ext cx="401638" cy="30163"/>
              </a:xfrm>
              <a:prstGeom prst="rect">
                <a:avLst/>
              </a:prstGeom>
              <a:grpFill/>
              <a:ln w="9525">
                <a:noFill/>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8" name="POWER_USER_ID_ICONS_Gavel"/>
              <p:cNvSpPr>
                <a:spLocks/>
              </p:cNvSpPr>
              <p:nvPr>
                <p:custDataLst>
                  <p:tags r:id="rId51"/>
                </p:custDataLst>
              </p:nvPr>
            </p:nvSpPr>
            <p:spPr bwMode="auto">
              <a:xfrm>
                <a:off x="-1593056" y="176213"/>
                <a:ext cx="152400" cy="161925"/>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grpFill/>
              <a:ln w="9525">
                <a:noFill/>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00" name="POWER_USER_ID_ICONS_Gavel"/>
              <p:cNvSpPr>
                <a:spLocks/>
              </p:cNvSpPr>
              <p:nvPr>
                <p:custDataLst>
                  <p:tags r:id="rId52"/>
                </p:custDataLst>
              </p:nvPr>
            </p:nvSpPr>
            <p:spPr bwMode="auto">
              <a:xfrm>
                <a:off x="-1575594" y="273050"/>
                <a:ext cx="231775" cy="184150"/>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grpFill/>
              <a:ln w="9525">
                <a:noFill/>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01" name="POWER_USER_ID_ICONS_Gavel"/>
              <p:cNvSpPr>
                <a:spLocks/>
              </p:cNvSpPr>
              <p:nvPr>
                <p:custDataLst>
                  <p:tags r:id="rId53"/>
                </p:custDataLst>
              </p:nvPr>
            </p:nvSpPr>
            <p:spPr bwMode="auto">
              <a:xfrm>
                <a:off x="-1958181" y="268288"/>
                <a:ext cx="396875" cy="231775"/>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grpFill/>
              <a:ln w="9525">
                <a:noFill/>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09" name="POWER_USER_ID_ICONS_Gavel"/>
              <p:cNvSpPr>
                <a:spLocks/>
              </p:cNvSpPr>
              <p:nvPr>
                <p:custDataLst>
                  <p:tags r:id="rId54"/>
                </p:custDataLst>
              </p:nvPr>
            </p:nvSpPr>
            <p:spPr bwMode="auto">
              <a:xfrm>
                <a:off x="-1696244" y="55563"/>
                <a:ext cx="231775" cy="185738"/>
              </a:xfrm>
              <a:custGeom>
                <a:avLst/>
                <a:gdLst>
                  <a:gd name="T0" fmla="*/ 12 w 388"/>
                  <a:gd name="T1" fmla="*/ 213 h 310"/>
                  <a:gd name="T2" fmla="*/ 30 w 388"/>
                  <a:gd name="T3" fmla="*/ 150 h 310"/>
                  <a:gd name="T4" fmla="*/ 277 w 388"/>
                  <a:gd name="T5" fmla="*/ 13 h 310"/>
                  <a:gd name="T6" fmla="*/ 340 w 388"/>
                  <a:gd name="T7" fmla="*/ 31 h 310"/>
                  <a:gd name="T8" fmla="*/ 375 w 388"/>
                  <a:gd name="T9" fmla="*/ 97 h 310"/>
                  <a:gd name="T10" fmla="*/ 357 w 388"/>
                  <a:gd name="T11" fmla="*/ 161 h 310"/>
                  <a:gd name="T12" fmla="*/ 110 w 388"/>
                  <a:gd name="T13" fmla="*/ 298 h 310"/>
                  <a:gd name="T14" fmla="*/ 47 w 388"/>
                  <a:gd name="T15" fmla="*/ 279 h 310"/>
                  <a:gd name="T16" fmla="*/ 12 w 388"/>
                  <a:gd name="T17" fmla="*/ 21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10">
                    <a:moveTo>
                      <a:pt x="12" y="213"/>
                    </a:moveTo>
                    <a:cubicBezTo>
                      <a:pt x="0" y="191"/>
                      <a:pt x="8" y="162"/>
                      <a:pt x="30" y="150"/>
                    </a:cubicBezTo>
                    <a:lnTo>
                      <a:pt x="277" y="13"/>
                    </a:lnTo>
                    <a:cubicBezTo>
                      <a:pt x="300" y="0"/>
                      <a:pt x="328" y="9"/>
                      <a:pt x="340" y="31"/>
                    </a:cubicBezTo>
                    <a:lnTo>
                      <a:pt x="375" y="97"/>
                    </a:lnTo>
                    <a:cubicBezTo>
                      <a:pt x="388" y="120"/>
                      <a:pt x="379" y="148"/>
                      <a:pt x="357" y="161"/>
                    </a:cubicBezTo>
                    <a:lnTo>
                      <a:pt x="110" y="298"/>
                    </a:lnTo>
                    <a:cubicBezTo>
                      <a:pt x="87" y="310"/>
                      <a:pt x="59" y="302"/>
                      <a:pt x="47" y="279"/>
                    </a:cubicBezTo>
                    <a:lnTo>
                      <a:pt x="12" y="213"/>
                    </a:lnTo>
                    <a:close/>
                  </a:path>
                </a:pathLst>
              </a:custGeom>
              <a:grpFill/>
              <a:ln w="9525">
                <a:noFill/>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110" name="POWER_USER_ID_ICONS_Big_Idea"/>
            <p:cNvGrpSpPr>
              <a:grpSpLocks noChangeAspect="1"/>
            </p:cNvGrpSpPr>
            <p:nvPr>
              <p:custDataLst>
                <p:tags r:id="rId22"/>
              </p:custDataLst>
            </p:nvPr>
          </p:nvGrpSpPr>
          <p:grpSpPr bwMode="auto">
            <a:xfrm>
              <a:off x="1903977" y="1684343"/>
              <a:ext cx="353773" cy="372365"/>
              <a:chOff x="3544" y="-299"/>
              <a:chExt cx="4110" cy="4326"/>
            </a:xfrm>
            <a:solidFill>
              <a:schemeClr val="tx2"/>
            </a:solidFill>
          </p:grpSpPr>
          <p:sp>
            <p:nvSpPr>
              <p:cNvPr id="111" name="Freeform 1368"/>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2" name="Freeform 1369"/>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3" name="Freeform 1370"/>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4" name="Freeform 1371"/>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5" name="Freeform 1372"/>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6" name="Freeform 1373"/>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7" name="Freeform 1374"/>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8" name="Freeform 1375"/>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9" name="Freeform 1376"/>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sp>
          <p:nvSpPr>
            <p:cNvPr id="126" name="POWER_USER_ID_ICONS_Crossroads"/>
            <p:cNvSpPr>
              <a:spLocks noChangeAspect="1"/>
            </p:cNvSpPr>
            <p:nvPr>
              <p:custDataLst>
                <p:tags r:id="rId23"/>
              </p:custDataLst>
            </p:nvPr>
          </p:nvSpPr>
          <p:spPr bwMode="auto">
            <a:xfrm>
              <a:off x="6319772" y="1697828"/>
              <a:ext cx="397348" cy="432556"/>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tx2"/>
            </a:solidFill>
            <a:ln>
              <a:noFill/>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nvGrpSpPr>
            <p:cNvPr id="134" name="POWER_USER_ID_ICONS_Cup"/>
            <p:cNvGrpSpPr>
              <a:grpSpLocks noChangeAspect="1"/>
            </p:cNvGrpSpPr>
            <p:nvPr>
              <p:custDataLst>
                <p:tags r:id="rId24"/>
              </p:custDataLst>
            </p:nvPr>
          </p:nvGrpSpPr>
          <p:grpSpPr bwMode="auto">
            <a:xfrm>
              <a:off x="7787205" y="4771529"/>
              <a:ext cx="559408" cy="603779"/>
              <a:chOff x="69" y="56"/>
              <a:chExt cx="353" cy="381"/>
            </a:xfrm>
            <a:solidFill>
              <a:schemeClr val="tx2"/>
            </a:solidFill>
          </p:grpSpPr>
          <p:sp>
            <p:nvSpPr>
              <p:cNvPr id="135" name="POWER_USER_ID_ICONS_Cup"/>
              <p:cNvSpPr>
                <a:spLocks/>
              </p:cNvSpPr>
              <p:nvPr>
                <p:custDataLst>
                  <p:tags r:id="rId44"/>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36" name="POWER_USER_ID_ICONS_Cup"/>
              <p:cNvSpPr>
                <a:spLocks/>
              </p:cNvSpPr>
              <p:nvPr>
                <p:custDataLst>
                  <p:tags r:id="rId45"/>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37" name="POWER_USER_ID_ICONS_Cup"/>
              <p:cNvSpPr>
                <a:spLocks/>
              </p:cNvSpPr>
              <p:nvPr>
                <p:custDataLst>
                  <p:tags r:id="rId46"/>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38" name="POWER_USER_ID_ICONS_Cup"/>
              <p:cNvSpPr>
                <a:spLocks/>
              </p:cNvSpPr>
              <p:nvPr>
                <p:custDataLst>
                  <p:tags r:id="rId47"/>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39" name="POWER_USER_ID_ICONS_Cup"/>
              <p:cNvSpPr>
                <a:spLocks/>
              </p:cNvSpPr>
              <p:nvPr>
                <p:custDataLst>
                  <p:tags r:id="rId48"/>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140" name="POWER_USER_ID_ICONS_Flag5"/>
            <p:cNvGrpSpPr>
              <a:grpSpLocks noChangeAspect="1"/>
            </p:cNvGrpSpPr>
            <p:nvPr>
              <p:custDataLst>
                <p:tags r:id="rId25"/>
              </p:custDataLst>
            </p:nvPr>
          </p:nvGrpSpPr>
          <p:grpSpPr bwMode="auto">
            <a:xfrm>
              <a:off x="726606" y="1935356"/>
              <a:ext cx="362108" cy="466410"/>
              <a:chOff x="8" y="5"/>
              <a:chExt cx="368" cy="474"/>
            </a:xfrm>
            <a:solidFill>
              <a:schemeClr val="tx2"/>
            </a:solidFill>
          </p:grpSpPr>
          <p:sp>
            <p:nvSpPr>
              <p:cNvPr id="141" name="POWER_USER_ID_ICONS_Flag5"/>
              <p:cNvSpPr>
                <a:spLocks/>
              </p:cNvSpPr>
              <p:nvPr>
                <p:custDataLst>
                  <p:tags r:id="rId30"/>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2" name="POWER_USER_ID_ICONS_Flag5"/>
              <p:cNvSpPr>
                <a:spLocks noChangeArrowheads="1"/>
              </p:cNvSpPr>
              <p:nvPr>
                <p:custDataLst>
                  <p:tags r:id="rId31"/>
                </p:custDataLst>
              </p:nvPr>
            </p:nvSpPr>
            <p:spPr bwMode="auto">
              <a:xfrm>
                <a:off x="34" y="26"/>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3" name="POWER_USER_ID_ICONS_Flag5"/>
              <p:cNvSpPr>
                <a:spLocks noChangeArrowheads="1"/>
              </p:cNvSpPr>
              <p:nvPr>
                <p:custDataLst>
                  <p:tags r:id="rId32"/>
                </p:custDataLst>
              </p:nvPr>
            </p:nvSpPr>
            <p:spPr bwMode="auto">
              <a:xfrm>
                <a:off x="88" y="81"/>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4" name="POWER_USER_ID_ICONS_Flag5"/>
              <p:cNvSpPr>
                <a:spLocks noChangeArrowheads="1"/>
              </p:cNvSpPr>
              <p:nvPr>
                <p:custDataLst>
                  <p:tags r:id="rId33"/>
                </p:custDataLst>
              </p:nvPr>
            </p:nvSpPr>
            <p:spPr bwMode="auto">
              <a:xfrm>
                <a:off x="34" y="136"/>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5" name="POWER_USER_ID_ICONS_Flag5"/>
              <p:cNvSpPr>
                <a:spLocks noChangeArrowheads="1"/>
              </p:cNvSpPr>
              <p:nvPr>
                <p:custDataLst>
                  <p:tags r:id="rId34"/>
                </p:custDataLst>
              </p:nvPr>
            </p:nvSpPr>
            <p:spPr bwMode="auto">
              <a:xfrm>
                <a:off x="88" y="191"/>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6" name="POWER_USER_ID_ICONS_Flag5"/>
              <p:cNvSpPr>
                <a:spLocks noChangeArrowheads="1"/>
              </p:cNvSpPr>
              <p:nvPr>
                <p:custDataLst>
                  <p:tags r:id="rId35"/>
                </p:custDataLst>
              </p:nvPr>
            </p:nvSpPr>
            <p:spPr bwMode="auto">
              <a:xfrm>
                <a:off x="144" y="26"/>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7" name="POWER_USER_ID_ICONS_Flag5"/>
              <p:cNvSpPr>
                <a:spLocks noChangeArrowheads="1"/>
              </p:cNvSpPr>
              <p:nvPr>
                <p:custDataLst>
                  <p:tags r:id="rId36"/>
                </p:custDataLst>
              </p:nvPr>
            </p:nvSpPr>
            <p:spPr bwMode="auto">
              <a:xfrm>
                <a:off x="198" y="81"/>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8" name="POWER_USER_ID_ICONS_Flag5"/>
              <p:cNvSpPr>
                <a:spLocks noChangeArrowheads="1"/>
              </p:cNvSpPr>
              <p:nvPr>
                <p:custDataLst>
                  <p:tags r:id="rId37"/>
                </p:custDataLst>
              </p:nvPr>
            </p:nvSpPr>
            <p:spPr bwMode="auto">
              <a:xfrm>
                <a:off x="144" y="136"/>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49" name="POWER_USER_ID_ICONS_Flag5"/>
              <p:cNvSpPr>
                <a:spLocks noChangeArrowheads="1"/>
              </p:cNvSpPr>
              <p:nvPr>
                <p:custDataLst>
                  <p:tags r:id="rId38"/>
                </p:custDataLst>
              </p:nvPr>
            </p:nvSpPr>
            <p:spPr bwMode="auto">
              <a:xfrm>
                <a:off x="198" y="191"/>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50" name="POWER_USER_ID_ICONS_Flag5"/>
              <p:cNvSpPr>
                <a:spLocks noChangeArrowheads="1"/>
              </p:cNvSpPr>
              <p:nvPr>
                <p:custDataLst>
                  <p:tags r:id="rId39"/>
                </p:custDataLst>
              </p:nvPr>
            </p:nvSpPr>
            <p:spPr bwMode="auto">
              <a:xfrm>
                <a:off x="253" y="26"/>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51" name="POWER_USER_ID_ICONS_Flag5"/>
              <p:cNvSpPr>
                <a:spLocks noChangeArrowheads="1"/>
              </p:cNvSpPr>
              <p:nvPr>
                <p:custDataLst>
                  <p:tags r:id="rId40"/>
                </p:custDataLst>
              </p:nvPr>
            </p:nvSpPr>
            <p:spPr bwMode="auto">
              <a:xfrm>
                <a:off x="309" y="81"/>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52" name="POWER_USER_ID_ICONS_Flag5"/>
              <p:cNvSpPr>
                <a:spLocks noChangeArrowheads="1"/>
              </p:cNvSpPr>
              <p:nvPr>
                <p:custDataLst>
                  <p:tags r:id="rId41"/>
                </p:custDataLst>
              </p:nvPr>
            </p:nvSpPr>
            <p:spPr bwMode="auto">
              <a:xfrm>
                <a:off x="253" y="136"/>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53" name="POWER_USER_ID_ICONS_Flag5"/>
              <p:cNvSpPr>
                <a:spLocks noChangeArrowheads="1"/>
              </p:cNvSpPr>
              <p:nvPr>
                <p:custDataLst>
                  <p:tags r:id="rId42"/>
                </p:custDataLst>
              </p:nvPr>
            </p:nvSpPr>
            <p:spPr bwMode="auto">
              <a:xfrm>
                <a:off x="309" y="191"/>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54" name="POWER_USER_ID_ICONS_Flag5"/>
              <p:cNvSpPr>
                <a:spLocks noEditPoints="1"/>
              </p:cNvSpPr>
              <p:nvPr>
                <p:custDataLst>
                  <p:tags r:id="rId43"/>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155" name="Group 154"/>
            <p:cNvGrpSpPr>
              <a:grpSpLocks noChangeAspect="1"/>
            </p:cNvGrpSpPr>
            <p:nvPr/>
          </p:nvGrpSpPr>
          <p:grpSpPr>
            <a:xfrm rot="10800000">
              <a:off x="777435" y="3753770"/>
              <a:ext cx="1470074" cy="1483078"/>
              <a:chOff x="9268877" y="1596791"/>
              <a:chExt cx="1005840" cy="1014737"/>
            </a:xfrm>
          </p:grpSpPr>
          <p:sp>
            <p:nvSpPr>
              <p:cNvPr id="156"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57" name="Arc 156"/>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grpSp>
        <p:sp>
          <p:nvSpPr>
            <p:cNvPr id="158" name="Oval 157"/>
            <p:cNvSpPr>
              <a:spLocks noChangeAspect="1"/>
            </p:cNvSpPr>
            <p:nvPr/>
          </p:nvSpPr>
          <p:spPr>
            <a:xfrm>
              <a:off x="1986872"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59" name="Oval 158"/>
            <p:cNvSpPr>
              <a:spLocks noChangeAspect="1"/>
            </p:cNvSpPr>
            <p:nvPr/>
          </p:nvSpPr>
          <p:spPr>
            <a:xfrm>
              <a:off x="4203139"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60" name="Oval 159"/>
            <p:cNvSpPr>
              <a:spLocks noChangeAspect="1"/>
            </p:cNvSpPr>
            <p:nvPr/>
          </p:nvSpPr>
          <p:spPr>
            <a:xfrm>
              <a:off x="6419407"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61" name="TextBox 160"/>
            <p:cNvSpPr txBox="1"/>
            <p:nvPr/>
          </p:nvSpPr>
          <p:spPr>
            <a:xfrm>
              <a:off x="6198400" y="3806958"/>
              <a:ext cx="660022" cy="336736"/>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en-US" sz="2007" b="1" i="0" u="none" strike="noStrike" kern="0" cap="none" spc="0" normalizeH="0" baseline="0" noProof="0" dirty="0" err="1">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Kurul</a:t>
              </a:r>
              <a:r>
                <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 </a:t>
              </a:r>
            </a:p>
          </p:txBody>
        </p:sp>
        <p:sp>
          <p:nvSpPr>
            <p:cNvPr id="162" name="TextBox 161"/>
            <p:cNvSpPr txBox="1"/>
            <p:nvPr/>
          </p:nvSpPr>
          <p:spPr>
            <a:xfrm>
              <a:off x="1097289" y="3865530"/>
              <a:ext cx="2171569" cy="593801"/>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İşletmelerin Taahhütname</a:t>
              </a:r>
            </a:p>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Vermesi</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63" name="TextBox 162"/>
            <p:cNvSpPr txBox="1"/>
            <p:nvPr/>
          </p:nvSpPr>
          <p:spPr>
            <a:xfrm>
              <a:off x="5601157" y="4149000"/>
              <a:ext cx="2056315" cy="284156"/>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K</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abul</a:t>
              </a:r>
              <a:r>
                <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ret,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revizyon</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65" name="TextBox 164"/>
            <p:cNvSpPr txBox="1"/>
            <p:nvPr/>
          </p:nvSpPr>
          <p:spPr>
            <a:xfrm>
              <a:off x="1300396" y="5370649"/>
              <a:ext cx="1528582" cy="593801"/>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Programın </a:t>
              </a:r>
            </a:p>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Gerçekleştirilmesi</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67" name="Oval 166"/>
            <p:cNvSpPr>
              <a:spLocks noChangeAspect="1"/>
            </p:cNvSpPr>
            <p:nvPr/>
          </p:nvSpPr>
          <p:spPr>
            <a:xfrm>
              <a:off x="1986872"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68" name="Oval 167"/>
            <p:cNvSpPr>
              <a:spLocks noChangeAspect="1"/>
            </p:cNvSpPr>
            <p:nvPr/>
          </p:nvSpPr>
          <p:spPr>
            <a:xfrm>
              <a:off x="4203139"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69" name="Oval 168"/>
            <p:cNvSpPr>
              <a:spLocks noChangeAspect="1"/>
            </p:cNvSpPr>
            <p:nvPr/>
          </p:nvSpPr>
          <p:spPr>
            <a:xfrm>
              <a:off x="6419407"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70" name="TextBox 169"/>
            <p:cNvSpPr txBox="1"/>
            <p:nvPr/>
          </p:nvSpPr>
          <p:spPr>
            <a:xfrm>
              <a:off x="3157110" y="5335788"/>
              <a:ext cx="2148005" cy="335508"/>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Sonuç Raporunun Teslimi</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71" name="TextBox 170"/>
            <p:cNvSpPr txBox="1"/>
            <p:nvPr/>
          </p:nvSpPr>
          <p:spPr>
            <a:xfrm>
              <a:off x="3184990" y="3868089"/>
              <a:ext cx="2271441" cy="593801"/>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İşletmelerin Program </a:t>
              </a:r>
            </a:p>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Başvurusu ve Uzman Onayı</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74" name="TextBox 173"/>
            <p:cNvSpPr txBox="1"/>
            <p:nvPr/>
          </p:nvSpPr>
          <p:spPr>
            <a:xfrm>
              <a:off x="5769889" y="5345192"/>
              <a:ext cx="1572346" cy="335508"/>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Projenin İzlenmesi</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75" name="TextBox 174"/>
            <p:cNvSpPr txBox="1"/>
            <p:nvPr/>
          </p:nvSpPr>
          <p:spPr>
            <a:xfrm>
              <a:off x="5296300" y="5660088"/>
              <a:ext cx="2604654" cy="284156"/>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Bir yıl sonra 1 defa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izle</a:t>
              </a: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me</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76" name="POWER_USER_ID_ICONS_Board"/>
            <p:cNvSpPr>
              <a:spLocks noChangeAspect="1" noEditPoints="1"/>
            </p:cNvSpPr>
            <p:nvPr>
              <p:custDataLst>
                <p:tags r:id="rId26"/>
              </p:custDataLst>
            </p:nvPr>
          </p:nvSpPr>
          <p:spPr bwMode="auto">
            <a:xfrm>
              <a:off x="1926114" y="3147118"/>
              <a:ext cx="309499" cy="393233"/>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tx2"/>
            </a:solidFill>
            <a:ln>
              <a:noFill/>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nvGrpSpPr>
            <p:cNvPr id="184" name="POWER_USER_ID_ICONS_Government"/>
            <p:cNvGrpSpPr>
              <a:grpSpLocks noChangeAspect="1"/>
            </p:cNvGrpSpPr>
            <p:nvPr>
              <p:custDataLst>
                <p:tags r:id="rId27"/>
              </p:custDataLst>
            </p:nvPr>
          </p:nvGrpSpPr>
          <p:grpSpPr bwMode="auto">
            <a:xfrm>
              <a:off x="4083186" y="3066244"/>
              <a:ext cx="439341" cy="450056"/>
              <a:chOff x="58" y="-1221"/>
              <a:chExt cx="369" cy="378"/>
            </a:xfrm>
            <a:solidFill>
              <a:schemeClr val="tx2"/>
            </a:solidFill>
          </p:grpSpPr>
          <p:sp>
            <p:nvSpPr>
              <p:cNvPr id="185" name="POWER_USER_ID_ICONS_Government"/>
              <p:cNvSpPr>
                <a:spLocks noEditPoints="1"/>
              </p:cNvSpPr>
              <p:nvPr>
                <p:custDataLst>
                  <p:tags r:id="rId28"/>
                </p:custDataLst>
              </p:nvPr>
            </p:nvSpPr>
            <p:spPr bwMode="auto">
              <a:xfrm>
                <a:off x="58" y="-1150"/>
                <a:ext cx="369" cy="307"/>
              </a:xfrm>
              <a:custGeom>
                <a:avLst/>
                <a:gdLst>
                  <a:gd name="T0" fmla="*/ 207 w 218"/>
                  <a:gd name="T1" fmla="*/ 117 h 161"/>
                  <a:gd name="T2" fmla="*/ 189 w 218"/>
                  <a:gd name="T3" fmla="*/ 117 h 161"/>
                  <a:gd name="T4" fmla="*/ 189 w 218"/>
                  <a:gd name="T5" fmla="*/ 22 h 161"/>
                  <a:gd name="T6" fmla="*/ 207 w 218"/>
                  <a:gd name="T7" fmla="*/ 22 h 161"/>
                  <a:gd name="T8" fmla="*/ 207 w 218"/>
                  <a:gd name="T9" fmla="*/ 0 h 161"/>
                  <a:gd name="T10" fmla="*/ 13 w 218"/>
                  <a:gd name="T11" fmla="*/ 0 h 161"/>
                  <a:gd name="T12" fmla="*/ 13 w 218"/>
                  <a:gd name="T13" fmla="*/ 22 h 161"/>
                  <a:gd name="T14" fmla="*/ 27 w 218"/>
                  <a:gd name="T15" fmla="*/ 22 h 161"/>
                  <a:gd name="T16" fmla="*/ 27 w 218"/>
                  <a:gd name="T17" fmla="*/ 117 h 161"/>
                  <a:gd name="T18" fmla="*/ 13 w 218"/>
                  <a:gd name="T19" fmla="*/ 117 h 161"/>
                  <a:gd name="T20" fmla="*/ 13 w 218"/>
                  <a:gd name="T21" fmla="*/ 139 h 161"/>
                  <a:gd name="T22" fmla="*/ 0 w 218"/>
                  <a:gd name="T23" fmla="*/ 139 h 161"/>
                  <a:gd name="T24" fmla="*/ 0 w 218"/>
                  <a:gd name="T25" fmla="*/ 161 h 161"/>
                  <a:gd name="T26" fmla="*/ 218 w 218"/>
                  <a:gd name="T27" fmla="*/ 161 h 161"/>
                  <a:gd name="T28" fmla="*/ 218 w 218"/>
                  <a:gd name="T29" fmla="*/ 139 h 161"/>
                  <a:gd name="T30" fmla="*/ 207 w 218"/>
                  <a:gd name="T31" fmla="*/ 139 h 161"/>
                  <a:gd name="T32" fmla="*/ 207 w 218"/>
                  <a:gd name="T33" fmla="*/ 117 h 161"/>
                  <a:gd name="T34" fmla="*/ 97 w 218"/>
                  <a:gd name="T35" fmla="*/ 117 h 161"/>
                  <a:gd name="T36" fmla="*/ 97 w 218"/>
                  <a:gd name="T37" fmla="*/ 22 h 161"/>
                  <a:gd name="T38" fmla="*/ 120 w 218"/>
                  <a:gd name="T39" fmla="*/ 22 h 161"/>
                  <a:gd name="T40" fmla="*/ 120 w 218"/>
                  <a:gd name="T41" fmla="*/ 117 h 161"/>
                  <a:gd name="T42" fmla="*/ 97 w 218"/>
                  <a:gd name="T43" fmla="*/ 117 h 161"/>
                  <a:gd name="T44" fmla="*/ 167 w 218"/>
                  <a:gd name="T45" fmla="*/ 117 h 161"/>
                  <a:gd name="T46" fmla="*/ 143 w 218"/>
                  <a:gd name="T47" fmla="*/ 117 h 161"/>
                  <a:gd name="T48" fmla="*/ 143 w 218"/>
                  <a:gd name="T49" fmla="*/ 22 h 161"/>
                  <a:gd name="T50" fmla="*/ 167 w 218"/>
                  <a:gd name="T51" fmla="*/ 22 h 161"/>
                  <a:gd name="T52" fmla="*/ 167 w 218"/>
                  <a:gd name="T53" fmla="*/ 117 h 161"/>
                  <a:gd name="T54" fmla="*/ 49 w 218"/>
                  <a:gd name="T55" fmla="*/ 22 h 161"/>
                  <a:gd name="T56" fmla="*/ 73 w 218"/>
                  <a:gd name="T57" fmla="*/ 22 h 161"/>
                  <a:gd name="T58" fmla="*/ 73 w 218"/>
                  <a:gd name="T59" fmla="*/ 117 h 161"/>
                  <a:gd name="T60" fmla="*/ 49 w 218"/>
                  <a:gd name="T61" fmla="*/ 117 h 161"/>
                  <a:gd name="T62" fmla="*/ 49 w 218"/>
                  <a:gd name="T63" fmla="*/ 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8" h="161">
                    <a:moveTo>
                      <a:pt x="207" y="117"/>
                    </a:moveTo>
                    <a:lnTo>
                      <a:pt x="189" y="117"/>
                    </a:lnTo>
                    <a:lnTo>
                      <a:pt x="189" y="22"/>
                    </a:lnTo>
                    <a:lnTo>
                      <a:pt x="207" y="22"/>
                    </a:lnTo>
                    <a:lnTo>
                      <a:pt x="207" y="0"/>
                    </a:lnTo>
                    <a:lnTo>
                      <a:pt x="13" y="0"/>
                    </a:lnTo>
                    <a:lnTo>
                      <a:pt x="13" y="22"/>
                    </a:lnTo>
                    <a:lnTo>
                      <a:pt x="27" y="22"/>
                    </a:lnTo>
                    <a:lnTo>
                      <a:pt x="27" y="117"/>
                    </a:lnTo>
                    <a:lnTo>
                      <a:pt x="13" y="117"/>
                    </a:lnTo>
                    <a:lnTo>
                      <a:pt x="13" y="139"/>
                    </a:lnTo>
                    <a:lnTo>
                      <a:pt x="0" y="139"/>
                    </a:lnTo>
                    <a:lnTo>
                      <a:pt x="0" y="161"/>
                    </a:lnTo>
                    <a:lnTo>
                      <a:pt x="218" y="161"/>
                    </a:lnTo>
                    <a:lnTo>
                      <a:pt x="218" y="139"/>
                    </a:lnTo>
                    <a:lnTo>
                      <a:pt x="207" y="139"/>
                    </a:lnTo>
                    <a:lnTo>
                      <a:pt x="207" y="117"/>
                    </a:lnTo>
                    <a:close/>
                    <a:moveTo>
                      <a:pt x="97" y="117"/>
                    </a:moveTo>
                    <a:lnTo>
                      <a:pt x="97" y="22"/>
                    </a:lnTo>
                    <a:lnTo>
                      <a:pt x="120" y="22"/>
                    </a:lnTo>
                    <a:lnTo>
                      <a:pt x="120" y="117"/>
                    </a:lnTo>
                    <a:lnTo>
                      <a:pt x="97" y="117"/>
                    </a:lnTo>
                    <a:close/>
                    <a:moveTo>
                      <a:pt x="167" y="117"/>
                    </a:moveTo>
                    <a:lnTo>
                      <a:pt x="143" y="117"/>
                    </a:lnTo>
                    <a:lnTo>
                      <a:pt x="143" y="22"/>
                    </a:lnTo>
                    <a:lnTo>
                      <a:pt x="167" y="22"/>
                    </a:lnTo>
                    <a:lnTo>
                      <a:pt x="167" y="117"/>
                    </a:lnTo>
                    <a:close/>
                    <a:moveTo>
                      <a:pt x="49" y="22"/>
                    </a:moveTo>
                    <a:lnTo>
                      <a:pt x="73" y="22"/>
                    </a:lnTo>
                    <a:lnTo>
                      <a:pt x="73" y="117"/>
                    </a:lnTo>
                    <a:lnTo>
                      <a:pt x="49" y="117"/>
                    </a:lnTo>
                    <a:lnTo>
                      <a:pt x="49" y="22"/>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86" name="POWER_USER_ID_ICONS_Government"/>
              <p:cNvSpPr>
                <a:spLocks/>
              </p:cNvSpPr>
              <p:nvPr>
                <p:custDataLst>
                  <p:tags r:id="rId29"/>
                </p:custDataLst>
              </p:nvPr>
            </p:nvSpPr>
            <p:spPr bwMode="auto">
              <a:xfrm>
                <a:off x="58" y="-1221"/>
                <a:ext cx="369" cy="94"/>
              </a:xfrm>
              <a:custGeom>
                <a:avLst/>
                <a:gdLst>
                  <a:gd name="T0" fmla="*/ 218 w 218"/>
                  <a:gd name="T1" fmla="*/ 27 h 50"/>
                  <a:gd name="T2" fmla="*/ 218 w 218"/>
                  <a:gd name="T3" fmla="*/ 27 h 50"/>
                  <a:gd name="T4" fmla="*/ 218 w 218"/>
                  <a:gd name="T5" fmla="*/ 27 h 50"/>
                  <a:gd name="T6" fmla="*/ 218 w 218"/>
                  <a:gd name="T7" fmla="*/ 27 h 50"/>
                  <a:gd name="T8" fmla="*/ 109 w 218"/>
                  <a:gd name="T9" fmla="*/ 0 h 50"/>
                  <a:gd name="T10" fmla="*/ 0 w 218"/>
                  <a:gd name="T11" fmla="*/ 27 h 50"/>
                  <a:gd name="T12" fmla="*/ 0 w 218"/>
                  <a:gd name="T13" fmla="*/ 27 h 50"/>
                  <a:gd name="T14" fmla="*/ 0 w 218"/>
                  <a:gd name="T15" fmla="*/ 27 h 50"/>
                  <a:gd name="T16" fmla="*/ 0 w 218"/>
                  <a:gd name="T17" fmla="*/ 27 h 50"/>
                  <a:gd name="T18" fmla="*/ 0 w 218"/>
                  <a:gd name="T19" fmla="*/ 27 h 50"/>
                  <a:gd name="T20" fmla="*/ 0 w 218"/>
                  <a:gd name="T21" fmla="*/ 50 h 50"/>
                  <a:gd name="T22" fmla="*/ 218 w 218"/>
                  <a:gd name="T23" fmla="*/ 50 h 50"/>
                  <a:gd name="T24" fmla="*/ 218 w 218"/>
                  <a:gd name="T25"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50">
                    <a:moveTo>
                      <a:pt x="218" y="27"/>
                    </a:moveTo>
                    <a:lnTo>
                      <a:pt x="218" y="27"/>
                    </a:lnTo>
                    <a:lnTo>
                      <a:pt x="218" y="27"/>
                    </a:lnTo>
                    <a:lnTo>
                      <a:pt x="218" y="27"/>
                    </a:lnTo>
                    <a:lnTo>
                      <a:pt x="109" y="0"/>
                    </a:lnTo>
                    <a:lnTo>
                      <a:pt x="0" y="27"/>
                    </a:lnTo>
                    <a:lnTo>
                      <a:pt x="0" y="27"/>
                    </a:lnTo>
                    <a:lnTo>
                      <a:pt x="0" y="27"/>
                    </a:lnTo>
                    <a:lnTo>
                      <a:pt x="0" y="27"/>
                    </a:lnTo>
                    <a:lnTo>
                      <a:pt x="0" y="27"/>
                    </a:lnTo>
                    <a:lnTo>
                      <a:pt x="0" y="50"/>
                    </a:lnTo>
                    <a:lnTo>
                      <a:pt x="218" y="50"/>
                    </a:lnTo>
                    <a:lnTo>
                      <a:pt x="218" y="27"/>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grpSp>
        <p:nvGrpSpPr>
          <p:cNvPr id="131" name="Rocket2"/>
          <p:cNvGrpSpPr>
            <a:grpSpLocks noChangeAspect="1"/>
          </p:cNvGrpSpPr>
          <p:nvPr>
            <p:custDataLst>
              <p:tags r:id="rId2"/>
            </p:custDataLst>
          </p:nvPr>
        </p:nvGrpSpPr>
        <p:grpSpPr bwMode="auto">
          <a:xfrm>
            <a:off x="2319463" y="5016710"/>
            <a:ext cx="549875" cy="544912"/>
            <a:chOff x="2506" y="943"/>
            <a:chExt cx="2548" cy="2525"/>
          </a:xfrm>
          <a:solidFill>
            <a:srgbClr val="1F497D"/>
          </a:solidFill>
        </p:grpSpPr>
        <p:sp>
          <p:nvSpPr>
            <p:cNvPr id="132" name="Freeform 619"/>
            <p:cNvSpPr>
              <a:spLocks/>
            </p:cNvSpPr>
            <p:nvPr/>
          </p:nvSpPr>
          <p:spPr bwMode="auto">
            <a:xfrm>
              <a:off x="2510" y="2410"/>
              <a:ext cx="1044" cy="1046"/>
            </a:xfrm>
            <a:custGeom>
              <a:avLst/>
              <a:gdLst>
                <a:gd name="T0" fmla="*/ 263 w 263"/>
                <a:gd name="T1" fmla="*/ 94 h 263"/>
                <a:gd name="T2" fmla="*/ 253 w 263"/>
                <a:gd name="T3" fmla="*/ 94 h 263"/>
                <a:gd name="T4" fmla="*/ 234 w 263"/>
                <a:gd name="T5" fmla="*/ 94 h 263"/>
                <a:gd name="T6" fmla="*/ 151 w 263"/>
                <a:gd name="T7" fmla="*/ 159 h 263"/>
                <a:gd name="T8" fmla="*/ 118 w 263"/>
                <a:gd name="T9" fmla="*/ 178 h 263"/>
                <a:gd name="T10" fmla="*/ 95 w 263"/>
                <a:gd name="T11" fmla="*/ 167 h 263"/>
                <a:gd name="T12" fmla="*/ 85 w 263"/>
                <a:gd name="T13" fmla="*/ 144 h 263"/>
                <a:gd name="T14" fmla="*/ 104 w 263"/>
                <a:gd name="T15" fmla="*/ 112 h 263"/>
                <a:gd name="T16" fmla="*/ 106 w 263"/>
                <a:gd name="T17" fmla="*/ 109 h 263"/>
                <a:gd name="T18" fmla="*/ 169 w 263"/>
                <a:gd name="T19" fmla="*/ 29 h 263"/>
                <a:gd name="T20" fmla="*/ 168 w 263"/>
                <a:gd name="T21" fmla="*/ 0 h 263"/>
                <a:gd name="T22" fmla="*/ 146 w 263"/>
                <a:gd name="T23" fmla="*/ 20 h 263"/>
                <a:gd name="T24" fmla="*/ 11 w 263"/>
                <a:gd name="T25" fmla="*/ 252 h 263"/>
                <a:gd name="T26" fmla="*/ 243 w 263"/>
                <a:gd name="T27" fmla="*/ 117 h 263"/>
                <a:gd name="T28" fmla="*/ 263 w 263"/>
                <a:gd name="T29" fmla="*/ 9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263">
                  <a:moveTo>
                    <a:pt x="263" y="94"/>
                  </a:moveTo>
                  <a:cubicBezTo>
                    <a:pt x="259" y="94"/>
                    <a:pt x="256" y="94"/>
                    <a:pt x="253" y="94"/>
                  </a:cubicBezTo>
                  <a:cubicBezTo>
                    <a:pt x="246" y="94"/>
                    <a:pt x="240" y="94"/>
                    <a:pt x="234" y="94"/>
                  </a:cubicBezTo>
                  <a:lnTo>
                    <a:pt x="151" y="159"/>
                  </a:lnTo>
                  <a:cubicBezTo>
                    <a:pt x="142" y="168"/>
                    <a:pt x="132" y="178"/>
                    <a:pt x="118" y="178"/>
                  </a:cubicBezTo>
                  <a:cubicBezTo>
                    <a:pt x="110" y="178"/>
                    <a:pt x="102" y="174"/>
                    <a:pt x="95" y="167"/>
                  </a:cubicBezTo>
                  <a:cubicBezTo>
                    <a:pt x="88" y="160"/>
                    <a:pt x="85" y="153"/>
                    <a:pt x="85" y="144"/>
                  </a:cubicBezTo>
                  <a:cubicBezTo>
                    <a:pt x="85" y="130"/>
                    <a:pt x="95" y="121"/>
                    <a:pt x="104" y="112"/>
                  </a:cubicBezTo>
                  <a:lnTo>
                    <a:pt x="106" y="109"/>
                  </a:lnTo>
                  <a:lnTo>
                    <a:pt x="169" y="29"/>
                  </a:lnTo>
                  <a:cubicBezTo>
                    <a:pt x="168" y="20"/>
                    <a:pt x="168" y="11"/>
                    <a:pt x="168" y="0"/>
                  </a:cubicBezTo>
                  <a:cubicBezTo>
                    <a:pt x="161" y="6"/>
                    <a:pt x="154" y="12"/>
                    <a:pt x="146" y="20"/>
                  </a:cubicBezTo>
                  <a:cubicBezTo>
                    <a:pt x="62" y="104"/>
                    <a:pt x="0" y="242"/>
                    <a:pt x="11" y="252"/>
                  </a:cubicBezTo>
                  <a:cubicBezTo>
                    <a:pt x="21" y="263"/>
                    <a:pt x="158" y="201"/>
                    <a:pt x="243" y="117"/>
                  </a:cubicBezTo>
                  <a:cubicBezTo>
                    <a:pt x="251" y="109"/>
                    <a:pt x="257" y="102"/>
                    <a:pt x="263" y="94"/>
                  </a:cubicBezTo>
                  <a:close/>
                </a:path>
              </a:pathLst>
            </a:cu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33" name="Freeform 620"/>
            <p:cNvSpPr>
              <a:spLocks/>
            </p:cNvSpPr>
            <p:nvPr/>
          </p:nvSpPr>
          <p:spPr bwMode="auto">
            <a:xfrm>
              <a:off x="2994" y="2040"/>
              <a:ext cx="941" cy="931"/>
            </a:xfrm>
            <a:custGeom>
              <a:avLst/>
              <a:gdLst>
                <a:gd name="T0" fmla="*/ 0 w 237"/>
                <a:gd name="T1" fmla="*/ 234 h 234"/>
                <a:gd name="T2" fmla="*/ 5 w 237"/>
                <a:gd name="T3" fmla="*/ 228 h 234"/>
                <a:gd name="T4" fmla="*/ 10 w 237"/>
                <a:gd name="T5" fmla="*/ 224 h 234"/>
                <a:gd name="T6" fmla="*/ 221 w 237"/>
                <a:gd name="T7" fmla="*/ 60 h 234"/>
                <a:gd name="T8" fmla="*/ 232 w 237"/>
                <a:gd name="T9" fmla="*/ 1 h 234"/>
                <a:gd name="T10" fmla="*/ 223 w 237"/>
                <a:gd name="T11" fmla="*/ 0 h 234"/>
                <a:gd name="T12" fmla="*/ 174 w 237"/>
                <a:gd name="T13" fmla="*/ 13 h 234"/>
                <a:gd name="T14" fmla="*/ 5 w 237"/>
                <a:gd name="T15" fmla="*/ 228 h 234"/>
                <a:gd name="T16" fmla="*/ 0 w 237"/>
                <a:gd name="T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34">
                  <a:moveTo>
                    <a:pt x="0" y="234"/>
                  </a:moveTo>
                  <a:cubicBezTo>
                    <a:pt x="2" y="232"/>
                    <a:pt x="4" y="230"/>
                    <a:pt x="5" y="228"/>
                  </a:cubicBezTo>
                  <a:lnTo>
                    <a:pt x="10" y="224"/>
                  </a:lnTo>
                  <a:lnTo>
                    <a:pt x="221" y="60"/>
                  </a:lnTo>
                  <a:cubicBezTo>
                    <a:pt x="228" y="51"/>
                    <a:pt x="237" y="13"/>
                    <a:pt x="232" y="1"/>
                  </a:cubicBezTo>
                  <a:cubicBezTo>
                    <a:pt x="231" y="1"/>
                    <a:pt x="228" y="0"/>
                    <a:pt x="223" y="0"/>
                  </a:cubicBezTo>
                  <a:cubicBezTo>
                    <a:pt x="203" y="0"/>
                    <a:pt x="180" y="8"/>
                    <a:pt x="174" y="13"/>
                  </a:cubicBezTo>
                  <a:lnTo>
                    <a:pt x="5" y="228"/>
                  </a:lnTo>
                  <a:cubicBezTo>
                    <a:pt x="4" y="230"/>
                    <a:pt x="2" y="232"/>
                    <a:pt x="0" y="234"/>
                  </a:cubicBezTo>
                  <a:close/>
                </a:path>
              </a:pathLst>
            </a:cu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83" name="Freeform 621"/>
            <p:cNvSpPr>
              <a:spLocks/>
            </p:cNvSpPr>
            <p:nvPr/>
          </p:nvSpPr>
          <p:spPr bwMode="auto">
            <a:xfrm>
              <a:off x="3359" y="2514"/>
              <a:ext cx="1100" cy="954"/>
            </a:xfrm>
            <a:custGeom>
              <a:avLst/>
              <a:gdLst>
                <a:gd name="T0" fmla="*/ 73 w 277"/>
                <a:gd name="T1" fmla="*/ 67 h 240"/>
                <a:gd name="T2" fmla="*/ 11 w 277"/>
                <a:gd name="T3" fmla="*/ 205 h 240"/>
                <a:gd name="T4" fmla="*/ 55 w 277"/>
                <a:gd name="T5" fmla="*/ 221 h 240"/>
                <a:gd name="T6" fmla="*/ 190 w 277"/>
                <a:gd name="T7" fmla="*/ 147 h 240"/>
                <a:gd name="T8" fmla="*/ 276 w 277"/>
                <a:gd name="T9" fmla="*/ 13 h 240"/>
                <a:gd name="T10" fmla="*/ 275 w 277"/>
                <a:gd name="T11" fmla="*/ 0 h 240"/>
                <a:gd name="T12" fmla="*/ 73 w 277"/>
                <a:gd name="T13" fmla="*/ 67 h 240"/>
              </a:gdLst>
              <a:ahLst/>
              <a:cxnLst>
                <a:cxn ang="0">
                  <a:pos x="T0" y="T1"/>
                </a:cxn>
                <a:cxn ang="0">
                  <a:pos x="T2" y="T3"/>
                </a:cxn>
                <a:cxn ang="0">
                  <a:pos x="T4" y="T5"/>
                </a:cxn>
                <a:cxn ang="0">
                  <a:pos x="T6" y="T7"/>
                </a:cxn>
                <a:cxn ang="0">
                  <a:pos x="T8" y="T9"/>
                </a:cxn>
                <a:cxn ang="0">
                  <a:pos x="T10" y="T11"/>
                </a:cxn>
                <a:cxn ang="0">
                  <a:pos x="T12" y="T13"/>
                </a:cxn>
              </a:cxnLst>
              <a:rect l="0" t="0" r="r" b="b"/>
              <a:pathLst>
                <a:path w="277" h="240">
                  <a:moveTo>
                    <a:pt x="73" y="67"/>
                  </a:moveTo>
                  <a:cubicBezTo>
                    <a:pt x="43" y="128"/>
                    <a:pt x="11" y="205"/>
                    <a:pt x="11" y="205"/>
                  </a:cubicBezTo>
                  <a:cubicBezTo>
                    <a:pt x="0" y="225"/>
                    <a:pt x="17" y="240"/>
                    <a:pt x="55" y="221"/>
                  </a:cubicBezTo>
                  <a:lnTo>
                    <a:pt x="190" y="147"/>
                  </a:lnTo>
                  <a:cubicBezTo>
                    <a:pt x="263" y="106"/>
                    <a:pt x="277" y="96"/>
                    <a:pt x="276" y="13"/>
                  </a:cubicBezTo>
                  <a:lnTo>
                    <a:pt x="275" y="0"/>
                  </a:lnTo>
                  <a:cubicBezTo>
                    <a:pt x="209" y="46"/>
                    <a:pt x="134" y="63"/>
                    <a:pt x="73" y="67"/>
                  </a:cubicBezTo>
                  <a:close/>
                </a:path>
              </a:pathLst>
            </a:cu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8" name="Freeform 622"/>
            <p:cNvSpPr>
              <a:spLocks/>
            </p:cNvSpPr>
            <p:nvPr/>
          </p:nvSpPr>
          <p:spPr bwMode="auto">
            <a:xfrm>
              <a:off x="2506" y="1511"/>
              <a:ext cx="937" cy="1102"/>
            </a:xfrm>
            <a:custGeom>
              <a:avLst/>
              <a:gdLst>
                <a:gd name="T0" fmla="*/ 35 w 236"/>
                <a:gd name="T1" fmla="*/ 266 h 277"/>
                <a:gd name="T2" fmla="*/ 170 w 236"/>
                <a:gd name="T3" fmla="*/ 206 h 277"/>
                <a:gd name="T4" fmla="*/ 236 w 236"/>
                <a:gd name="T5" fmla="*/ 2 h 277"/>
                <a:gd name="T6" fmla="*/ 227 w 236"/>
                <a:gd name="T7" fmla="*/ 1 h 277"/>
                <a:gd name="T8" fmla="*/ 94 w 236"/>
                <a:gd name="T9" fmla="*/ 87 h 277"/>
                <a:gd name="T10" fmla="*/ 20 w 236"/>
                <a:gd name="T11" fmla="*/ 223 h 277"/>
                <a:gd name="T12" fmla="*/ 35 w 236"/>
                <a:gd name="T13" fmla="*/ 266 h 277"/>
              </a:gdLst>
              <a:ahLst/>
              <a:cxnLst>
                <a:cxn ang="0">
                  <a:pos x="T0" y="T1"/>
                </a:cxn>
                <a:cxn ang="0">
                  <a:pos x="T2" y="T3"/>
                </a:cxn>
                <a:cxn ang="0">
                  <a:pos x="T4" y="T5"/>
                </a:cxn>
                <a:cxn ang="0">
                  <a:pos x="T6" y="T7"/>
                </a:cxn>
                <a:cxn ang="0">
                  <a:pos x="T8" y="T9"/>
                </a:cxn>
                <a:cxn ang="0">
                  <a:pos x="T10" y="T11"/>
                </a:cxn>
                <a:cxn ang="0">
                  <a:pos x="T12" y="T13"/>
                </a:cxn>
              </a:cxnLst>
              <a:rect l="0" t="0" r="r" b="b"/>
              <a:pathLst>
                <a:path w="236" h="277">
                  <a:moveTo>
                    <a:pt x="35" y="266"/>
                  </a:moveTo>
                  <a:cubicBezTo>
                    <a:pt x="35" y="266"/>
                    <a:pt x="109" y="235"/>
                    <a:pt x="170" y="206"/>
                  </a:cubicBezTo>
                  <a:cubicBezTo>
                    <a:pt x="174" y="147"/>
                    <a:pt x="189" y="70"/>
                    <a:pt x="236" y="2"/>
                  </a:cubicBezTo>
                  <a:lnTo>
                    <a:pt x="227" y="1"/>
                  </a:lnTo>
                  <a:cubicBezTo>
                    <a:pt x="145" y="0"/>
                    <a:pt x="134" y="14"/>
                    <a:pt x="94" y="87"/>
                  </a:cubicBezTo>
                  <a:lnTo>
                    <a:pt x="20" y="223"/>
                  </a:lnTo>
                  <a:cubicBezTo>
                    <a:pt x="0" y="260"/>
                    <a:pt x="15" y="277"/>
                    <a:pt x="35" y="266"/>
                  </a:cubicBezTo>
                </a:path>
              </a:pathLst>
            </a:cu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9" name="Freeform 623"/>
            <p:cNvSpPr>
              <a:spLocks noEditPoints="1"/>
            </p:cNvSpPr>
            <p:nvPr/>
          </p:nvSpPr>
          <p:spPr bwMode="auto">
            <a:xfrm>
              <a:off x="3316" y="943"/>
              <a:ext cx="1738" cy="1706"/>
            </a:xfrm>
            <a:custGeom>
              <a:avLst/>
              <a:gdLst>
                <a:gd name="T0" fmla="*/ 367 w 438"/>
                <a:gd name="T1" fmla="*/ 111 h 429"/>
                <a:gd name="T2" fmla="*/ 320 w 438"/>
                <a:gd name="T3" fmla="*/ 111 h 429"/>
                <a:gd name="T4" fmla="*/ 320 w 438"/>
                <a:gd name="T5" fmla="*/ 64 h 429"/>
                <a:gd name="T6" fmla="*/ 367 w 438"/>
                <a:gd name="T7" fmla="*/ 64 h 429"/>
                <a:gd name="T8" fmla="*/ 367 w 438"/>
                <a:gd name="T9" fmla="*/ 111 h 429"/>
                <a:gd name="T10" fmla="*/ 296 w 438"/>
                <a:gd name="T11" fmla="*/ 229 h 429"/>
                <a:gd name="T12" fmla="*/ 202 w 438"/>
                <a:gd name="T13" fmla="*/ 229 h 429"/>
                <a:gd name="T14" fmla="*/ 202 w 438"/>
                <a:gd name="T15" fmla="*/ 135 h 429"/>
                <a:gd name="T16" fmla="*/ 296 w 438"/>
                <a:gd name="T17" fmla="*/ 135 h 429"/>
                <a:gd name="T18" fmla="*/ 296 w 438"/>
                <a:gd name="T19" fmla="*/ 229 h 429"/>
                <a:gd name="T20" fmla="*/ 383 w 438"/>
                <a:gd name="T21" fmla="*/ 0 h 429"/>
                <a:gd name="T22" fmla="*/ 93 w 438"/>
                <a:gd name="T23" fmla="*/ 124 h 429"/>
                <a:gd name="T24" fmla="*/ 0 w 438"/>
                <a:gd name="T25" fmla="*/ 354 h 429"/>
                <a:gd name="T26" fmla="*/ 69 w 438"/>
                <a:gd name="T27" fmla="*/ 265 h 429"/>
                <a:gd name="T28" fmla="*/ 142 w 438"/>
                <a:gd name="T29" fmla="*/ 243 h 429"/>
                <a:gd name="T30" fmla="*/ 175 w 438"/>
                <a:gd name="T31" fmla="*/ 254 h 429"/>
                <a:gd name="T32" fmla="*/ 163 w 438"/>
                <a:gd name="T33" fmla="*/ 360 h 429"/>
                <a:gd name="T34" fmla="*/ 162 w 438"/>
                <a:gd name="T35" fmla="*/ 361 h 429"/>
                <a:gd name="T36" fmla="*/ 74 w 438"/>
                <a:gd name="T37" fmla="*/ 429 h 429"/>
                <a:gd name="T38" fmla="*/ 304 w 438"/>
                <a:gd name="T39" fmla="*/ 336 h 429"/>
                <a:gd name="T40" fmla="*/ 422 w 438"/>
                <a:gd name="T41" fmla="*/ 6 h 429"/>
                <a:gd name="T42" fmla="*/ 383 w 438"/>
                <a:gd name="T43"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8" h="429">
                  <a:moveTo>
                    <a:pt x="367" y="111"/>
                  </a:moveTo>
                  <a:cubicBezTo>
                    <a:pt x="354" y="124"/>
                    <a:pt x="333" y="124"/>
                    <a:pt x="320" y="111"/>
                  </a:cubicBezTo>
                  <a:cubicBezTo>
                    <a:pt x="307" y="98"/>
                    <a:pt x="307" y="77"/>
                    <a:pt x="320" y="64"/>
                  </a:cubicBezTo>
                  <a:cubicBezTo>
                    <a:pt x="333" y="51"/>
                    <a:pt x="354" y="51"/>
                    <a:pt x="367" y="64"/>
                  </a:cubicBezTo>
                  <a:cubicBezTo>
                    <a:pt x="380" y="77"/>
                    <a:pt x="380" y="98"/>
                    <a:pt x="367" y="111"/>
                  </a:cubicBezTo>
                  <a:close/>
                  <a:moveTo>
                    <a:pt x="296" y="229"/>
                  </a:moveTo>
                  <a:cubicBezTo>
                    <a:pt x="270" y="255"/>
                    <a:pt x="228" y="255"/>
                    <a:pt x="202" y="229"/>
                  </a:cubicBezTo>
                  <a:cubicBezTo>
                    <a:pt x="176" y="203"/>
                    <a:pt x="176" y="161"/>
                    <a:pt x="202" y="135"/>
                  </a:cubicBezTo>
                  <a:cubicBezTo>
                    <a:pt x="228" y="109"/>
                    <a:pt x="270" y="109"/>
                    <a:pt x="296" y="135"/>
                  </a:cubicBezTo>
                  <a:cubicBezTo>
                    <a:pt x="322" y="161"/>
                    <a:pt x="322" y="203"/>
                    <a:pt x="296" y="229"/>
                  </a:cubicBezTo>
                  <a:close/>
                  <a:moveTo>
                    <a:pt x="383" y="0"/>
                  </a:moveTo>
                  <a:cubicBezTo>
                    <a:pt x="303" y="0"/>
                    <a:pt x="178" y="39"/>
                    <a:pt x="93" y="124"/>
                  </a:cubicBezTo>
                  <a:cubicBezTo>
                    <a:pt x="22" y="195"/>
                    <a:pt x="3" y="288"/>
                    <a:pt x="0" y="354"/>
                  </a:cubicBezTo>
                  <a:lnTo>
                    <a:pt x="69" y="265"/>
                  </a:lnTo>
                  <a:cubicBezTo>
                    <a:pt x="82" y="252"/>
                    <a:pt x="117" y="243"/>
                    <a:pt x="142" y="243"/>
                  </a:cubicBezTo>
                  <a:cubicBezTo>
                    <a:pt x="157" y="243"/>
                    <a:pt x="168" y="247"/>
                    <a:pt x="175" y="254"/>
                  </a:cubicBezTo>
                  <a:cubicBezTo>
                    <a:pt x="197" y="276"/>
                    <a:pt x="180" y="343"/>
                    <a:pt x="163" y="360"/>
                  </a:cubicBezTo>
                  <a:lnTo>
                    <a:pt x="162" y="361"/>
                  </a:lnTo>
                  <a:lnTo>
                    <a:pt x="74" y="429"/>
                  </a:lnTo>
                  <a:cubicBezTo>
                    <a:pt x="145" y="426"/>
                    <a:pt x="235" y="405"/>
                    <a:pt x="304" y="336"/>
                  </a:cubicBezTo>
                  <a:cubicBezTo>
                    <a:pt x="431" y="210"/>
                    <a:pt x="438" y="26"/>
                    <a:pt x="422" y="6"/>
                  </a:cubicBezTo>
                  <a:cubicBezTo>
                    <a:pt x="421" y="5"/>
                    <a:pt x="410" y="0"/>
                    <a:pt x="383" y="0"/>
                  </a:cubicBezTo>
                </a:path>
              </a:pathLst>
            </a:custGeom>
            <a:grpFill/>
            <a:ln w="9525">
              <a:noFill/>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200" name="Clipboard3"/>
          <p:cNvGrpSpPr>
            <a:grpSpLocks noChangeAspect="1"/>
          </p:cNvGrpSpPr>
          <p:nvPr>
            <p:custDataLst>
              <p:tags r:id="rId3"/>
            </p:custDataLst>
          </p:nvPr>
        </p:nvGrpSpPr>
        <p:grpSpPr bwMode="auto">
          <a:xfrm>
            <a:off x="5451190" y="4976885"/>
            <a:ext cx="408370" cy="544912"/>
            <a:chOff x="63" y="9"/>
            <a:chExt cx="326" cy="435"/>
          </a:xfrm>
          <a:solidFill>
            <a:srgbClr val="1F497D"/>
          </a:solidFill>
        </p:grpSpPr>
        <p:sp>
          <p:nvSpPr>
            <p:cNvPr id="201" name="Clipboard3"/>
            <p:cNvSpPr>
              <a:spLocks noEditPoints="1"/>
            </p:cNvSpPr>
            <p:nvPr>
              <p:custDataLst>
                <p:tags r:id="rId17"/>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solidFill>
              <a:srgbClr val="1F497D"/>
            </a:solidFill>
            <a:ln w="0">
              <a:solidFill>
                <a:srgbClr val="1F497D"/>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202" name="Clipboard3"/>
            <p:cNvSpPr>
              <a:spLocks/>
            </p:cNvSpPr>
            <p:nvPr>
              <p:custDataLst>
                <p:tags r:id="rId18"/>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rgbClr val="1F497D"/>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203" name="Clipboard3"/>
            <p:cNvSpPr>
              <a:spLocks/>
            </p:cNvSpPr>
            <p:nvPr>
              <p:custDataLst>
                <p:tags r:id="rId19"/>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rgbClr val="1F497D"/>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204" name="Clipboard3"/>
            <p:cNvSpPr>
              <a:spLocks/>
            </p:cNvSpPr>
            <p:nvPr>
              <p:custDataLst>
                <p:tags r:id="rId20"/>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rgbClr val="1F497D"/>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sp>
        <p:nvSpPr>
          <p:cNvPr id="122" name="Dikdörtgen 121"/>
          <p:cNvSpPr/>
          <p:nvPr/>
        </p:nvSpPr>
        <p:spPr>
          <a:xfrm>
            <a:off x="3562839" y="1012836"/>
            <a:ext cx="6081421" cy="46335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0" b="1" i="0" u="none" strike="noStrike" kern="1200" cap="none" spc="0" normalizeH="0" baseline="0" noProof="0" dirty="0">
                <a:ln>
                  <a:noFill/>
                </a:ln>
                <a:solidFill>
                  <a:srgbClr val="F79646">
                    <a:lumMod val="50000"/>
                  </a:srgbClr>
                </a:solidFill>
                <a:effectLst/>
                <a:uLnTx/>
                <a:uFillTx/>
                <a:latin typeface="Times New Roman" panose="02020603050405020304" pitchFamily="18" charset="0"/>
                <a:ea typeface="ヒラギノ角ゴ Pro W3" pitchFamily="1" charset="-128"/>
                <a:cs typeface="Times New Roman" panose="02020603050405020304" pitchFamily="18" charset="0"/>
              </a:rPr>
              <a:t>DESTEK PROGRAMI SÜRECİ</a:t>
            </a:r>
          </a:p>
        </p:txBody>
      </p:sp>
      <p:sp>
        <p:nvSpPr>
          <p:cNvPr id="120" name="3 Metin kutusu"/>
          <p:cNvSpPr txBox="1"/>
          <p:nvPr/>
        </p:nvSpPr>
        <p:spPr>
          <a:xfrm>
            <a:off x="539143" y="226852"/>
            <a:ext cx="10399047" cy="5866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12" b="1" i="0" u="none" strike="noStrike" kern="1200" cap="none" spc="0" normalizeH="0" baseline="0" noProof="0" dirty="0" err="1">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Organizasyonel</a:t>
            </a:r>
            <a:r>
              <a:rPr kumimoji="0" lang="tr-TR" sz="3212" b="1" i="0" u="none" strike="noStrike" kern="1200" cap="none" spc="0" normalizeH="0" baseline="0" noProof="0" dirty="0">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 Uluslararası Hızlandırıcı Programı</a:t>
            </a:r>
          </a:p>
        </p:txBody>
      </p:sp>
      <p:sp>
        <p:nvSpPr>
          <p:cNvPr id="121" name="TextBox 94"/>
          <p:cNvSpPr txBox="1"/>
          <p:nvPr/>
        </p:nvSpPr>
        <p:spPr>
          <a:xfrm>
            <a:off x="3941988" y="6272520"/>
            <a:ext cx="3247639" cy="586571"/>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Ar-Ge ve Yenilik Destekleri Müdürlüğüne</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nvGrpSpPr>
          <p:cNvPr id="124" name="Bribery"/>
          <p:cNvGrpSpPr>
            <a:grpSpLocks noChangeAspect="1"/>
          </p:cNvGrpSpPr>
          <p:nvPr>
            <p:custDataLst>
              <p:tags r:id="rId4"/>
            </p:custDataLst>
          </p:nvPr>
        </p:nvGrpSpPr>
        <p:grpSpPr bwMode="auto">
          <a:xfrm>
            <a:off x="8324266" y="4995455"/>
            <a:ext cx="1046575" cy="542925"/>
            <a:chOff x="8" y="8"/>
            <a:chExt cx="906" cy="470"/>
          </a:xfrm>
          <a:solidFill>
            <a:srgbClr val="1F497D"/>
          </a:solidFill>
        </p:grpSpPr>
        <p:sp>
          <p:nvSpPr>
            <p:cNvPr id="127" name="Bribery"/>
            <p:cNvSpPr>
              <a:spLocks noEditPoints="1"/>
            </p:cNvSpPr>
            <p:nvPr>
              <p:custDataLst>
                <p:tags r:id="rId13"/>
              </p:custDataLst>
            </p:nvPr>
          </p:nvSpPr>
          <p:spPr bwMode="auto">
            <a:xfrm>
              <a:off x="351" y="100"/>
              <a:ext cx="85" cy="160"/>
            </a:xfrm>
            <a:custGeom>
              <a:avLst/>
              <a:gdLst>
                <a:gd name="T0" fmla="*/ 31 w 117"/>
                <a:gd name="T1" fmla="*/ 149 h 220"/>
                <a:gd name="T2" fmla="*/ 0 w 117"/>
                <a:gd name="T3" fmla="*/ 149 h 220"/>
                <a:gd name="T4" fmla="*/ 49 w 117"/>
                <a:gd name="T5" fmla="*/ 203 h 220"/>
                <a:gd name="T6" fmla="*/ 49 w 117"/>
                <a:gd name="T7" fmla="*/ 220 h 220"/>
                <a:gd name="T8" fmla="*/ 68 w 117"/>
                <a:gd name="T9" fmla="*/ 220 h 220"/>
                <a:gd name="T10" fmla="*/ 68 w 117"/>
                <a:gd name="T11" fmla="*/ 204 h 220"/>
                <a:gd name="T12" fmla="*/ 117 w 117"/>
                <a:gd name="T13" fmla="*/ 149 h 220"/>
                <a:gd name="T14" fmla="*/ 68 w 117"/>
                <a:gd name="T15" fmla="*/ 96 h 220"/>
                <a:gd name="T16" fmla="*/ 68 w 117"/>
                <a:gd name="T17" fmla="*/ 49 h 220"/>
                <a:gd name="T18" fmla="*/ 86 w 117"/>
                <a:gd name="T19" fmla="*/ 71 h 220"/>
                <a:gd name="T20" fmla="*/ 117 w 117"/>
                <a:gd name="T21" fmla="*/ 71 h 220"/>
                <a:gd name="T22" fmla="*/ 68 w 117"/>
                <a:gd name="T23" fmla="*/ 17 h 220"/>
                <a:gd name="T24" fmla="*/ 68 w 117"/>
                <a:gd name="T25" fmla="*/ 0 h 220"/>
                <a:gd name="T26" fmla="*/ 49 w 117"/>
                <a:gd name="T27" fmla="*/ 0 h 220"/>
                <a:gd name="T28" fmla="*/ 49 w 117"/>
                <a:gd name="T29" fmla="*/ 16 h 220"/>
                <a:gd name="T30" fmla="*/ 0 w 117"/>
                <a:gd name="T31" fmla="*/ 71 h 220"/>
                <a:gd name="T32" fmla="*/ 49 w 117"/>
                <a:gd name="T33" fmla="*/ 124 h 220"/>
                <a:gd name="T34" fmla="*/ 49 w 117"/>
                <a:gd name="T35" fmla="*/ 171 h 220"/>
                <a:gd name="T36" fmla="*/ 31 w 117"/>
                <a:gd name="T37" fmla="*/ 149 h 220"/>
                <a:gd name="T38" fmla="*/ 68 w 117"/>
                <a:gd name="T39" fmla="*/ 130 h 220"/>
                <a:gd name="T40" fmla="*/ 86 w 117"/>
                <a:gd name="T41" fmla="*/ 149 h 220"/>
                <a:gd name="T42" fmla="*/ 68 w 117"/>
                <a:gd name="T43" fmla="*/ 172 h 220"/>
                <a:gd name="T44" fmla="*/ 68 w 117"/>
                <a:gd name="T45" fmla="*/ 130 h 220"/>
                <a:gd name="T46" fmla="*/ 31 w 117"/>
                <a:gd name="T47" fmla="*/ 71 h 220"/>
                <a:gd name="T48" fmla="*/ 49 w 117"/>
                <a:gd name="T49" fmla="*/ 48 h 220"/>
                <a:gd name="T50" fmla="*/ 49 w 117"/>
                <a:gd name="T51" fmla="*/ 90 h 220"/>
                <a:gd name="T52" fmla="*/ 31 w 117"/>
                <a:gd name="T53" fmla="*/ 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7" h="220">
                  <a:moveTo>
                    <a:pt x="31" y="149"/>
                  </a:moveTo>
                  <a:lnTo>
                    <a:pt x="0" y="149"/>
                  </a:lnTo>
                  <a:cubicBezTo>
                    <a:pt x="0" y="173"/>
                    <a:pt x="13" y="198"/>
                    <a:pt x="49" y="203"/>
                  </a:cubicBezTo>
                  <a:lnTo>
                    <a:pt x="49" y="220"/>
                  </a:lnTo>
                  <a:lnTo>
                    <a:pt x="68" y="220"/>
                  </a:lnTo>
                  <a:lnTo>
                    <a:pt x="68" y="204"/>
                  </a:lnTo>
                  <a:cubicBezTo>
                    <a:pt x="97" y="201"/>
                    <a:pt x="117" y="179"/>
                    <a:pt x="117" y="149"/>
                  </a:cubicBezTo>
                  <a:cubicBezTo>
                    <a:pt x="117" y="118"/>
                    <a:pt x="87" y="101"/>
                    <a:pt x="68" y="96"/>
                  </a:cubicBezTo>
                  <a:lnTo>
                    <a:pt x="68" y="49"/>
                  </a:lnTo>
                  <a:cubicBezTo>
                    <a:pt x="86" y="53"/>
                    <a:pt x="86" y="66"/>
                    <a:pt x="86" y="71"/>
                  </a:cubicBezTo>
                  <a:lnTo>
                    <a:pt x="117" y="71"/>
                  </a:lnTo>
                  <a:cubicBezTo>
                    <a:pt x="117" y="47"/>
                    <a:pt x="104" y="22"/>
                    <a:pt x="68" y="17"/>
                  </a:cubicBezTo>
                  <a:lnTo>
                    <a:pt x="68" y="0"/>
                  </a:lnTo>
                  <a:lnTo>
                    <a:pt x="49" y="0"/>
                  </a:lnTo>
                  <a:lnTo>
                    <a:pt x="49" y="16"/>
                  </a:lnTo>
                  <a:cubicBezTo>
                    <a:pt x="19" y="19"/>
                    <a:pt x="0" y="40"/>
                    <a:pt x="0" y="71"/>
                  </a:cubicBezTo>
                  <a:cubicBezTo>
                    <a:pt x="0" y="102"/>
                    <a:pt x="30" y="119"/>
                    <a:pt x="49" y="124"/>
                  </a:cubicBezTo>
                  <a:lnTo>
                    <a:pt x="49" y="171"/>
                  </a:lnTo>
                  <a:cubicBezTo>
                    <a:pt x="31" y="167"/>
                    <a:pt x="31" y="154"/>
                    <a:pt x="31" y="149"/>
                  </a:cubicBezTo>
                  <a:close/>
                  <a:moveTo>
                    <a:pt x="68" y="130"/>
                  </a:moveTo>
                  <a:cubicBezTo>
                    <a:pt x="77" y="133"/>
                    <a:pt x="86" y="139"/>
                    <a:pt x="86" y="149"/>
                  </a:cubicBezTo>
                  <a:cubicBezTo>
                    <a:pt x="86" y="162"/>
                    <a:pt x="80" y="170"/>
                    <a:pt x="68" y="172"/>
                  </a:cubicBezTo>
                  <a:lnTo>
                    <a:pt x="68" y="130"/>
                  </a:lnTo>
                  <a:close/>
                  <a:moveTo>
                    <a:pt x="31" y="71"/>
                  </a:moveTo>
                  <a:cubicBezTo>
                    <a:pt x="31" y="58"/>
                    <a:pt x="37" y="50"/>
                    <a:pt x="49" y="48"/>
                  </a:cubicBezTo>
                  <a:lnTo>
                    <a:pt x="49" y="90"/>
                  </a:lnTo>
                  <a:cubicBezTo>
                    <a:pt x="40" y="87"/>
                    <a:pt x="31" y="80"/>
                    <a:pt x="31"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28" name="Bribery"/>
            <p:cNvSpPr>
              <a:spLocks noChangeArrowheads="1"/>
            </p:cNvSpPr>
            <p:nvPr>
              <p:custDataLst>
                <p:tags r:id="rId14"/>
              </p:custDataLst>
            </p:nvPr>
          </p:nvSpPr>
          <p:spPr bwMode="auto">
            <a:xfrm>
              <a:off x="8" y="24"/>
              <a:ext cx="75" cy="27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29" name="Bribery"/>
            <p:cNvSpPr>
              <a:spLocks/>
            </p:cNvSpPr>
            <p:nvPr>
              <p:custDataLst>
                <p:tags r:id="rId15"/>
              </p:custDataLst>
            </p:nvPr>
          </p:nvSpPr>
          <p:spPr bwMode="auto">
            <a:xfrm>
              <a:off x="411" y="125"/>
              <a:ext cx="503" cy="353"/>
            </a:xfrm>
            <a:custGeom>
              <a:avLst/>
              <a:gdLst>
                <a:gd name="T0" fmla="*/ 678 w 694"/>
                <a:gd name="T1" fmla="*/ 93 h 486"/>
                <a:gd name="T2" fmla="*/ 678 w 694"/>
                <a:gd name="T3" fmla="*/ 92 h 486"/>
                <a:gd name="T4" fmla="*/ 676 w 694"/>
                <a:gd name="T5" fmla="*/ 91 h 486"/>
                <a:gd name="T6" fmla="*/ 672 w 694"/>
                <a:gd name="T7" fmla="*/ 89 h 486"/>
                <a:gd name="T8" fmla="*/ 329 w 694"/>
                <a:gd name="T9" fmla="*/ 0 h 486"/>
                <a:gd name="T10" fmla="*/ 329 w 694"/>
                <a:gd name="T11" fmla="*/ 0 h 486"/>
                <a:gd name="T12" fmla="*/ 295 w 694"/>
                <a:gd name="T13" fmla="*/ 35 h 486"/>
                <a:gd name="T14" fmla="*/ 329 w 694"/>
                <a:gd name="T15" fmla="*/ 70 h 486"/>
                <a:gd name="T16" fmla="*/ 486 w 694"/>
                <a:gd name="T17" fmla="*/ 122 h 486"/>
                <a:gd name="T18" fmla="*/ 399 w 694"/>
                <a:gd name="T19" fmla="*/ 130 h 486"/>
                <a:gd name="T20" fmla="*/ 86 w 694"/>
                <a:gd name="T21" fmla="*/ 130 h 486"/>
                <a:gd name="T22" fmla="*/ 52 w 694"/>
                <a:gd name="T23" fmla="*/ 165 h 486"/>
                <a:gd name="T24" fmla="*/ 86 w 694"/>
                <a:gd name="T25" fmla="*/ 200 h 486"/>
                <a:gd name="T26" fmla="*/ 347 w 694"/>
                <a:gd name="T27" fmla="*/ 200 h 486"/>
                <a:gd name="T28" fmla="*/ 347 w 694"/>
                <a:gd name="T29" fmla="*/ 226 h 486"/>
                <a:gd name="T30" fmla="*/ 34 w 694"/>
                <a:gd name="T31" fmla="*/ 226 h 486"/>
                <a:gd name="T32" fmla="*/ 0 w 694"/>
                <a:gd name="T33" fmla="*/ 260 h 486"/>
                <a:gd name="T34" fmla="*/ 34 w 694"/>
                <a:gd name="T35" fmla="*/ 295 h 486"/>
                <a:gd name="T36" fmla="*/ 347 w 694"/>
                <a:gd name="T37" fmla="*/ 295 h 486"/>
                <a:gd name="T38" fmla="*/ 347 w 694"/>
                <a:gd name="T39" fmla="*/ 321 h 486"/>
                <a:gd name="T40" fmla="*/ 86 w 694"/>
                <a:gd name="T41" fmla="*/ 321 h 486"/>
                <a:gd name="T42" fmla="*/ 52 w 694"/>
                <a:gd name="T43" fmla="*/ 356 h 486"/>
                <a:gd name="T44" fmla="*/ 86 w 694"/>
                <a:gd name="T45" fmla="*/ 391 h 486"/>
                <a:gd name="T46" fmla="*/ 347 w 694"/>
                <a:gd name="T47" fmla="*/ 391 h 486"/>
                <a:gd name="T48" fmla="*/ 347 w 694"/>
                <a:gd name="T49" fmla="*/ 417 h 486"/>
                <a:gd name="T50" fmla="*/ 173 w 694"/>
                <a:gd name="T51" fmla="*/ 417 h 486"/>
                <a:gd name="T52" fmla="*/ 138 w 694"/>
                <a:gd name="T53" fmla="*/ 451 h 486"/>
                <a:gd name="T54" fmla="*/ 173 w 694"/>
                <a:gd name="T55" fmla="*/ 486 h 486"/>
                <a:gd name="T56" fmla="*/ 411 w 694"/>
                <a:gd name="T57" fmla="*/ 486 h 486"/>
                <a:gd name="T58" fmla="*/ 411 w 694"/>
                <a:gd name="T59" fmla="*/ 486 h 486"/>
                <a:gd name="T60" fmla="*/ 678 w 694"/>
                <a:gd name="T61" fmla="*/ 394 h 486"/>
                <a:gd name="T62" fmla="*/ 678 w 694"/>
                <a:gd name="T63" fmla="*/ 394 h 486"/>
                <a:gd name="T64" fmla="*/ 694 w 694"/>
                <a:gd name="T65" fmla="*/ 365 h 486"/>
                <a:gd name="T66" fmla="*/ 694 w 694"/>
                <a:gd name="T67" fmla="*/ 122 h 486"/>
                <a:gd name="T68" fmla="*/ 678 w 694"/>
                <a:gd name="T69" fmla="*/ 9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486">
                  <a:moveTo>
                    <a:pt x="678" y="93"/>
                  </a:moveTo>
                  <a:lnTo>
                    <a:pt x="678" y="92"/>
                  </a:lnTo>
                  <a:cubicBezTo>
                    <a:pt x="678" y="92"/>
                    <a:pt x="677" y="92"/>
                    <a:pt x="676" y="91"/>
                  </a:cubicBezTo>
                  <a:cubicBezTo>
                    <a:pt x="675" y="91"/>
                    <a:pt x="674" y="90"/>
                    <a:pt x="672" y="89"/>
                  </a:cubicBezTo>
                  <a:cubicBezTo>
                    <a:pt x="640" y="73"/>
                    <a:pt x="485" y="0"/>
                    <a:pt x="329" y="0"/>
                  </a:cubicBezTo>
                  <a:lnTo>
                    <a:pt x="329" y="0"/>
                  </a:lnTo>
                  <a:cubicBezTo>
                    <a:pt x="310" y="0"/>
                    <a:pt x="295" y="16"/>
                    <a:pt x="295" y="35"/>
                  </a:cubicBezTo>
                  <a:cubicBezTo>
                    <a:pt x="295" y="54"/>
                    <a:pt x="310" y="70"/>
                    <a:pt x="329" y="70"/>
                  </a:cubicBezTo>
                  <a:cubicBezTo>
                    <a:pt x="416" y="70"/>
                    <a:pt x="486" y="122"/>
                    <a:pt x="486" y="122"/>
                  </a:cubicBezTo>
                  <a:cubicBezTo>
                    <a:pt x="460" y="131"/>
                    <a:pt x="399" y="130"/>
                    <a:pt x="399" y="130"/>
                  </a:cubicBezTo>
                  <a:lnTo>
                    <a:pt x="86" y="130"/>
                  </a:lnTo>
                  <a:cubicBezTo>
                    <a:pt x="67" y="130"/>
                    <a:pt x="52" y="146"/>
                    <a:pt x="52" y="165"/>
                  </a:cubicBezTo>
                  <a:cubicBezTo>
                    <a:pt x="52" y="184"/>
                    <a:pt x="67" y="200"/>
                    <a:pt x="86" y="200"/>
                  </a:cubicBezTo>
                  <a:lnTo>
                    <a:pt x="347" y="200"/>
                  </a:lnTo>
                  <a:lnTo>
                    <a:pt x="347" y="226"/>
                  </a:lnTo>
                  <a:lnTo>
                    <a:pt x="34" y="226"/>
                  </a:lnTo>
                  <a:cubicBezTo>
                    <a:pt x="15" y="226"/>
                    <a:pt x="0" y="241"/>
                    <a:pt x="0" y="260"/>
                  </a:cubicBezTo>
                  <a:cubicBezTo>
                    <a:pt x="0" y="280"/>
                    <a:pt x="15" y="295"/>
                    <a:pt x="34" y="295"/>
                  </a:cubicBezTo>
                  <a:lnTo>
                    <a:pt x="347" y="295"/>
                  </a:lnTo>
                  <a:lnTo>
                    <a:pt x="347" y="321"/>
                  </a:lnTo>
                  <a:lnTo>
                    <a:pt x="86" y="321"/>
                  </a:lnTo>
                  <a:cubicBezTo>
                    <a:pt x="67" y="321"/>
                    <a:pt x="52" y="337"/>
                    <a:pt x="52" y="356"/>
                  </a:cubicBezTo>
                  <a:cubicBezTo>
                    <a:pt x="52" y="375"/>
                    <a:pt x="67" y="391"/>
                    <a:pt x="86" y="391"/>
                  </a:cubicBezTo>
                  <a:lnTo>
                    <a:pt x="347" y="391"/>
                  </a:lnTo>
                  <a:lnTo>
                    <a:pt x="347" y="417"/>
                  </a:lnTo>
                  <a:lnTo>
                    <a:pt x="173" y="417"/>
                  </a:lnTo>
                  <a:cubicBezTo>
                    <a:pt x="154" y="417"/>
                    <a:pt x="138" y="432"/>
                    <a:pt x="138" y="451"/>
                  </a:cubicBezTo>
                  <a:cubicBezTo>
                    <a:pt x="138" y="471"/>
                    <a:pt x="154" y="486"/>
                    <a:pt x="173" y="486"/>
                  </a:cubicBezTo>
                  <a:lnTo>
                    <a:pt x="411" y="486"/>
                  </a:lnTo>
                  <a:lnTo>
                    <a:pt x="411" y="486"/>
                  </a:lnTo>
                  <a:cubicBezTo>
                    <a:pt x="558" y="483"/>
                    <a:pt x="613" y="435"/>
                    <a:pt x="678" y="394"/>
                  </a:cubicBezTo>
                  <a:lnTo>
                    <a:pt x="678" y="394"/>
                  </a:lnTo>
                  <a:cubicBezTo>
                    <a:pt x="688" y="388"/>
                    <a:pt x="694" y="377"/>
                    <a:pt x="694" y="365"/>
                  </a:cubicBezTo>
                  <a:lnTo>
                    <a:pt x="694" y="122"/>
                  </a:lnTo>
                  <a:cubicBezTo>
                    <a:pt x="694" y="109"/>
                    <a:pt x="688" y="99"/>
                    <a:pt x="678" y="9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30" name="Bribery"/>
            <p:cNvSpPr>
              <a:spLocks/>
            </p:cNvSpPr>
            <p:nvPr>
              <p:custDataLst>
                <p:tags r:id="rId16"/>
              </p:custDataLst>
            </p:nvPr>
          </p:nvSpPr>
          <p:spPr bwMode="auto">
            <a:xfrm>
              <a:off x="109" y="8"/>
              <a:ext cx="490" cy="325"/>
            </a:xfrm>
            <a:custGeom>
              <a:avLst/>
              <a:gdLst>
                <a:gd name="T0" fmla="*/ 382 w 677"/>
                <a:gd name="T1" fmla="*/ 421 h 448"/>
                <a:gd name="T2" fmla="*/ 406 w 677"/>
                <a:gd name="T3" fmla="*/ 369 h 448"/>
                <a:gd name="T4" fmla="*/ 121 w 677"/>
                <a:gd name="T5" fmla="*/ 369 h 448"/>
                <a:gd name="T6" fmla="*/ 121 w 677"/>
                <a:gd name="T7" fmla="*/ 109 h 448"/>
                <a:gd name="T8" fmla="*/ 181 w 677"/>
                <a:gd name="T9" fmla="*/ 109 h 448"/>
                <a:gd name="T10" fmla="*/ 253 w 677"/>
                <a:gd name="T11" fmla="*/ 183 h 448"/>
                <a:gd name="T12" fmla="*/ 278 w 677"/>
                <a:gd name="T13" fmla="*/ 194 h 448"/>
                <a:gd name="T14" fmla="*/ 278 w 677"/>
                <a:gd name="T15" fmla="*/ 194 h 448"/>
                <a:gd name="T16" fmla="*/ 313 w 677"/>
                <a:gd name="T17" fmla="*/ 159 h 448"/>
                <a:gd name="T18" fmla="*/ 308 w 677"/>
                <a:gd name="T19" fmla="*/ 142 h 448"/>
                <a:gd name="T20" fmla="*/ 295 w 677"/>
                <a:gd name="T21" fmla="*/ 109 h 448"/>
                <a:gd name="T22" fmla="*/ 642 w 677"/>
                <a:gd name="T23" fmla="*/ 109 h 448"/>
                <a:gd name="T24" fmla="*/ 642 w 677"/>
                <a:gd name="T25" fmla="*/ 257 h 448"/>
                <a:gd name="T26" fmla="*/ 677 w 677"/>
                <a:gd name="T27" fmla="*/ 257 h 448"/>
                <a:gd name="T28" fmla="*/ 677 w 677"/>
                <a:gd name="T29" fmla="*/ 74 h 448"/>
                <a:gd name="T30" fmla="*/ 278 w 677"/>
                <a:gd name="T31" fmla="*/ 74 h 448"/>
                <a:gd name="T32" fmla="*/ 226 w 677"/>
                <a:gd name="T33" fmla="*/ 8 h 448"/>
                <a:gd name="T34" fmla="*/ 190 w 677"/>
                <a:gd name="T35" fmla="*/ 0 h 448"/>
                <a:gd name="T36" fmla="*/ 151 w 677"/>
                <a:gd name="T37" fmla="*/ 3 h 448"/>
                <a:gd name="T38" fmla="*/ 0 w 677"/>
                <a:gd name="T39" fmla="*/ 48 h 448"/>
                <a:gd name="T40" fmla="*/ 0 w 677"/>
                <a:gd name="T41" fmla="*/ 374 h 448"/>
                <a:gd name="T42" fmla="*/ 226 w 677"/>
                <a:gd name="T43" fmla="*/ 448 h 448"/>
                <a:gd name="T44" fmla="*/ 387 w 677"/>
                <a:gd name="T45" fmla="*/ 448 h 448"/>
                <a:gd name="T46" fmla="*/ 382 w 677"/>
                <a:gd name="T47" fmla="*/ 42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7" h="448">
                  <a:moveTo>
                    <a:pt x="382" y="421"/>
                  </a:moveTo>
                  <a:cubicBezTo>
                    <a:pt x="382" y="401"/>
                    <a:pt x="391" y="382"/>
                    <a:pt x="406" y="369"/>
                  </a:cubicBezTo>
                  <a:lnTo>
                    <a:pt x="121" y="369"/>
                  </a:lnTo>
                  <a:lnTo>
                    <a:pt x="121" y="109"/>
                  </a:lnTo>
                  <a:lnTo>
                    <a:pt x="181" y="109"/>
                  </a:lnTo>
                  <a:cubicBezTo>
                    <a:pt x="202" y="131"/>
                    <a:pt x="228" y="158"/>
                    <a:pt x="253" y="183"/>
                  </a:cubicBezTo>
                  <a:cubicBezTo>
                    <a:pt x="259" y="190"/>
                    <a:pt x="268" y="194"/>
                    <a:pt x="278" y="194"/>
                  </a:cubicBezTo>
                  <a:cubicBezTo>
                    <a:pt x="278" y="194"/>
                    <a:pt x="278" y="194"/>
                    <a:pt x="278" y="194"/>
                  </a:cubicBezTo>
                  <a:cubicBezTo>
                    <a:pt x="297" y="194"/>
                    <a:pt x="313" y="178"/>
                    <a:pt x="313" y="159"/>
                  </a:cubicBezTo>
                  <a:cubicBezTo>
                    <a:pt x="313" y="153"/>
                    <a:pt x="311" y="147"/>
                    <a:pt x="308" y="142"/>
                  </a:cubicBezTo>
                  <a:cubicBezTo>
                    <a:pt x="305" y="133"/>
                    <a:pt x="300" y="122"/>
                    <a:pt x="295" y="109"/>
                  </a:cubicBezTo>
                  <a:lnTo>
                    <a:pt x="642" y="109"/>
                  </a:lnTo>
                  <a:lnTo>
                    <a:pt x="642" y="257"/>
                  </a:lnTo>
                  <a:lnTo>
                    <a:pt x="677" y="257"/>
                  </a:lnTo>
                  <a:lnTo>
                    <a:pt x="677" y="74"/>
                  </a:lnTo>
                  <a:lnTo>
                    <a:pt x="278" y="74"/>
                  </a:lnTo>
                  <a:cubicBezTo>
                    <a:pt x="263" y="46"/>
                    <a:pt x="245" y="19"/>
                    <a:pt x="226" y="8"/>
                  </a:cubicBezTo>
                  <a:cubicBezTo>
                    <a:pt x="217" y="2"/>
                    <a:pt x="206" y="0"/>
                    <a:pt x="190" y="0"/>
                  </a:cubicBezTo>
                  <a:cubicBezTo>
                    <a:pt x="172" y="0"/>
                    <a:pt x="153" y="3"/>
                    <a:pt x="151" y="3"/>
                  </a:cubicBezTo>
                  <a:cubicBezTo>
                    <a:pt x="148" y="4"/>
                    <a:pt x="49" y="28"/>
                    <a:pt x="0" y="48"/>
                  </a:cubicBezTo>
                  <a:lnTo>
                    <a:pt x="0" y="374"/>
                  </a:lnTo>
                  <a:cubicBezTo>
                    <a:pt x="41" y="396"/>
                    <a:pt x="147" y="448"/>
                    <a:pt x="226" y="448"/>
                  </a:cubicBezTo>
                  <a:lnTo>
                    <a:pt x="387" y="448"/>
                  </a:lnTo>
                  <a:cubicBezTo>
                    <a:pt x="384" y="440"/>
                    <a:pt x="382" y="431"/>
                    <a:pt x="382"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grpSp>
      <p:grpSp>
        <p:nvGrpSpPr>
          <p:cNvPr id="177" name="Meeting2"/>
          <p:cNvGrpSpPr>
            <a:grpSpLocks noChangeAspect="1"/>
          </p:cNvGrpSpPr>
          <p:nvPr>
            <p:custDataLst>
              <p:tags r:id="rId5"/>
            </p:custDataLst>
          </p:nvPr>
        </p:nvGrpSpPr>
        <p:grpSpPr bwMode="auto">
          <a:xfrm>
            <a:off x="8475653" y="3243671"/>
            <a:ext cx="666900" cy="542925"/>
            <a:chOff x="86" y="116"/>
            <a:chExt cx="312" cy="254"/>
          </a:xfrm>
          <a:solidFill>
            <a:srgbClr val="1F497D"/>
          </a:solidFill>
        </p:grpSpPr>
        <p:sp>
          <p:nvSpPr>
            <p:cNvPr id="178" name="Meeting2"/>
            <p:cNvSpPr>
              <a:spLocks noChangeArrowheads="1"/>
            </p:cNvSpPr>
            <p:nvPr>
              <p:custDataLst>
                <p:tags r:id="rId6"/>
              </p:custDataLst>
            </p:nvPr>
          </p:nvSpPr>
          <p:spPr bwMode="auto">
            <a:xfrm>
              <a:off x="213" y="116"/>
              <a:ext cx="59"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F497D"/>
                </a:solidFill>
                <a:effectLst/>
                <a:uLnTx/>
                <a:uFillTx/>
                <a:latin typeface="Times New Roman" panose="02020603050405020304" pitchFamily="18" charset="0"/>
                <a:ea typeface="+mn-ea"/>
                <a:cs typeface="Times New Roman" panose="02020603050405020304" pitchFamily="18" charset="0"/>
              </a:endParaRPr>
            </a:p>
          </p:txBody>
        </p:sp>
        <p:sp>
          <p:nvSpPr>
            <p:cNvPr id="179" name="Meeting2"/>
            <p:cNvSpPr>
              <a:spLocks noChangeArrowheads="1"/>
            </p:cNvSpPr>
            <p:nvPr>
              <p:custDataLst>
                <p:tags r:id="rId7"/>
              </p:custDataLst>
            </p:nvPr>
          </p:nvSpPr>
          <p:spPr bwMode="auto">
            <a:xfrm>
              <a:off x="106" y="145"/>
              <a:ext cx="58"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F497D"/>
                </a:solidFill>
                <a:effectLst/>
                <a:uLnTx/>
                <a:uFillTx/>
                <a:latin typeface="Times New Roman" panose="02020603050405020304" pitchFamily="18" charset="0"/>
                <a:ea typeface="+mn-ea"/>
                <a:cs typeface="Times New Roman" panose="02020603050405020304" pitchFamily="18" charset="0"/>
              </a:endParaRPr>
            </a:p>
          </p:txBody>
        </p:sp>
        <p:sp>
          <p:nvSpPr>
            <p:cNvPr id="180" name="Meeting2"/>
            <p:cNvSpPr>
              <a:spLocks noChangeArrowheads="1"/>
            </p:cNvSpPr>
            <p:nvPr>
              <p:custDataLst>
                <p:tags r:id="rId8"/>
              </p:custDataLst>
            </p:nvPr>
          </p:nvSpPr>
          <p:spPr bwMode="auto">
            <a:xfrm>
              <a:off x="320" y="145"/>
              <a:ext cx="59"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F497D"/>
                </a:solidFill>
                <a:effectLst/>
                <a:uLnTx/>
                <a:uFillTx/>
                <a:latin typeface="Times New Roman" panose="02020603050405020304" pitchFamily="18" charset="0"/>
                <a:ea typeface="+mn-ea"/>
                <a:cs typeface="Times New Roman" panose="02020603050405020304" pitchFamily="18" charset="0"/>
              </a:endParaRPr>
            </a:p>
          </p:txBody>
        </p:sp>
        <p:sp>
          <p:nvSpPr>
            <p:cNvPr id="181" name="Meeting2"/>
            <p:cNvSpPr>
              <a:spLocks noChangeArrowheads="1"/>
            </p:cNvSpPr>
            <p:nvPr>
              <p:custDataLst>
                <p:tags r:id="rId9"/>
              </p:custDataLst>
            </p:nvPr>
          </p:nvSpPr>
          <p:spPr bwMode="auto">
            <a:xfrm>
              <a:off x="135" y="272"/>
              <a:ext cx="215" cy="9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F497D"/>
                </a:solidFill>
                <a:effectLst/>
                <a:uLnTx/>
                <a:uFillTx/>
                <a:latin typeface="Times New Roman" panose="02020603050405020304" pitchFamily="18" charset="0"/>
                <a:ea typeface="+mn-ea"/>
                <a:cs typeface="Times New Roman" panose="02020603050405020304" pitchFamily="18" charset="0"/>
              </a:endParaRPr>
            </a:p>
          </p:txBody>
        </p:sp>
        <p:sp>
          <p:nvSpPr>
            <p:cNvPr id="205" name="Meeting2"/>
            <p:cNvSpPr>
              <a:spLocks/>
            </p:cNvSpPr>
            <p:nvPr>
              <p:custDataLst>
                <p:tags r:id="rId10"/>
              </p:custDataLst>
            </p:nvPr>
          </p:nvSpPr>
          <p:spPr bwMode="auto">
            <a:xfrm>
              <a:off x="86" y="223"/>
              <a:ext cx="96" cy="98"/>
            </a:xfrm>
            <a:custGeom>
              <a:avLst/>
              <a:gdLst>
                <a:gd name="T0" fmla="*/ 123 w 123"/>
                <a:gd name="T1" fmla="*/ 48 h 125"/>
                <a:gd name="T2" fmla="*/ 63 w 123"/>
                <a:gd name="T3" fmla="*/ 0 h 125"/>
                <a:gd name="T4" fmla="*/ 0 w 123"/>
                <a:gd name="T5" fmla="*/ 63 h 125"/>
                <a:gd name="T6" fmla="*/ 0 w 123"/>
                <a:gd name="T7" fmla="*/ 125 h 125"/>
                <a:gd name="T8" fmla="*/ 38 w 123"/>
                <a:gd name="T9" fmla="*/ 125 h 125"/>
                <a:gd name="T10" fmla="*/ 123 w 123"/>
                <a:gd name="T11" fmla="*/ 48 h 125"/>
              </a:gdLst>
              <a:ahLst/>
              <a:cxnLst>
                <a:cxn ang="0">
                  <a:pos x="T0" y="T1"/>
                </a:cxn>
                <a:cxn ang="0">
                  <a:pos x="T2" y="T3"/>
                </a:cxn>
                <a:cxn ang="0">
                  <a:pos x="T4" y="T5"/>
                </a:cxn>
                <a:cxn ang="0">
                  <a:pos x="T6" y="T7"/>
                </a:cxn>
                <a:cxn ang="0">
                  <a:pos x="T8" y="T9"/>
                </a:cxn>
                <a:cxn ang="0">
                  <a:pos x="T10" y="T11"/>
                </a:cxn>
              </a:cxnLst>
              <a:rect l="0" t="0" r="r" b="b"/>
              <a:pathLst>
                <a:path w="123" h="125">
                  <a:moveTo>
                    <a:pt x="123" y="48"/>
                  </a:moveTo>
                  <a:cubicBezTo>
                    <a:pt x="116" y="20"/>
                    <a:pt x="91" y="0"/>
                    <a:pt x="63" y="0"/>
                  </a:cubicBezTo>
                  <a:cubicBezTo>
                    <a:pt x="27" y="0"/>
                    <a:pt x="0" y="28"/>
                    <a:pt x="0" y="63"/>
                  </a:cubicBezTo>
                  <a:lnTo>
                    <a:pt x="0" y="125"/>
                  </a:lnTo>
                  <a:lnTo>
                    <a:pt x="38" y="125"/>
                  </a:lnTo>
                  <a:cubicBezTo>
                    <a:pt x="38" y="94"/>
                    <a:pt x="66" y="63"/>
                    <a:pt x="123" y="4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F497D"/>
                </a:solidFill>
                <a:effectLst/>
                <a:uLnTx/>
                <a:uFillTx/>
                <a:latin typeface="Times New Roman" panose="02020603050405020304" pitchFamily="18" charset="0"/>
                <a:ea typeface="+mn-ea"/>
                <a:cs typeface="Times New Roman" panose="02020603050405020304" pitchFamily="18" charset="0"/>
              </a:endParaRPr>
            </a:p>
          </p:txBody>
        </p:sp>
        <p:sp>
          <p:nvSpPr>
            <p:cNvPr id="206" name="Meeting2"/>
            <p:cNvSpPr>
              <a:spLocks/>
            </p:cNvSpPr>
            <p:nvPr>
              <p:custDataLst>
                <p:tags r:id="rId11"/>
              </p:custDataLst>
            </p:nvPr>
          </p:nvSpPr>
          <p:spPr bwMode="auto">
            <a:xfrm>
              <a:off x="194" y="194"/>
              <a:ext cx="97" cy="64"/>
            </a:xfrm>
            <a:custGeom>
              <a:avLst/>
              <a:gdLst>
                <a:gd name="T0" fmla="*/ 62 w 125"/>
                <a:gd name="T1" fmla="*/ 75 h 81"/>
                <a:gd name="T2" fmla="*/ 125 w 125"/>
                <a:gd name="T3" fmla="*/ 81 h 81"/>
                <a:gd name="T4" fmla="*/ 125 w 125"/>
                <a:gd name="T5" fmla="*/ 62 h 81"/>
                <a:gd name="T6" fmla="*/ 62 w 125"/>
                <a:gd name="T7" fmla="*/ 0 h 81"/>
                <a:gd name="T8" fmla="*/ 0 w 125"/>
                <a:gd name="T9" fmla="*/ 62 h 81"/>
                <a:gd name="T10" fmla="*/ 0 w 125"/>
                <a:gd name="T11" fmla="*/ 81 h 81"/>
                <a:gd name="T12" fmla="*/ 62 w 125"/>
                <a:gd name="T13" fmla="*/ 75 h 81"/>
              </a:gdLst>
              <a:ahLst/>
              <a:cxnLst>
                <a:cxn ang="0">
                  <a:pos x="T0" y="T1"/>
                </a:cxn>
                <a:cxn ang="0">
                  <a:pos x="T2" y="T3"/>
                </a:cxn>
                <a:cxn ang="0">
                  <a:pos x="T4" y="T5"/>
                </a:cxn>
                <a:cxn ang="0">
                  <a:pos x="T6" y="T7"/>
                </a:cxn>
                <a:cxn ang="0">
                  <a:pos x="T8" y="T9"/>
                </a:cxn>
                <a:cxn ang="0">
                  <a:pos x="T10" y="T11"/>
                </a:cxn>
                <a:cxn ang="0">
                  <a:pos x="T12" y="T13"/>
                </a:cxn>
              </a:cxnLst>
              <a:rect l="0" t="0" r="r" b="b"/>
              <a:pathLst>
                <a:path w="125" h="81">
                  <a:moveTo>
                    <a:pt x="62" y="75"/>
                  </a:moveTo>
                  <a:cubicBezTo>
                    <a:pt x="86" y="75"/>
                    <a:pt x="106" y="77"/>
                    <a:pt x="125" y="81"/>
                  </a:cubicBezTo>
                  <a:lnTo>
                    <a:pt x="125" y="62"/>
                  </a:lnTo>
                  <a:cubicBezTo>
                    <a:pt x="125" y="27"/>
                    <a:pt x="97" y="0"/>
                    <a:pt x="62" y="0"/>
                  </a:cubicBezTo>
                  <a:cubicBezTo>
                    <a:pt x="27" y="0"/>
                    <a:pt x="0" y="27"/>
                    <a:pt x="0" y="62"/>
                  </a:cubicBezTo>
                  <a:lnTo>
                    <a:pt x="0" y="81"/>
                  </a:lnTo>
                  <a:cubicBezTo>
                    <a:pt x="18" y="77"/>
                    <a:pt x="38" y="75"/>
                    <a:pt x="62" y="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F497D"/>
                </a:solidFill>
                <a:effectLst/>
                <a:uLnTx/>
                <a:uFillTx/>
                <a:latin typeface="Times New Roman" panose="02020603050405020304" pitchFamily="18" charset="0"/>
                <a:ea typeface="+mn-ea"/>
                <a:cs typeface="Times New Roman" panose="02020603050405020304" pitchFamily="18" charset="0"/>
              </a:endParaRPr>
            </a:p>
          </p:txBody>
        </p:sp>
        <p:sp>
          <p:nvSpPr>
            <p:cNvPr id="207" name="Meeting2"/>
            <p:cNvSpPr>
              <a:spLocks/>
            </p:cNvSpPr>
            <p:nvPr>
              <p:custDataLst>
                <p:tags r:id="rId12"/>
              </p:custDataLst>
            </p:nvPr>
          </p:nvSpPr>
          <p:spPr bwMode="auto">
            <a:xfrm>
              <a:off x="303" y="223"/>
              <a:ext cx="95" cy="98"/>
            </a:xfrm>
            <a:custGeom>
              <a:avLst/>
              <a:gdLst>
                <a:gd name="T0" fmla="*/ 60 w 122"/>
                <a:gd name="T1" fmla="*/ 0 h 125"/>
                <a:gd name="T2" fmla="*/ 0 w 122"/>
                <a:gd name="T3" fmla="*/ 48 h 125"/>
                <a:gd name="T4" fmla="*/ 85 w 122"/>
                <a:gd name="T5" fmla="*/ 125 h 125"/>
                <a:gd name="T6" fmla="*/ 122 w 122"/>
                <a:gd name="T7" fmla="*/ 125 h 125"/>
                <a:gd name="T8" fmla="*/ 122 w 122"/>
                <a:gd name="T9" fmla="*/ 63 h 125"/>
                <a:gd name="T10" fmla="*/ 60 w 122"/>
                <a:gd name="T11" fmla="*/ 0 h 125"/>
              </a:gdLst>
              <a:ahLst/>
              <a:cxnLst>
                <a:cxn ang="0">
                  <a:pos x="T0" y="T1"/>
                </a:cxn>
                <a:cxn ang="0">
                  <a:pos x="T2" y="T3"/>
                </a:cxn>
                <a:cxn ang="0">
                  <a:pos x="T4" y="T5"/>
                </a:cxn>
                <a:cxn ang="0">
                  <a:pos x="T6" y="T7"/>
                </a:cxn>
                <a:cxn ang="0">
                  <a:pos x="T8" y="T9"/>
                </a:cxn>
                <a:cxn ang="0">
                  <a:pos x="T10" y="T11"/>
                </a:cxn>
              </a:cxnLst>
              <a:rect l="0" t="0" r="r" b="b"/>
              <a:pathLst>
                <a:path w="122" h="125">
                  <a:moveTo>
                    <a:pt x="60" y="0"/>
                  </a:moveTo>
                  <a:cubicBezTo>
                    <a:pt x="31" y="0"/>
                    <a:pt x="6" y="20"/>
                    <a:pt x="0" y="48"/>
                  </a:cubicBezTo>
                  <a:cubicBezTo>
                    <a:pt x="56" y="63"/>
                    <a:pt x="85" y="94"/>
                    <a:pt x="85" y="125"/>
                  </a:cubicBezTo>
                  <a:lnTo>
                    <a:pt x="122" y="125"/>
                  </a:lnTo>
                  <a:lnTo>
                    <a:pt x="122" y="63"/>
                  </a:lnTo>
                  <a:cubicBezTo>
                    <a:pt x="122" y="28"/>
                    <a:pt x="94" y="0"/>
                    <a:pt x="6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F497D"/>
                </a:solidFill>
                <a:effectLst/>
                <a:uLnTx/>
                <a:uFillTx/>
                <a:latin typeface="Times New Roman" panose="02020603050405020304" pitchFamily="18" charset="0"/>
                <a:ea typeface="+mn-ea"/>
                <a:cs typeface="Times New Roman" panose="02020603050405020304" pitchFamily="18" charset="0"/>
              </a:endParaRPr>
            </a:p>
          </p:txBody>
        </p:sp>
      </p:grpSp>
      <p:pic>
        <p:nvPicPr>
          <p:cNvPr id="108" name="Picture 3"/>
          <p:cNvPicPr>
            <a:picLocks noChangeAspect="1" noChangeArrowheads="1"/>
          </p:cNvPicPr>
          <p:nvPr/>
        </p:nvPicPr>
        <p:blipFill>
          <a:blip r:embed="rId56" cstate="print"/>
          <a:srcRect/>
          <a:stretch>
            <a:fillRect/>
          </a:stretch>
        </p:blipFill>
        <p:spPr bwMode="auto">
          <a:xfrm>
            <a:off x="308625" y="246240"/>
            <a:ext cx="960106" cy="677217"/>
          </a:xfrm>
          <a:prstGeom prst="rect">
            <a:avLst/>
          </a:prstGeom>
          <a:noFill/>
          <a:ln w="9525">
            <a:noFill/>
            <a:miter lim="800000"/>
            <a:headEnd/>
            <a:tailEnd/>
          </a:ln>
        </p:spPr>
      </p:pic>
      <p:sp>
        <p:nvSpPr>
          <p:cNvPr id="3" name="Slayt Numarası Yer Tutucusu 2"/>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25</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custDataLst>
      <p:tags r:id="rId1"/>
    </p:custDataLst>
    <p:extLst>
      <p:ext uri="{BB962C8B-B14F-4D97-AF65-F5344CB8AC3E}">
        <p14:creationId xmlns:p14="http://schemas.microsoft.com/office/powerpoint/2010/main" val="2385202302"/>
      </p:ext>
    </p:extLst>
  </p:cSld>
  <p:clrMapOvr>
    <a:masterClrMapping/>
  </p:clrMapOvr>
  <mc:AlternateContent xmlns:mc="http://schemas.openxmlformats.org/markup-compatibility/2006" xmlns:p14="http://schemas.microsoft.com/office/powerpoint/2010/main">
    <mc:Choice Requires="p14">
      <p:transition p14:dur="0" advTm="143410"/>
    </mc:Choice>
    <mc:Fallback xmlns="">
      <p:transition advTm="143410"/>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E57A65E-D972-41AB-9353-C645002466BA}"/>
              </a:ext>
            </a:extLst>
          </p:cNvPr>
          <p:cNvGrpSpPr/>
          <p:nvPr/>
        </p:nvGrpSpPr>
        <p:grpSpPr>
          <a:xfrm>
            <a:off x="615810" y="1594033"/>
            <a:ext cx="2062716" cy="4292198"/>
            <a:chOff x="667744" y="1100589"/>
            <a:chExt cx="2062836" cy="3902224"/>
          </a:xfrm>
        </p:grpSpPr>
        <p:sp>
          <p:nvSpPr>
            <p:cNvPr id="5" name="Freeform: Shape 4">
              <a:extLst>
                <a:ext uri="{FF2B5EF4-FFF2-40B4-BE49-F238E27FC236}">
                  <a16:creationId xmlns:a16="http://schemas.microsoft.com/office/drawing/2014/main" id="{F74396C4-0B67-4615-8CAC-3AEB51BCC54F}"/>
                </a:ext>
              </a:extLst>
            </p:cNvPr>
            <p:cNvSpPr/>
            <p:nvPr/>
          </p:nvSpPr>
          <p:spPr>
            <a:xfrm flipH="1">
              <a:off x="667744" y="1100589"/>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2007" b="1" i="0" u="none" strike="noStrike" kern="1200" cap="none" spc="0" normalizeH="0" baseline="0" noProof="0" dirty="0">
                  <a:ln>
                    <a:noFill/>
                  </a:ln>
                  <a:solidFill>
                    <a:prstClr val="white"/>
                  </a:solidFill>
                  <a:effectLst/>
                  <a:uLnTx/>
                  <a:uFillTx/>
                  <a:latin typeface="Calibri"/>
                  <a:ea typeface="+mn-ea"/>
                  <a:cs typeface="+mn-cs"/>
                </a:rPr>
                <a:t>Yararlanıcılar</a:t>
              </a:r>
              <a:endParaRPr kumimoji="0" lang="en-US" sz="2007" b="1" i="0" u="none" strike="noStrike" kern="1200" cap="none" spc="0" normalizeH="0" baseline="0" noProof="0" dirty="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447209E4-2648-4ED1-8258-3BC06C152E73}"/>
                </a:ext>
              </a:extLst>
            </p:cNvPr>
            <p:cNvSpPr/>
            <p:nvPr/>
          </p:nvSpPr>
          <p:spPr>
            <a:xfrm>
              <a:off x="667744" y="2028520"/>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2007" b="1" i="0" u="none" strike="noStrike" kern="1200" cap="none" spc="0" normalizeH="0" baseline="0" noProof="0" dirty="0">
                  <a:ln>
                    <a:noFill/>
                  </a:ln>
                  <a:solidFill>
                    <a:prstClr val="white"/>
                  </a:solidFill>
                  <a:effectLst/>
                  <a:uLnTx/>
                  <a:uFillTx/>
                  <a:latin typeface="Calibri"/>
                  <a:ea typeface="+mn-ea"/>
                  <a:cs typeface="+mn-cs"/>
                </a:rPr>
                <a:t>Başvuru</a:t>
              </a:r>
              <a:endParaRPr kumimoji="0" lang="en-US" sz="2007" b="1" i="0" u="none" strike="noStrike" kern="1200" cap="none" spc="0" normalizeH="0" baseline="0" noProof="0" dirty="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36D3E309-45B5-4786-B5F7-C5D2BAAA5A37}"/>
                </a:ext>
              </a:extLst>
            </p:cNvPr>
            <p:cNvSpPr/>
            <p:nvPr/>
          </p:nvSpPr>
          <p:spPr>
            <a:xfrm>
              <a:off x="671003" y="3884382"/>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2007" b="1" i="0" u="none" strike="noStrike" kern="1200" cap="none" spc="0" normalizeH="0" baseline="0" noProof="0" dirty="0">
                  <a:ln>
                    <a:noFill/>
                  </a:ln>
                  <a:solidFill>
                    <a:prstClr val="white"/>
                  </a:solidFill>
                  <a:effectLst/>
                  <a:uLnTx/>
                  <a:uFillTx/>
                  <a:latin typeface="Calibri"/>
                  <a:ea typeface="+mn-ea"/>
                  <a:cs typeface="+mn-cs"/>
                </a:rPr>
                <a:t>Konaklama</a:t>
              </a:r>
              <a:endParaRPr kumimoji="0" lang="en-US" sz="2007"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Shape 8">
              <a:extLst>
                <a:ext uri="{FF2B5EF4-FFF2-40B4-BE49-F238E27FC236}">
                  <a16:creationId xmlns:a16="http://schemas.microsoft.com/office/drawing/2014/main" id="{28B91244-E586-4D8C-8BFE-E6A786B2EB09}"/>
                </a:ext>
              </a:extLst>
            </p:cNvPr>
            <p:cNvSpPr/>
            <p:nvPr/>
          </p:nvSpPr>
          <p:spPr>
            <a:xfrm flipH="1">
              <a:off x="684066" y="2956451"/>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2007" b="1" i="0" u="none" strike="noStrike" kern="1200" cap="none" spc="0" normalizeH="0" baseline="0" noProof="0" dirty="0">
                  <a:ln>
                    <a:noFill/>
                  </a:ln>
                  <a:solidFill>
                    <a:prstClr val="white"/>
                  </a:solidFill>
                  <a:effectLst/>
                  <a:uLnTx/>
                  <a:uFillTx/>
                  <a:latin typeface="Calibri"/>
                  <a:ea typeface="+mn-ea"/>
                  <a:cs typeface="+mn-cs"/>
                </a:rPr>
                <a:t>Liste</a:t>
              </a:r>
              <a:endParaRPr kumimoji="0" lang="en-US" sz="2007" b="1"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10" name="Straight Connector 9">
            <a:extLst>
              <a:ext uri="{FF2B5EF4-FFF2-40B4-BE49-F238E27FC236}">
                <a16:creationId xmlns:a16="http://schemas.microsoft.com/office/drawing/2014/main" id="{6F96DF5F-8737-4233-B29D-7B0A0A40542A}"/>
              </a:ext>
            </a:extLst>
          </p:cNvPr>
          <p:cNvCxnSpPr>
            <a:cxnSpLocks/>
          </p:cNvCxnSpPr>
          <p:nvPr/>
        </p:nvCxnSpPr>
        <p:spPr>
          <a:xfrm>
            <a:off x="3027948" y="1557908"/>
            <a:ext cx="857827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68CD7E8-C930-4FF3-8C7A-DC44E26A8748}"/>
              </a:ext>
            </a:extLst>
          </p:cNvPr>
          <p:cNvCxnSpPr>
            <a:cxnSpLocks/>
          </p:cNvCxnSpPr>
          <p:nvPr/>
        </p:nvCxnSpPr>
        <p:spPr>
          <a:xfrm>
            <a:off x="3027948" y="2573268"/>
            <a:ext cx="857827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651E2FA-26C3-4D25-A9DD-2BA83EF73A91}"/>
              </a:ext>
            </a:extLst>
          </p:cNvPr>
          <p:cNvCxnSpPr>
            <a:cxnSpLocks/>
          </p:cNvCxnSpPr>
          <p:nvPr/>
        </p:nvCxnSpPr>
        <p:spPr>
          <a:xfrm>
            <a:off x="3027948" y="3588629"/>
            <a:ext cx="857827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96A048-70B4-463B-A49D-587982A2D9DF}"/>
              </a:ext>
            </a:extLst>
          </p:cNvPr>
          <p:cNvCxnSpPr>
            <a:cxnSpLocks/>
          </p:cNvCxnSpPr>
          <p:nvPr/>
        </p:nvCxnSpPr>
        <p:spPr>
          <a:xfrm>
            <a:off x="3027948" y="4603989"/>
            <a:ext cx="857827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CCC2086-991F-4721-9542-189EA36ACB77}"/>
              </a:ext>
            </a:extLst>
          </p:cNvPr>
          <p:cNvCxnSpPr>
            <a:cxnSpLocks/>
          </p:cNvCxnSpPr>
          <p:nvPr/>
        </p:nvCxnSpPr>
        <p:spPr>
          <a:xfrm>
            <a:off x="3027948" y="5619349"/>
            <a:ext cx="857827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D11AFFF5-18F7-411F-80BA-3ADC8770EFD3}"/>
              </a:ext>
            </a:extLst>
          </p:cNvPr>
          <p:cNvSpPr>
            <a:spLocks noChangeAspect="1"/>
          </p:cNvSpPr>
          <p:nvPr/>
        </p:nvSpPr>
        <p:spPr>
          <a:xfrm>
            <a:off x="3027947" y="1802066"/>
            <a:ext cx="527046" cy="52704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1</a:t>
            </a:r>
          </a:p>
        </p:txBody>
      </p:sp>
      <p:sp>
        <p:nvSpPr>
          <p:cNvPr id="17" name="Oval 16">
            <a:extLst>
              <a:ext uri="{FF2B5EF4-FFF2-40B4-BE49-F238E27FC236}">
                <a16:creationId xmlns:a16="http://schemas.microsoft.com/office/drawing/2014/main" id="{BADF4E0B-B160-4F66-A782-587D63C3D362}"/>
              </a:ext>
            </a:extLst>
          </p:cNvPr>
          <p:cNvSpPr>
            <a:spLocks noChangeAspect="1"/>
          </p:cNvSpPr>
          <p:nvPr/>
        </p:nvSpPr>
        <p:spPr>
          <a:xfrm>
            <a:off x="3027947" y="2817426"/>
            <a:ext cx="527046" cy="52704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2</a:t>
            </a:r>
          </a:p>
        </p:txBody>
      </p:sp>
      <p:sp>
        <p:nvSpPr>
          <p:cNvPr id="18" name="Oval 17">
            <a:extLst>
              <a:ext uri="{FF2B5EF4-FFF2-40B4-BE49-F238E27FC236}">
                <a16:creationId xmlns:a16="http://schemas.microsoft.com/office/drawing/2014/main" id="{150C6C1A-0E5D-4071-B2DB-55B5D498B4FA}"/>
              </a:ext>
            </a:extLst>
          </p:cNvPr>
          <p:cNvSpPr>
            <a:spLocks noChangeAspect="1"/>
          </p:cNvSpPr>
          <p:nvPr/>
        </p:nvSpPr>
        <p:spPr>
          <a:xfrm>
            <a:off x="3027947" y="3832786"/>
            <a:ext cx="527046" cy="5270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3</a:t>
            </a:r>
          </a:p>
        </p:txBody>
      </p:sp>
      <p:sp>
        <p:nvSpPr>
          <p:cNvPr id="19" name="Oval 18">
            <a:extLst>
              <a:ext uri="{FF2B5EF4-FFF2-40B4-BE49-F238E27FC236}">
                <a16:creationId xmlns:a16="http://schemas.microsoft.com/office/drawing/2014/main" id="{1FAA72E7-0FA7-40F1-9F16-3E459D3C666D}"/>
              </a:ext>
            </a:extLst>
          </p:cNvPr>
          <p:cNvSpPr>
            <a:spLocks noChangeAspect="1"/>
          </p:cNvSpPr>
          <p:nvPr/>
        </p:nvSpPr>
        <p:spPr>
          <a:xfrm>
            <a:off x="3027947" y="4848146"/>
            <a:ext cx="527046" cy="5270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4</a:t>
            </a:r>
          </a:p>
        </p:txBody>
      </p:sp>
      <p:sp>
        <p:nvSpPr>
          <p:cNvPr id="21" name="Rectangle 20">
            <a:extLst>
              <a:ext uri="{FF2B5EF4-FFF2-40B4-BE49-F238E27FC236}">
                <a16:creationId xmlns:a16="http://schemas.microsoft.com/office/drawing/2014/main" id="{E3E421DD-7F73-48C5-BDA3-451A3E2EF995}"/>
              </a:ext>
            </a:extLst>
          </p:cNvPr>
          <p:cNvSpPr/>
          <p:nvPr/>
        </p:nvSpPr>
        <p:spPr>
          <a:xfrm>
            <a:off x="3696928" y="1557909"/>
            <a:ext cx="7885153" cy="1015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2007" b="0" i="0" u="none" strike="noStrike" kern="1200" cap="none" spc="0" normalizeH="0" baseline="0" noProof="0" dirty="0" err="1">
                <a:ln>
                  <a:noFill/>
                </a:ln>
                <a:solidFill>
                  <a:prstClr val="black"/>
                </a:solidFill>
                <a:effectLst/>
                <a:uLnTx/>
                <a:uFillTx/>
                <a:latin typeface="Calibri"/>
                <a:ea typeface="+mn-ea"/>
                <a:cs typeface="+mn-cs"/>
              </a:rPr>
              <a:t>Ar-Ge</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ve</a:t>
            </a:r>
            <a:r>
              <a:rPr kumimoji="0" lang="en-US" sz="2007" b="0" i="0" u="none" strike="noStrike" kern="1200" cap="none" spc="0" normalizeH="0" baseline="0" noProof="0" dirty="0">
                <a:ln>
                  <a:noFill/>
                </a:ln>
                <a:solidFill>
                  <a:prstClr val="black"/>
                </a:solidFill>
                <a:effectLst/>
                <a:uLnTx/>
                <a:uFillTx/>
                <a:latin typeface="Calibri"/>
                <a:ea typeface="+mn-ea"/>
                <a:cs typeface="+mn-cs"/>
              </a:rPr>
              <a:t>/</a:t>
            </a:r>
            <a:r>
              <a:rPr kumimoji="0" lang="en-US" sz="2007" b="0" i="0" u="none" strike="noStrike" kern="1200" cap="none" spc="0" normalizeH="0" baseline="0" noProof="0" dirty="0" err="1">
                <a:ln>
                  <a:noFill/>
                </a:ln>
                <a:solidFill>
                  <a:prstClr val="black"/>
                </a:solidFill>
                <a:effectLst/>
                <a:uLnTx/>
                <a:uFillTx/>
                <a:latin typeface="Calibri"/>
                <a:ea typeface="+mn-ea"/>
                <a:cs typeface="+mn-cs"/>
              </a:rPr>
              <a:t>veya</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inovasyon</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projesi</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kamu</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kaynakları</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ile</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desteklenerek</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başarı</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ile</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tamamlanmış</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işletmeler</a:t>
            </a:r>
            <a:r>
              <a:rPr kumimoji="0" lang="tr-TR" sz="2007" b="0" i="0" u="none" strike="noStrike" kern="1200" cap="none" spc="0" normalizeH="0" baseline="0" noProof="0" dirty="0">
                <a:ln>
                  <a:noFill/>
                </a:ln>
                <a:solidFill>
                  <a:prstClr val="black"/>
                </a:solidFill>
                <a:effectLst/>
                <a:uLnTx/>
                <a:uFillTx/>
                <a:latin typeface="Calibri"/>
                <a:ea typeface="+mn-ea"/>
                <a:cs typeface="+mn-cs"/>
              </a:rPr>
              <a:t> desteklenir</a:t>
            </a:r>
            <a:endParaRPr kumimoji="0" lang="en-US" sz="2007"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EAEA28A2-3B7A-4F81-8E2F-726011B03030}"/>
              </a:ext>
            </a:extLst>
          </p:cNvPr>
          <p:cNvSpPr/>
          <p:nvPr/>
        </p:nvSpPr>
        <p:spPr>
          <a:xfrm>
            <a:off x="3696928" y="2576218"/>
            <a:ext cx="7885153" cy="1015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2007" b="0" i="0" u="none" strike="noStrike" kern="1200" cap="none" spc="0" normalizeH="0" baseline="0" noProof="0" dirty="0" err="1">
                <a:ln>
                  <a:noFill/>
                </a:ln>
                <a:solidFill>
                  <a:prstClr val="black"/>
                </a:solidFill>
                <a:effectLst/>
                <a:uLnTx/>
                <a:uFillTx/>
                <a:latin typeface="Calibri"/>
                <a:ea typeface="+mn-ea"/>
                <a:cs typeface="+mn-cs"/>
              </a:rPr>
              <a:t>Bireysel</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olarak</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katılım</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sağlanacak</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uluslararası</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hızlandırıcılar</a:t>
            </a:r>
            <a:r>
              <a:rPr kumimoji="0" lang="tr-TR" sz="2007" b="0" i="0" u="none" strike="noStrike" kern="1200" cap="none" spc="0" normalizeH="0" baseline="0" noProof="0" dirty="0">
                <a:ln>
                  <a:noFill/>
                </a:ln>
                <a:solidFill>
                  <a:prstClr val="black"/>
                </a:solidFill>
                <a:effectLst/>
                <a:uLnTx/>
                <a:uFillTx/>
                <a:latin typeface="Calibri"/>
                <a:ea typeface="+mn-ea"/>
                <a:cs typeface="+mn-cs"/>
              </a:rPr>
              <a:t> Başkanlık tarafından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belirlenir</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0" i="0" u="none" strike="noStrike" kern="1200" cap="none" spc="0" normalizeH="0" baseline="0" noProof="0" dirty="0" err="1">
                <a:ln>
                  <a:noFill/>
                </a:ln>
                <a:solidFill>
                  <a:prstClr val="black"/>
                </a:solidFill>
                <a:effectLst/>
                <a:uLnTx/>
                <a:uFillTx/>
                <a:latin typeface="Calibri"/>
                <a:ea typeface="+mn-ea"/>
                <a:cs typeface="+mn-cs"/>
              </a:rPr>
              <a:t>ve</a:t>
            </a:r>
            <a:r>
              <a:rPr kumimoji="0" lang="en-US" sz="2007" b="0" i="0" u="none" strike="noStrike" kern="1200" cap="none" spc="0" normalizeH="0" baseline="0" noProof="0" dirty="0">
                <a:ln>
                  <a:noFill/>
                </a:ln>
                <a:solidFill>
                  <a:prstClr val="black"/>
                </a:solidFill>
                <a:effectLst/>
                <a:uLnTx/>
                <a:uFillTx/>
                <a:latin typeface="Calibri"/>
                <a:ea typeface="+mn-ea"/>
                <a:cs typeface="+mn-cs"/>
              </a:rPr>
              <a:t> </a:t>
            </a:r>
            <a:r>
              <a:rPr kumimoji="0" lang="en-US" sz="2007" b="1" i="0" u="none" strike="noStrike" kern="1200" cap="none" spc="0" normalizeH="0" baseline="0" noProof="0" dirty="0">
                <a:ln>
                  <a:noFill/>
                </a:ln>
                <a:solidFill>
                  <a:prstClr val="black"/>
                </a:solidFill>
                <a:effectLst/>
                <a:uLnTx/>
                <a:uFillTx/>
                <a:latin typeface="Calibri"/>
                <a:ea typeface="+mn-ea"/>
                <a:cs typeface="+mn-cs"/>
              </a:rPr>
              <a:t>www.kosgeb.gov.tr internet </a:t>
            </a:r>
            <a:r>
              <a:rPr kumimoji="0" lang="en-US" sz="2007" b="1" i="0" u="none" strike="noStrike" kern="1200" cap="none" spc="0" normalizeH="0" baseline="0" noProof="0" dirty="0" err="1">
                <a:ln>
                  <a:noFill/>
                </a:ln>
                <a:solidFill>
                  <a:prstClr val="black"/>
                </a:solidFill>
                <a:effectLst/>
                <a:uLnTx/>
                <a:uFillTx/>
                <a:latin typeface="Calibri"/>
                <a:ea typeface="+mn-ea"/>
                <a:cs typeface="+mn-cs"/>
              </a:rPr>
              <a:t>adresinde</a:t>
            </a:r>
            <a:r>
              <a:rPr kumimoji="0" lang="en-US" sz="2007" b="1" i="0" u="none" strike="noStrike" kern="1200" cap="none" spc="0" normalizeH="0" baseline="0" noProof="0" dirty="0">
                <a:ln>
                  <a:noFill/>
                </a:ln>
                <a:solidFill>
                  <a:prstClr val="black"/>
                </a:solidFill>
                <a:effectLst/>
                <a:uLnTx/>
                <a:uFillTx/>
                <a:latin typeface="Calibri"/>
                <a:ea typeface="+mn-ea"/>
                <a:cs typeface="+mn-cs"/>
              </a:rPr>
              <a:t> </a:t>
            </a:r>
            <a:r>
              <a:rPr kumimoji="0" lang="en-US" sz="2007" b="1" i="0" u="none" strike="noStrike" kern="1200" cap="none" spc="0" normalizeH="0" baseline="0" noProof="0" dirty="0" err="1">
                <a:ln>
                  <a:noFill/>
                </a:ln>
                <a:solidFill>
                  <a:prstClr val="black"/>
                </a:solidFill>
                <a:effectLst/>
                <a:uLnTx/>
                <a:uFillTx/>
                <a:latin typeface="Calibri"/>
                <a:ea typeface="+mn-ea"/>
                <a:cs typeface="+mn-cs"/>
              </a:rPr>
              <a:t>yayınlanır</a:t>
            </a:r>
            <a:endParaRPr kumimoji="0" lang="en-US" sz="2007" b="1"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61E2407D-97B3-4CF4-8F03-F12333D4588D}"/>
              </a:ext>
            </a:extLst>
          </p:cNvPr>
          <p:cNvSpPr/>
          <p:nvPr/>
        </p:nvSpPr>
        <p:spPr>
          <a:xfrm>
            <a:off x="3696928" y="3594526"/>
            <a:ext cx="7885153" cy="1015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tr-TR" sz="2007" b="0" i="0" u="none" strike="noStrike" kern="1200" cap="none" spc="0" normalizeH="0" baseline="0" noProof="0" dirty="0">
                <a:ln>
                  <a:noFill/>
                </a:ln>
                <a:solidFill>
                  <a:prstClr val="black"/>
                </a:solidFill>
                <a:effectLst/>
                <a:uLnTx/>
                <a:uFillTx/>
                <a:latin typeface="Calibri"/>
                <a:ea typeface="+mn-ea"/>
                <a:cs typeface="+mn-cs"/>
              </a:rPr>
              <a:t>Şuan için </a:t>
            </a:r>
            <a:r>
              <a:rPr kumimoji="0" lang="tr-TR" sz="2007" b="1" i="0" u="none" strike="noStrike" kern="1200" cap="none" spc="0" normalizeH="0" baseline="0" noProof="0" dirty="0" err="1">
                <a:ln>
                  <a:noFill/>
                </a:ln>
                <a:solidFill>
                  <a:prstClr val="black"/>
                </a:solidFill>
                <a:effectLst/>
                <a:uLnTx/>
                <a:uFillTx/>
                <a:latin typeface="Calibri"/>
                <a:ea typeface="+mn-ea"/>
                <a:cs typeface="+mn-cs"/>
              </a:rPr>
              <a:t>Growth</a:t>
            </a:r>
            <a:r>
              <a:rPr kumimoji="0" lang="tr-TR" sz="2007" b="1" i="0" u="none" strike="noStrike" kern="1200" cap="none" spc="0" normalizeH="0" baseline="0" noProof="0" dirty="0">
                <a:ln>
                  <a:noFill/>
                </a:ln>
                <a:solidFill>
                  <a:prstClr val="black"/>
                </a:solidFill>
                <a:effectLst/>
                <a:uLnTx/>
                <a:uFillTx/>
                <a:latin typeface="Calibri"/>
                <a:ea typeface="+mn-ea"/>
                <a:cs typeface="+mn-cs"/>
              </a:rPr>
              <a:t> </a:t>
            </a:r>
            <a:r>
              <a:rPr kumimoji="0" lang="tr-TR" sz="2007" b="1" i="0" u="none" strike="noStrike" kern="1200" cap="none" spc="0" normalizeH="0" baseline="0" noProof="0" dirty="0" err="1">
                <a:ln>
                  <a:noFill/>
                </a:ln>
                <a:solidFill>
                  <a:prstClr val="black"/>
                </a:solidFill>
                <a:effectLst/>
                <a:uLnTx/>
                <a:uFillTx/>
                <a:latin typeface="Calibri"/>
                <a:ea typeface="+mn-ea"/>
                <a:cs typeface="+mn-cs"/>
              </a:rPr>
              <a:t>Circuit</a:t>
            </a:r>
            <a:r>
              <a:rPr kumimoji="0" lang="tr-TR" sz="2007" b="1" i="0" u="none" strike="noStrike" kern="1200" cap="none" spc="0" normalizeH="0" baseline="0" noProof="0" dirty="0">
                <a:ln>
                  <a:noFill/>
                </a:ln>
                <a:solidFill>
                  <a:prstClr val="black"/>
                </a:solidFill>
                <a:effectLst/>
                <a:uLnTx/>
                <a:uFillTx/>
                <a:latin typeface="Calibri"/>
                <a:ea typeface="+mn-ea"/>
                <a:cs typeface="+mn-cs"/>
              </a:rPr>
              <a:t> ve </a:t>
            </a:r>
            <a:r>
              <a:rPr kumimoji="0" lang="tr-TR" sz="2007" b="1" i="0" u="none" strike="noStrike" kern="1200" cap="none" spc="0" normalizeH="0" baseline="0" noProof="0" dirty="0" err="1">
                <a:ln>
                  <a:noFill/>
                </a:ln>
                <a:solidFill>
                  <a:prstClr val="black"/>
                </a:solidFill>
                <a:effectLst/>
                <a:uLnTx/>
                <a:uFillTx/>
                <a:latin typeface="Calibri"/>
                <a:ea typeface="+mn-ea"/>
                <a:cs typeface="+mn-cs"/>
              </a:rPr>
              <a:t>Starcamp’in</a:t>
            </a:r>
            <a:r>
              <a:rPr kumimoji="0" lang="tr-TR" sz="2007" b="1" i="0" u="none" strike="noStrike" kern="1200" cap="none" spc="0" normalizeH="0" baseline="0" noProof="0" dirty="0">
                <a:ln>
                  <a:noFill/>
                </a:ln>
                <a:solidFill>
                  <a:prstClr val="black"/>
                </a:solidFill>
                <a:effectLst/>
                <a:uLnTx/>
                <a:uFillTx/>
                <a:latin typeface="Calibri"/>
                <a:ea typeface="+mn-ea"/>
                <a:cs typeface="+mn-cs"/>
              </a:rPr>
              <a:t> </a:t>
            </a:r>
            <a:r>
              <a:rPr kumimoji="0" lang="tr-TR" sz="2007" b="0" i="0" u="none" strike="noStrike" kern="1200" cap="none" spc="0" normalizeH="0" baseline="0" noProof="0" dirty="0">
                <a:ln>
                  <a:noFill/>
                </a:ln>
                <a:solidFill>
                  <a:prstClr val="black"/>
                </a:solidFill>
                <a:effectLst/>
                <a:uLnTx/>
                <a:uFillTx/>
                <a:latin typeface="Calibri"/>
                <a:ea typeface="+mn-ea"/>
                <a:cs typeface="+mn-cs"/>
              </a:rPr>
              <a:t>düzenlemiş olduğu hızlandırıcı programları bu kapsamdadır</a:t>
            </a:r>
            <a:endParaRPr kumimoji="0" lang="en-US" sz="2007"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D32CF6D2-EB84-48EA-89DE-6CAD6AE383EC}"/>
              </a:ext>
            </a:extLst>
          </p:cNvPr>
          <p:cNvSpPr/>
          <p:nvPr/>
        </p:nvSpPr>
        <p:spPr>
          <a:xfrm>
            <a:off x="3696928" y="4612836"/>
            <a:ext cx="7885153" cy="1015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tr-TR" sz="2007" b="0" i="0" u="none" strike="noStrike" kern="1200" cap="none" spc="0" normalizeH="0" baseline="0" noProof="0" dirty="0">
                <a:ln>
                  <a:noFill/>
                </a:ln>
                <a:solidFill>
                  <a:prstClr val="black"/>
                </a:solidFill>
                <a:effectLst/>
                <a:uLnTx/>
                <a:uFillTx/>
                <a:latin typeface="Calibri"/>
                <a:ea typeface="+mn-ea"/>
                <a:cs typeface="+mn-cs"/>
              </a:rPr>
              <a:t>Bireysel olarak katılım sağlanacak her bir Uluslararası Hızlandırıcı Programı için </a:t>
            </a:r>
            <a:r>
              <a:rPr kumimoji="0" lang="tr-TR" sz="2007" b="1" i="0" u="none" strike="noStrike" kern="1200" cap="none" spc="0" normalizeH="0" baseline="0" noProof="0" dirty="0">
                <a:ln>
                  <a:noFill/>
                </a:ln>
                <a:solidFill>
                  <a:prstClr val="black"/>
                </a:solidFill>
                <a:effectLst/>
                <a:uLnTx/>
                <a:uFillTx/>
                <a:latin typeface="Calibri"/>
                <a:ea typeface="+mn-ea"/>
                <a:cs typeface="+mn-cs"/>
              </a:rPr>
              <a:t>30 günü geçmeyecek şekilde konaklama</a:t>
            </a:r>
            <a:r>
              <a:rPr kumimoji="0" lang="tr-TR" sz="2007" b="0" i="0" u="none" strike="noStrike" kern="1200" cap="none" spc="0" normalizeH="0" baseline="0" noProof="0" dirty="0">
                <a:ln>
                  <a:noFill/>
                </a:ln>
                <a:solidFill>
                  <a:prstClr val="black"/>
                </a:solidFill>
                <a:effectLst/>
                <a:uLnTx/>
                <a:uFillTx/>
                <a:latin typeface="Calibri"/>
                <a:ea typeface="+mn-ea"/>
                <a:cs typeface="+mn-cs"/>
              </a:rPr>
              <a:t> giderleri desteklenmektedir  </a:t>
            </a:r>
            <a:endParaRPr kumimoji="0" lang="en-US" sz="2007" b="0" i="0" u="none" strike="noStrike" kern="1200" cap="none" spc="0" normalizeH="0" baseline="0" noProof="0" dirty="0">
              <a:ln>
                <a:noFill/>
              </a:ln>
              <a:solidFill>
                <a:prstClr val="black"/>
              </a:solidFill>
              <a:effectLst/>
              <a:uLnTx/>
              <a:uFillTx/>
              <a:latin typeface="Calibri"/>
              <a:ea typeface="+mn-ea"/>
              <a:cs typeface="+mn-cs"/>
            </a:endParaRPr>
          </a:p>
        </p:txBody>
      </p:sp>
      <p:pic>
        <p:nvPicPr>
          <p:cNvPr id="29" name="Picture 3"/>
          <p:cNvPicPr>
            <a:picLocks noChangeAspect="1" noChangeArrowheads="1"/>
          </p:cNvPicPr>
          <p:nvPr/>
        </p:nvPicPr>
        <p:blipFill>
          <a:blip r:embed="rId3" cstate="print"/>
          <a:srcRect/>
          <a:stretch>
            <a:fillRect/>
          </a:stretch>
        </p:blipFill>
        <p:spPr bwMode="auto">
          <a:xfrm>
            <a:off x="615810" y="319043"/>
            <a:ext cx="722715" cy="509772"/>
          </a:xfrm>
          <a:prstGeom prst="rect">
            <a:avLst/>
          </a:prstGeom>
          <a:noFill/>
          <a:ln w="9525">
            <a:noFill/>
            <a:miter lim="800000"/>
            <a:headEnd/>
            <a:tailEnd/>
          </a:ln>
        </p:spPr>
      </p:pic>
      <p:sp>
        <p:nvSpPr>
          <p:cNvPr id="30" name="3 Metin kutusu"/>
          <p:cNvSpPr txBox="1"/>
          <p:nvPr/>
        </p:nvSpPr>
        <p:spPr>
          <a:xfrm>
            <a:off x="720219" y="280050"/>
            <a:ext cx="9947358" cy="5866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12" b="1" i="0" u="none" strike="noStrike" kern="1200" cap="none" spc="0" normalizeH="0" baseline="0" noProof="0" dirty="0">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Bireysel Uluslararası Hızlandırıcı Programı</a:t>
            </a:r>
          </a:p>
        </p:txBody>
      </p:sp>
      <p:sp>
        <p:nvSpPr>
          <p:cNvPr id="3" name="Slayt Numarası Yer Tutucusu 2"/>
          <p:cNvSpPr>
            <a:spLocks noGrp="1"/>
          </p:cNvSpPr>
          <p:nvPr>
            <p:ph type="sldNum" sz="quarter" idx="12"/>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4388" rtl="0" eaLnBrk="1" fontAlgn="auto" latinLnBrk="0" hangingPunct="1">
                <a:lnSpc>
                  <a:spcPct val="100000"/>
                </a:lnSpc>
                <a:spcBef>
                  <a:spcPts val="0"/>
                </a:spcBef>
                <a:spcAft>
                  <a:spcPts val="0"/>
                </a:spcAft>
                <a:buClrTx/>
                <a:buSzTx/>
                <a:buFontTx/>
                <a:buNone/>
                <a:tabLst/>
                <a:defRPr/>
              </a:pPr>
              <a:t>26</a:t>
            </a:fld>
            <a:endParaRPr kumimoji="0" lang="en-CA" sz="1600"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custDataLst>
      <p:tags r:id="rId1"/>
    </p:custDataLst>
    <p:extLst>
      <p:ext uri="{BB962C8B-B14F-4D97-AF65-F5344CB8AC3E}">
        <p14:creationId xmlns:p14="http://schemas.microsoft.com/office/powerpoint/2010/main" val="1074487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3" cstate="print"/>
          <a:srcRect/>
          <a:stretch>
            <a:fillRect/>
          </a:stretch>
        </p:blipFill>
        <p:spPr bwMode="auto">
          <a:xfrm>
            <a:off x="10938190" y="332996"/>
            <a:ext cx="960106" cy="677217"/>
          </a:xfrm>
          <a:prstGeom prst="rect">
            <a:avLst/>
          </a:prstGeom>
          <a:noFill/>
          <a:ln w="9525">
            <a:noFill/>
            <a:miter lim="800000"/>
            <a:headEnd/>
            <a:tailEnd/>
          </a:ln>
        </p:spPr>
      </p:pic>
      <p:sp>
        <p:nvSpPr>
          <p:cNvPr id="6" name="Slayt Numarası Yer Tutucusu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2" name="Resim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
            <a:ext cx="8717548" cy="4741817"/>
          </a:xfrm>
          <a:prstGeom prst="rect">
            <a:avLst/>
          </a:prstGeom>
        </p:spPr>
      </p:pic>
      <p:sp>
        <p:nvSpPr>
          <p:cNvPr id="4" name="Dikdörtgen 3"/>
          <p:cNvSpPr/>
          <p:nvPr/>
        </p:nvSpPr>
        <p:spPr>
          <a:xfrm>
            <a:off x="3147934" y="3309614"/>
            <a:ext cx="9044066" cy="3650105"/>
          </a:xfrm>
          <a:prstGeom prst="rect">
            <a:avLst/>
          </a:prstGeom>
          <a:solidFill>
            <a:schemeClr val="tx2">
              <a:lumMod val="50000"/>
              <a:alpha val="9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Dikdörtgen 4"/>
          <p:cNvSpPr/>
          <p:nvPr/>
        </p:nvSpPr>
        <p:spPr>
          <a:xfrm>
            <a:off x="4766874" y="4050188"/>
            <a:ext cx="6396170"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4500" b="1" i="0" u="none" strike="noStrike" kern="1200" cap="none" spc="0" normalizeH="0" baseline="0" noProof="0" dirty="0" smtClean="0">
                <a:ln>
                  <a:noFill/>
                </a:ln>
                <a:solidFill>
                  <a:prstClr val="white"/>
                </a:solidFill>
                <a:effectLst/>
                <a:uLnTx/>
                <a:uFillTx/>
                <a:latin typeface="Roboto Black"/>
                <a:ea typeface="+mn-ea"/>
                <a:cs typeface="Times New Roman" panose="02020603050405020304" pitchFamily="18" charset="0"/>
              </a:rPr>
              <a:t>STRATEJİK ÜRÜN </a:t>
            </a:r>
            <a:r>
              <a:rPr kumimoji="0" lang="sv-SE" sz="4500" b="1" i="0" u="none" strike="noStrike" kern="1200" cap="none" spc="0" normalizeH="0" baseline="0" noProof="0" dirty="0" smtClean="0">
                <a:ln>
                  <a:noFill/>
                </a:ln>
                <a:solidFill>
                  <a:prstClr val="white"/>
                </a:solidFill>
                <a:effectLst/>
                <a:uLnTx/>
                <a:uFillTx/>
                <a:latin typeface="Roboto Black"/>
                <a:ea typeface="+mn-ea"/>
                <a:cs typeface="Times New Roman" panose="02020603050405020304" pitchFamily="18" charset="0"/>
              </a:rPr>
              <a:t>DESTEK </a:t>
            </a:r>
            <a:r>
              <a:rPr kumimoji="0" lang="sv-SE" sz="4500" b="1" i="0" u="none" strike="noStrike" kern="1200" cap="none" spc="0" normalizeH="0" baseline="0" noProof="0" dirty="0">
                <a:ln>
                  <a:noFill/>
                </a:ln>
                <a:solidFill>
                  <a:prstClr val="white"/>
                </a:solidFill>
                <a:effectLst/>
                <a:uLnTx/>
                <a:uFillTx/>
                <a:latin typeface="Roboto Black"/>
                <a:ea typeface="+mn-ea"/>
                <a:cs typeface="Times New Roman" panose="02020603050405020304" pitchFamily="18" charset="0"/>
              </a:rPr>
              <a:t>PROGRAMI</a:t>
            </a:r>
          </a:p>
        </p:txBody>
      </p:sp>
    </p:spTree>
    <p:extLst>
      <p:ext uri="{BB962C8B-B14F-4D97-AF65-F5344CB8AC3E}">
        <p14:creationId xmlns:p14="http://schemas.microsoft.com/office/powerpoint/2010/main" val="586998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1868C5-B491-42BF-9F5C-46095BC3F40A}" type="slidenum">
              <a:rPr kumimoji="0" lang="tr-TR" sz="1200" b="0" i="0" u="none" strike="noStrike" kern="1200" cap="none" spc="0" normalizeH="0" baseline="0" noProof="0" smtClean="0">
                <a:ln>
                  <a:noFill/>
                </a:ln>
                <a:solidFill>
                  <a:srgbClr val="445469">
                    <a:tint val="75000"/>
                  </a:srgb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tr-TR" sz="1200" b="0" i="0" u="none" strike="noStrike" kern="1200" cap="none" spc="0" normalizeH="0" baseline="0" noProof="0" dirty="0">
              <a:ln>
                <a:noFill/>
              </a:ln>
              <a:solidFill>
                <a:srgbClr val="445469">
                  <a:tint val="75000"/>
                </a:srgbClr>
              </a:solidFill>
              <a:effectLst/>
              <a:uLnTx/>
              <a:uFillTx/>
              <a:latin typeface="Roboto Light"/>
              <a:ea typeface="+mn-ea"/>
              <a:cs typeface="+mn-cs"/>
            </a:endParaRPr>
          </a:p>
        </p:txBody>
      </p:sp>
      <p:sp>
        <p:nvSpPr>
          <p:cNvPr id="8" name="Dikdörtgen 7"/>
          <p:cNvSpPr/>
          <p:nvPr/>
        </p:nvSpPr>
        <p:spPr>
          <a:xfrm>
            <a:off x="609604" y="1238866"/>
            <a:ext cx="10786277" cy="485317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445469"/>
              </a:solidFill>
              <a:effectLst/>
              <a:uLnTx/>
              <a:uFillTx/>
              <a:latin typeface="Roboto Light"/>
              <a:ea typeface="+mn-ea"/>
              <a:cs typeface="+mn-cs"/>
            </a:endParaRPr>
          </a:p>
        </p:txBody>
      </p:sp>
      <p:sp>
        <p:nvSpPr>
          <p:cNvPr id="2" name="Metin kutusu 1"/>
          <p:cNvSpPr txBox="1"/>
          <p:nvPr/>
        </p:nvSpPr>
        <p:spPr>
          <a:xfrm>
            <a:off x="1662000" y="1428450"/>
            <a:ext cx="9170125" cy="101566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tr-TR" sz="2000" b="0" i="0" u="none" strike="noStrike" kern="1200" cap="none" spc="0" normalizeH="0" baseline="0" noProof="0" dirty="0" smtClean="0">
                <a:ln>
                  <a:noFill/>
                </a:ln>
                <a:solidFill>
                  <a:srgbClr val="F6F8F8">
                    <a:lumMod val="10000"/>
                  </a:srgbClr>
                </a:solidFill>
                <a:effectLst/>
                <a:uLnTx/>
                <a:uFillTx/>
                <a:latin typeface="Roboto Light"/>
                <a:ea typeface="+mn-ea"/>
                <a:cs typeface="+mn-cs"/>
              </a:rPr>
              <a:t>Teknoloji </a:t>
            </a:r>
            <a:r>
              <a:rPr kumimoji="0" lang="tr-TR" sz="2000" b="0" i="0" u="none" strike="noStrike" kern="1200" cap="none" spc="0" normalizeH="0" baseline="0" noProof="0" dirty="0">
                <a:ln>
                  <a:noFill/>
                </a:ln>
                <a:solidFill>
                  <a:srgbClr val="F6F8F8">
                    <a:lumMod val="10000"/>
                  </a:srgbClr>
                </a:solidFill>
                <a:effectLst/>
                <a:uLnTx/>
                <a:uFillTx/>
                <a:latin typeface="Roboto Light"/>
                <a:ea typeface="+mn-ea"/>
                <a:cs typeface="+mn-cs"/>
              </a:rPr>
              <a:t>Odaklı Sanayi Hamlesi Programı Uygulama Esasları Tebliği, 18.09.2019 tarih ve 30892 sayılı Resmi </a:t>
            </a:r>
            <a:r>
              <a:rPr kumimoji="0" lang="tr-TR" sz="2000" b="0" i="0" u="none" strike="noStrike" kern="1200" cap="none" spc="0" normalizeH="0" baseline="0" noProof="0" dirty="0" err="1">
                <a:ln>
                  <a:noFill/>
                </a:ln>
                <a:solidFill>
                  <a:srgbClr val="F6F8F8">
                    <a:lumMod val="10000"/>
                  </a:srgbClr>
                </a:solidFill>
                <a:effectLst/>
                <a:uLnTx/>
                <a:uFillTx/>
                <a:latin typeface="Roboto Light"/>
                <a:ea typeface="+mn-ea"/>
                <a:cs typeface="+mn-cs"/>
              </a:rPr>
              <a:t>Gazete’de</a:t>
            </a:r>
            <a:r>
              <a:rPr kumimoji="0" lang="tr-TR" sz="2000" b="0" i="0" u="none" strike="noStrike" kern="1200" cap="none" spc="0" normalizeH="0" baseline="0" noProof="0" dirty="0">
                <a:ln>
                  <a:noFill/>
                </a:ln>
                <a:solidFill>
                  <a:srgbClr val="F6F8F8">
                    <a:lumMod val="10000"/>
                  </a:srgbClr>
                </a:solidFill>
                <a:effectLst/>
                <a:uLnTx/>
                <a:uFillTx/>
                <a:latin typeface="Roboto Light"/>
                <a:ea typeface="+mn-ea"/>
                <a:cs typeface="+mn-cs"/>
              </a:rPr>
              <a:t> yayımlanarak yürürlüğe girmiştir</a:t>
            </a:r>
            <a:r>
              <a:rPr kumimoji="0" lang="tr-TR" sz="2000" b="0" i="0" u="none" strike="noStrike" kern="1200" cap="none" spc="0" normalizeH="0" baseline="0" noProof="0" dirty="0" smtClean="0">
                <a:ln>
                  <a:noFill/>
                </a:ln>
                <a:solidFill>
                  <a:srgbClr val="F6F8F8">
                    <a:lumMod val="10000"/>
                  </a:srgbClr>
                </a:solidFill>
                <a:effectLst/>
                <a:uLnTx/>
                <a:uFillTx/>
                <a:latin typeface="Roboto Light"/>
                <a:ea typeface="+mn-ea"/>
                <a:cs typeface="+mn-cs"/>
              </a:rPr>
              <a:t>.</a:t>
            </a:r>
            <a:endParaRPr kumimoji="0" lang="tr-TR" sz="2000" b="0" i="0" u="none" strike="noStrike" kern="1200" cap="none" spc="0" normalizeH="0" baseline="0" noProof="0" dirty="0">
              <a:ln>
                <a:noFill/>
              </a:ln>
              <a:solidFill>
                <a:srgbClr val="F6F8F8">
                  <a:lumMod val="10000"/>
                </a:srgbClr>
              </a:solidFill>
              <a:effectLst/>
              <a:uLnTx/>
              <a:uFillTx/>
              <a:latin typeface="Roboto Light"/>
              <a:ea typeface="+mn-ea"/>
              <a:cs typeface="+mn-cs"/>
            </a:endParaRPr>
          </a:p>
        </p:txBody>
      </p:sp>
      <p:sp>
        <p:nvSpPr>
          <p:cNvPr id="6" name="Başlık 1"/>
          <p:cNvSpPr txBox="1">
            <a:spLocks/>
          </p:cNvSpPr>
          <p:nvPr/>
        </p:nvSpPr>
        <p:spPr>
          <a:xfrm>
            <a:off x="609604" y="76355"/>
            <a:ext cx="11620500" cy="10439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1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tr-TR" sz="2800" b="1" i="0" u="none" strike="noStrike" kern="1200" cap="none" spc="0" normalizeH="0" baseline="0" noProof="0" dirty="0" smtClean="0">
                <a:ln>
                  <a:noFill/>
                </a:ln>
                <a:solidFill>
                  <a:srgbClr val="0070C0"/>
                </a:solidFill>
                <a:effectLst/>
                <a:uLnTx/>
                <a:uFillTx/>
                <a:latin typeface="Roboto Light"/>
                <a:ea typeface="+mj-ea"/>
                <a:cs typeface="+mj-cs"/>
              </a:rPr>
              <a:t>Stratejik Ürün Destek Programı</a:t>
            </a:r>
            <a:endParaRPr kumimoji="0" lang="tr-TR" altLang="tr-TR" sz="2800" b="1" i="0" u="none" strike="noStrike" kern="1200" cap="none" spc="0" normalizeH="0" baseline="0" noProof="0" dirty="0">
              <a:ln>
                <a:noFill/>
              </a:ln>
              <a:solidFill>
                <a:srgbClr val="0070C0"/>
              </a:solidFill>
              <a:effectLst/>
              <a:uLnTx/>
              <a:uFillTx/>
              <a:latin typeface="Roboto Light"/>
              <a:ea typeface="+mj-ea"/>
              <a:cs typeface="+mj-cs"/>
            </a:endParaRPr>
          </a:p>
        </p:txBody>
      </p:sp>
      <p:sp>
        <p:nvSpPr>
          <p:cNvPr id="7" name="Oval 6"/>
          <p:cNvSpPr>
            <a:spLocks noChangeAspect="1"/>
          </p:cNvSpPr>
          <p:nvPr/>
        </p:nvSpPr>
        <p:spPr>
          <a:xfrm rot="21182206">
            <a:off x="474226" y="1480169"/>
            <a:ext cx="908479" cy="908479"/>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sp>
        <p:nvSpPr>
          <p:cNvPr id="9" name="Oval 8"/>
          <p:cNvSpPr>
            <a:spLocks noChangeAspect="1"/>
          </p:cNvSpPr>
          <p:nvPr/>
        </p:nvSpPr>
        <p:spPr>
          <a:xfrm rot="21182206">
            <a:off x="569171" y="1578135"/>
            <a:ext cx="690838" cy="69083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sp>
        <p:nvSpPr>
          <p:cNvPr id="3" name="Metin kutusu 2"/>
          <p:cNvSpPr txBox="1"/>
          <p:nvPr/>
        </p:nvSpPr>
        <p:spPr>
          <a:xfrm>
            <a:off x="1725805" y="3079341"/>
            <a:ext cx="9042514" cy="221599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tr-TR" sz="2000" b="0" i="0" u="none" strike="noStrike" kern="1200" cap="none" spc="0" normalizeH="0" baseline="0" noProof="0" dirty="0">
                <a:ln>
                  <a:noFill/>
                </a:ln>
                <a:solidFill>
                  <a:srgbClr val="F6F8F8">
                    <a:lumMod val="10000"/>
                  </a:srgbClr>
                </a:solidFill>
                <a:effectLst/>
                <a:uLnTx/>
                <a:uFillTx/>
                <a:latin typeface="Roboto Light"/>
                <a:ea typeface="+mn-ea"/>
                <a:cs typeface="+mn-cs"/>
              </a:rPr>
              <a:t>Hamle Programı ile; TÜBİTAK tarafından sağlanan </a:t>
            </a:r>
            <a:r>
              <a:rPr kumimoji="0" lang="tr-TR" sz="2000" b="0" i="0" u="sng" strike="noStrike" kern="1200" cap="none" spc="0" normalizeH="0" baseline="0" noProof="0" dirty="0">
                <a:ln>
                  <a:noFill/>
                </a:ln>
                <a:solidFill>
                  <a:srgbClr val="F6F8F8">
                    <a:lumMod val="10000"/>
                  </a:srgbClr>
                </a:solidFill>
                <a:effectLst/>
                <a:uLnTx/>
                <a:uFillTx/>
                <a:latin typeface="Roboto Light"/>
                <a:ea typeface="+mn-ea"/>
                <a:cs typeface="+mn-cs"/>
              </a:rPr>
              <a:t>Ar-Ge projesi desteğinin</a:t>
            </a:r>
            <a:r>
              <a:rPr kumimoji="0" lang="tr-TR" sz="2000" b="0" i="0" u="none" strike="noStrike" kern="1200" cap="none" spc="0" normalizeH="0" baseline="0" noProof="0" dirty="0">
                <a:ln>
                  <a:noFill/>
                </a:ln>
                <a:solidFill>
                  <a:srgbClr val="F6F8F8">
                    <a:lumMod val="10000"/>
                  </a:srgbClr>
                </a:solidFill>
                <a:effectLst/>
                <a:uLnTx/>
                <a:uFillTx/>
                <a:latin typeface="Roboto Light"/>
                <a:ea typeface="+mn-ea"/>
                <a:cs typeface="+mn-cs"/>
              </a:rPr>
              <a:t>, KOSGEB tarafından sağlanan </a:t>
            </a:r>
            <a:r>
              <a:rPr kumimoji="0" lang="tr-TR" sz="2000" b="0" i="0" u="sng" strike="noStrike" kern="1200" cap="none" spc="0" normalizeH="0" baseline="0" noProof="0" dirty="0">
                <a:ln>
                  <a:noFill/>
                </a:ln>
                <a:solidFill>
                  <a:srgbClr val="F6F8F8">
                    <a:lumMod val="10000"/>
                  </a:srgbClr>
                </a:solidFill>
                <a:effectLst/>
                <a:uLnTx/>
                <a:uFillTx/>
                <a:latin typeface="Roboto Light"/>
                <a:ea typeface="+mn-ea"/>
                <a:cs typeface="+mn-cs"/>
              </a:rPr>
              <a:t>yatırım projesi desteğinin </a:t>
            </a:r>
            <a:r>
              <a:rPr kumimoji="0" lang="tr-TR" sz="2000" b="0" i="0" u="none" strike="noStrike" kern="1200" cap="none" spc="0" normalizeH="0" baseline="0" noProof="0" dirty="0">
                <a:ln>
                  <a:noFill/>
                </a:ln>
                <a:solidFill>
                  <a:srgbClr val="F6F8F8">
                    <a:lumMod val="10000"/>
                  </a:srgbClr>
                </a:solidFill>
                <a:effectLst/>
                <a:uLnTx/>
                <a:uFillTx/>
                <a:latin typeface="Roboto Light"/>
                <a:ea typeface="+mn-ea"/>
                <a:cs typeface="+mn-cs"/>
              </a:rPr>
              <a:t>ve Bakanlık tarafından sunulan </a:t>
            </a:r>
            <a:r>
              <a:rPr kumimoji="0" lang="tr-TR" sz="2000" b="0" i="0" u="sng" strike="noStrike" kern="1200" cap="none" spc="0" normalizeH="0" baseline="0" noProof="0" dirty="0">
                <a:ln>
                  <a:noFill/>
                </a:ln>
                <a:solidFill>
                  <a:srgbClr val="F6F8F8">
                    <a:lumMod val="10000"/>
                  </a:srgbClr>
                </a:solidFill>
                <a:effectLst/>
                <a:uLnTx/>
                <a:uFillTx/>
                <a:latin typeface="Roboto Light"/>
                <a:ea typeface="+mn-ea"/>
                <a:cs typeface="+mn-cs"/>
              </a:rPr>
              <a:t>yatırım </a:t>
            </a:r>
            <a:r>
              <a:rPr kumimoji="0" lang="tr-TR" sz="2000" b="0" i="0" u="sng" strike="noStrike" kern="1200" cap="none" spc="0" normalizeH="0" baseline="0" noProof="0" dirty="0" smtClean="0">
                <a:ln>
                  <a:noFill/>
                </a:ln>
                <a:solidFill>
                  <a:srgbClr val="F6F8F8">
                    <a:lumMod val="10000"/>
                  </a:srgbClr>
                </a:solidFill>
                <a:effectLst/>
                <a:uLnTx/>
                <a:uFillTx/>
                <a:latin typeface="Roboto Light"/>
                <a:ea typeface="+mn-ea"/>
                <a:cs typeface="+mn-cs"/>
              </a:rPr>
              <a:t>teşviklerinin </a:t>
            </a:r>
            <a:r>
              <a:rPr kumimoji="0" lang="tr-TR" sz="2000" b="0" i="0" u="none" strike="noStrike" kern="1200" cap="none" spc="0" normalizeH="0" baseline="0" noProof="0" dirty="0" smtClean="0">
                <a:ln>
                  <a:noFill/>
                </a:ln>
                <a:solidFill>
                  <a:srgbClr val="FF0000"/>
                </a:solidFill>
                <a:effectLst/>
                <a:uLnTx/>
                <a:uFillTx/>
                <a:latin typeface="Roboto Light"/>
                <a:ea typeface="+mn-ea"/>
                <a:cs typeface="+mn-cs"/>
              </a:rPr>
              <a:t>tek </a:t>
            </a:r>
            <a:r>
              <a:rPr kumimoji="0" lang="tr-TR" sz="2000" b="0" i="0" u="none" strike="noStrike" kern="1200" cap="none" spc="0" normalizeH="0" baseline="0" noProof="0" dirty="0">
                <a:ln>
                  <a:noFill/>
                </a:ln>
                <a:solidFill>
                  <a:srgbClr val="FF0000"/>
                </a:solidFill>
                <a:effectLst/>
                <a:uLnTx/>
                <a:uFillTx/>
                <a:latin typeface="Roboto Light"/>
                <a:ea typeface="+mn-ea"/>
                <a:cs typeface="+mn-cs"/>
              </a:rPr>
              <a:t>pencere </a:t>
            </a:r>
            <a:r>
              <a:rPr kumimoji="0" lang="tr-TR" sz="2000" b="0" i="0" u="none" strike="noStrike" kern="1200" cap="none" spc="0" normalizeH="0" baseline="0" noProof="0" dirty="0">
                <a:ln>
                  <a:noFill/>
                </a:ln>
                <a:solidFill>
                  <a:srgbClr val="F6F8F8">
                    <a:lumMod val="10000"/>
                  </a:srgbClr>
                </a:solidFill>
                <a:effectLst/>
                <a:uLnTx/>
                <a:uFillTx/>
                <a:latin typeface="Roboto Light"/>
                <a:ea typeface="+mn-ea"/>
                <a:cs typeface="+mn-cs"/>
              </a:rPr>
              <a:t>mekanizması üzerinden ve </a:t>
            </a:r>
            <a:r>
              <a:rPr kumimoji="0" lang="tr-TR" sz="2000" b="0" i="0" u="none" strike="noStrike" kern="1200" cap="none" spc="0" normalizeH="0" baseline="0" noProof="0" dirty="0">
                <a:ln>
                  <a:noFill/>
                </a:ln>
                <a:solidFill>
                  <a:srgbClr val="FF0000"/>
                </a:solidFill>
                <a:effectLst/>
                <a:uLnTx/>
                <a:uFillTx/>
                <a:latin typeface="Roboto Light"/>
                <a:ea typeface="+mn-ea"/>
                <a:cs typeface="+mn-cs"/>
              </a:rPr>
              <a:t>uçtan uca bir yönetişim anlayışı </a:t>
            </a:r>
            <a:r>
              <a:rPr kumimoji="0" lang="tr-TR" sz="2000" b="0" i="0" u="none" strike="noStrike" kern="1200" cap="none" spc="0" normalizeH="0" baseline="0" noProof="0" dirty="0">
                <a:ln>
                  <a:noFill/>
                </a:ln>
                <a:solidFill>
                  <a:srgbClr val="F6F8F8">
                    <a:lumMod val="10000"/>
                  </a:srgbClr>
                </a:solidFill>
                <a:effectLst/>
                <a:uLnTx/>
                <a:uFillTx/>
                <a:latin typeface="Roboto Light"/>
                <a:ea typeface="+mn-ea"/>
                <a:cs typeface="+mn-cs"/>
              </a:rPr>
              <a:t>ile Bakanlıkça belirlenen Öncelikli Ürün Listesinde yer alan ürünlerin üretimine yönelik projelerin hayata geçirilmesini </a:t>
            </a:r>
            <a:r>
              <a:rPr kumimoji="0" lang="tr-TR" sz="2000" b="0" i="0" u="none" strike="noStrike" kern="1200" cap="none" spc="0" normalizeH="0" baseline="0" noProof="0" dirty="0" err="1">
                <a:ln>
                  <a:noFill/>
                </a:ln>
                <a:solidFill>
                  <a:srgbClr val="F6F8F8">
                    <a:lumMod val="10000"/>
                  </a:srgbClr>
                </a:solidFill>
                <a:effectLst/>
                <a:uLnTx/>
                <a:uFillTx/>
                <a:latin typeface="Roboto Light"/>
                <a:ea typeface="+mn-ea"/>
                <a:cs typeface="+mn-cs"/>
              </a:rPr>
              <a:t>teminen</a:t>
            </a:r>
            <a:r>
              <a:rPr kumimoji="0" lang="tr-TR" sz="2000" b="0" i="0" u="none" strike="noStrike" kern="1200" cap="none" spc="0" normalizeH="0" baseline="0" noProof="0" dirty="0">
                <a:ln>
                  <a:noFill/>
                </a:ln>
                <a:solidFill>
                  <a:srgbClr val="F6F8F8">
                    <a:lumMod val="10000"/>
                  </a:srgbClr>
                </a:solidFill>
                <a:effectLst/>
                <a:uLnTx/>
                <a:uFillTx/>
                <a:latin typeface="Roboto Light"/>
                <a:ea typeface="+mn-ea"/>
                <a:cs typeface="+mn-cs"/>
              </a:rPr>
              <a:t> sunulması öngörülmektedi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445469"/>
              </a:solidFill>
              <a:effectLst/>
              <a:uLnTx/>
              <a:uFillTx/>
              <a:latin typeface="Roboto Light"/>
              <a:ea typeface="+mn-ea"/>
              <a:cs typeface="+mn-cs"/>
            </a:endParaRPr>
          </a:p>
        </p:txBody>
      </p:sp>
      <p:sp>
        <p:nvSpPr>
          <p:cNvPr id="10" name="Oval 9"/>
          <p:cNvSpPr>
            <a:spLocks noChangeAspect="1"/>
          </p:cNvSpPr>
          <p:nvPr/>
        </p:nvSpPr>
        <p:spPr>
          <a:xfrm rot="21182206">
            <a:off x="480341" y="3147860"/>
            <a:ext cx="908479" cy="908479"/>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sp>
        <p:nvSpPr>
          <p:cNvPr id="11" name="Oval 10"/>
          <p:cNvSpPr>
            <a:spLocks noChangeAspect="1"/>
          </p:cNvSpPr>
          <p:nvPr/>
        </p:nvSpPr>
        <p:spPr>
          <a:xfrm rot="21182206">
            <a:off x="575286" y="3245826"/>
            <a:ext cx="690838" cy="69083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6263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yagram 13"/>
          <p:cNvGraphicFramePr/>
          <p:nvPr>
            <p:extLst>
              <p:ext uri="{D42A27DB-BD31-4B8C-83A1-F6EECF244321}">
                <p14:modId xmlns:p14="http://schemas.microsoft.com/office/powerpoint/2010/main" val="3630861942"/>
              </p:ext>
            </p:extLst>
          </p:nvPr>
        </p:nvGraphicFramePr>
        <p:xfrm>
          <a:off x="556037" y="2919981"/>
          <a:ext cx="11435666" cy="22023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9" name="Oval 38"/>
          <p:cNvSpPr>
            <a:spLocks noChangeAspect="1"/>
          </p:cNvSpPr>
          <p:nvPr/>
        </p:nvSpPr>
        <p:spPr>
          <a:xfrm rot="21182206">
            <a:off x="474226" y="1480169"/>
            <a:ext cx="908479" cy="908479"/>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sp>
        <p:nvSpPr>
          <p:cNvPr id="40" name="Oval 39"/>
          <p:cNvSpPr>
            <a:spLocks noChangeAspect="1"/>
          </p:cNvSpPr>
          <p:nvPr/>
        </p:nvSpPr>
        <p:spPr>
          <a:xfrm rot="21182206">
            <a:off x="569171" y="1578135"/>
            <a:ext cx="690838" cy="69083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sp>
        <p:nvSpPr>
          <p:cNvPr id="51" name="Dikdörtgen 50"/>
          <p:cNvSpPr/>
          <p:nvPr/>
        </p:nvSpPr>
        <p:spPr>
          <a:xfrm>
            <a:off x="1406673" y="1733042"/>
            <a:ext cx="2905152" cy="461665"/>
          </a:xfrm>
          <a:prstGeom prst="rect">
            <a:avLst/>
          </a:prstGeom>
        </p:spPr>
        <p:txBody>
          <a:bodyPr wrap="square">
            <a:spAutoFit/>
          </a:bodyPr>
          <a:lstStyle/>
          <a:p>
            <a:pPr marL="0" marR="0" lvl="0" indent="0" algn="ctr" defTabSz="917783" rtl="0" eaLnBrk="0" fontAlgn="base" latinLnBrk="0" hangingPunct="0">
              <a:lnSpc>
                <a:spcPct val="100000"/>
              </a:lnSpc>
              <a:spcBef>
                <a:spcPct val="0"/>
              </a:spcBef>
              <a:spcAft>
                <a:spcPct val="0"/>
              </a:spcAft>
              <a:buClrTx/>
              <a:buSzTx/>
              <a:buFontTx/>
              <a:buNone/>
              <a:tabLst/>
              <a:defRPr/>
            </a:pPr>
            <a:r>
              <a:rPr kumimoji="0" lang="tr-TR" sz="2400"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PROGRAMIN AMACI</a:t>
            </a:r>
          </a:p>
        </p:txBody>
      </p:sp>
      <p:sp>
        <p:nvSpPr>
          <p:cNvPr id="8" name="Başlık 1"/>
          <p:cNvSpPr txBox="1">
            <a:spLocks/>
          </p:cNvSpPr>
          <p:nvPr/>
        </p:nvSpPr>
        <p:spPr>
          <a:xfrm>
            <a:off x="609604" y="76355"/>
            <a:ext cx="11620500" cy="10439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1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tr-TR" sz="2800" b="1" i="0" u="none" strike="noStrike" kern="1200" cap="none" spc="0" normalizeH="0" baseline="0" noProof="0" dirty="0" smtClean="0">
                <a:ln>
                  <a:noFill/>
                </a:ln>
                <a:solidFill>
                  <a:srgbClr val="0070C0"/>
                </a:solidFill>
                <a:effectLst/>
                <a:uLnTx/>
                <a:uFillTx/>
                <a:latin typeface="Roboto Light"/>
                <a:ea typeface="+mj-ea"/>
                <a:cs typeface="+mj-cs"/>
              </a:rPr>
              <a:t>Stratejik Ürün Destek Programı</a:t>
            </a:r>
            <a:endParaRPr kumimoji="0" lang="tr-TR" altLang="tr-TR" sz="2800" b="1" i="0" u="none" strike="noStrike" kern="1200" cap="none" spc="0" normalizeH="0" baseline="0" noProof="0" dirty="0">
              <a:ln>
                <a:noFill/>
              </a:ln>
              <a:solidFill>
                <a:srgbClr val="0070C0"/>
              </a:solidFill>
              <a:effectLst/>
              <a:uLnTx/>
              <a:uFillTx/>
              <a:latin typeface="Roboto Light"/>
              <a:ea typeface="+mj-ea"/>
              <a:cs typeface="+mj-cs"/>
            </a:endParaRPr>
          </a:p>
        </p:txBody>
      </p:sp>
    </p:spTree>
    <p:extLst>
      <p:ext uri="{BB962C8B-B14F-4D97-AF65-F5344CB8AC3E}">
        <p14:creationId xmlns:p14="http://schemas.microsoft.com/office/powerpoint/2010/main" val="15396355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a:xfrm>
            <a:off x="9259483" y="6197970"/>
            <a:ext cx="2141532" cy="274862"/>
          </a:xfrm>
        </p:spPr>
        <p:txBody>
          <a:bodyPr/>
          <a:lstStyle/>
          <a:p>
            <a:pPr>
              <a:defRPr/>
            </a:pPr>
            <a:fld id="{FF16F97C-866D-4F85-A1F6-DDF39F62CB6A}" type="slidenum">
              <a:rPr lang="en-CA" smtClean="0">
                <a:solidFill>
                  <a:prstClr val="black">
                    <a:tint val="75000"/>
                  </a:prstClr>
                </a:solidFill>
              </a:rPr>
              <a:pPr>
                <a:defRPr/>
              </a:pPr>
              <a:t>3</a:t>
            </a:fld>
            <a:endParaRPr lang="en-CA" dirty="0">
              <a:solidFill>
                <a:prstClr val="black">
                  <a:tint val="75000"/>
                </a:prstClr>
              </a:solidFill>
            </a:endParaRPr>
          </a:p>
        </p:txBody>
      </p:sp>
      <p:sp>
        <p:nvSpPr>
          <p:cNvPr id="7" name="1 Metin kutusu"/>
          <p:cNvSpPr txBox="1"/>
          <p:nvPr/>
        </p:nvSpPr>
        <p:spPr>
          <a:xfrm>
            <a:off x="1386359" y="378458"/>
            <a:ext cx="8315270" cy="461980"/>
          </a:xfrm>
          <a:prstGeom prst="rect">
            <a:avLst/>
          </a:prstGeom>
          <a:noFill/>
        </p:spPr>
        <p:txBody>
          <a:bodyPr wrap="square" lIns="91751" tIns="45876" rIns="91751" bIns="45876" rtlCol="0">
            <a:spAutoFit/>
          </a:bodyPr>
          <a:lstStyle/>
          <a:p>
            <a:r>
              <a:rPr lang="tr-TR" sz="2400" b="1" dirty="0">
                <a:solidFill>
                  <a:srgbClr val="00BAD5"/>
                </a:solidFill>
              </a:rPr>
              <a:t>KOSGEB’in Hedef Kitlesi KOBİ’lerin Türkiye Ekonomisindeki Yeri </a:t>
            </a:r>
          </a:p>
        </p:txBody>
      </p:sp>
      <p:graphicFrame>
        <p:nvGraphicFramePr>
          <p:cNvPr id="10" name="Grafik 9"/>
          <p:cNvGraphicFramePr>
            <a:graphicFrameLocks/>
          </p:cNvGraphicFramePr>
          <p:nvPr>
            <p:extLst/>
          </p:nvPr>
        </p:nvGraphicFramePr>
        <p:xfrm>
          <a:off x="6407384" y="2068793"/>
          <a:ext cx="3696103" cy="2557189"/>
        </p:xfrm>
        <a:graphic>
          <a:graphicData uri="http://schemas.openxmlformats.org/drawingml/2006/chart">
            <c:chart xmlns:c="http://schemas.openxmlformats.org/drawingml/2006/chart" xmlns:r="http://schemas.openxmlformats.org/officeDocument/2006/relationships" r:id="rId3"/>
          </a:graphicData>
        </a:graphic>
      </p:graphicFrame>
      <p:sp>
        <p:nvSpPr>
          <p:cNvPr id="8" name="15 Metin kutusu"/>
          <p:cNvSpPr txBox="1"/>
          <p:nvPr/>
        </p:nvSpPr>
        <p:spPr>
          <a:xfrm>
            <a:off x="1167282" y="897847"/>
            <a:ext cx="6141112" cy="5324850"/>
          </a:xfrm>
          <a:prstGeom prst="rect">
            <a:avLst/>
          </a:prstGeom>
          <a:noFill/>
        </p:spPr>
        <p:txBody>
          <a:bodyPr wrap="square" lIns="91751" tIns="45876" rIns="91751" bIns="45876" rtlCol="0">
            <a:spAutoFit/>
          </a:bodyPr>
          <a:lstStyle>
            <a:defPPr>
              <a:defRPr lang="en-US"/>
            </a:defPPr>
            <a:lvl1pPr algn="l" rtl="0" fontAlgn="base">
              <a:spcBef>
                <a:spcPct val="0"/>
              </a:spcBef>
              <a:spcAft>
                <a:spcPct val="0"/>
              </a:spcAft>
              <a:defRPr kern="1200">
                <a:solidFill>
                  <a:schemeClr val="tx1"/>
                </a:solidFill>
                <a:latin typeface="Calibri" pitchFamily="34" charset="0"/>
                <a:ea typeface="ヒラギノ角ゴ Pro W3" pitchFamily="1" charset="-128"/>
                <a:cs typeface="+mn-cs"/>
              </a:defRPr>
            </a:lvl1pPr>
            <a:lvl2pPr marL="457056" algn="l" rtl="0" fontAlgn="base">
              <a:spcBef>
                <a:spcPct val="0"/>
              </a:spcBef>
              <a:spcAft>
                <a:spcPct val="0"/>
              </a:spcAft>
              <a:defRPr kern="1200">
                <a:solidFill>
                  <a:schemeClr val="tx1"/>
                </a:solidFill>
                <a:latin typeface="Calibri" pitchFamily="34" charset="0"/>
                <a:ea typeface="ヒラギノ角ゴ Pro W3" pitchFamily="1" charset="-128"/>
                <a:cs typeface="+mn-cs"/>
              </a:defRPr>
            </a:lvl2pPr>
            <a:lvl3pPr marL="914114" algn="l" rtl="0" fontAlgn="base">
              <a:spcBef>
                <a:spcPct val="0"/>
              </a:spcBef>
              <a:spcAft>
                <a:spcPct val="0"/>
              </a:spcAft>
              <a:defRPr kern="1200">
                <a:solidFill>
                  <a:schemeClr val="tx1"/>
                </a:solidFill>
                <a:latin typeface="Calibri" pitchFamily="34" charset="0"/>
                <a:ea typeface="ヒラギノ角ゴ Pro W3" pitchFamily="1" charset="-128"/>
                <a:cs typeface="+mn-cs"/>
              </a:defRPr>
            </a:lvl3pPr>
            <a:lvl4pPr marL="1371171" algn="l" rtl="0" fontAlgn="base">
              <a:spcBef>
                <a:spcPct val="0"/>
              </a:spcBef>
              <a:spcAft>
                <a:spcPct val="0"/>
              </a:spcAft>
              <a:defRPr kern="1200">
                <a:solidFill>
                  <a:schemeClr val="tx1"/>
                </a:solidFill>
                <a:latin typeface="Calibri" pitchFamily="34" charset="0"/>
                <a:ea typeface="ヒラギノ角ゴ Pro W3" pitchFamily="1" charset="-128"/>
                <a:cs typeface="+mn-cs"/>
              </a:defRPr>
            </a:lvl4pPr>
            <a:lvl5pPr marL="1828227" algn="l" rtl="0" fontAlgn="base">
              <a:spcBef>
                <a:spcPct val="0"/>
              </a:spcBef>
              <a:spcAft>
                <a:spcPct val="0"/>
              </a:spcAft>
              <a:defRPr kern="1200">
                <a:solidFill>
                  <a:schemeClr val="tx1"/>
                </a:solidFill>
                <a:latin typeface="Calibri" pitchFamily="34" charset="0"/>
                <a:ea typeface="ヒラギノ角ゴ Pro W3" pitchFamily="1" charset="-128"/>
                <a:cs typeface="+mn-cs"/>
              </a:defRPr>
            </a:lvl5pPr>
            <a:lvl6pPr marL="2285284" algn="l" defTabSz="914114" rtl="0" eaLnBrk="1" latinLnBrk="0" hangingPunct="1">
              <a:defRPr kern="1200">
                <a:solidFill>
                  <a:schemeClr val="tx1"/>
                </a:solidFill>
                <a:latin typeface="Calibri" pitchFamily="34" charset="0"/>
                <a:ea typeface="ヒラギノ角ゴ Pro W3" pitchFamily="1" charset="-128"/>
                <a:cs typeface="+mn-cs"/>
              </a:defRPr>
            </a:lvl6pPr>
            <a:lvl7pPr marL="2742343" algn="l" defTabSz="914114" rtl="0" eaLnBrk="1" latinLnBrk="0" hangingPunct="1">
              <a:defRPr kern="1200">
                <a:solidFill>
                  <a:schemeClr val="tx1"/>
                </a:solidFill>
                <a:latin typeface="Calibri" pitchFamily="34" charset="0"/>
                <a:ea typeface="ヒラギノ角ゴ Pro W3" pitchFamily="1" charset="-128"/>
                <a:cs typeface="+mn-cs"/>
              </a:defRPr>
            </a:lvl7pPr>
            <a:lvl8pPr marL="3199398" algn="l" defTabSz="914114" rtl="0" eaLnBrk="1" latinLnBrk="0" hangingPunct="1">
              <a:defRPr kern="1200">
                <a:solidFill>
                  <a:schemeClr val="tx1"/>
                </a:solidFill>
                <a:latin typeface="Calibri" pitchFamily="34" charset="0"/>
                <a:ea typeface="ヒラギノ角ゴ Pro W3" pitchFamily="1" charset="-128"/>
                <a:cs typeface="+mn-cs"/>
              </a:defRPr>
            </a:lvl8pPr>
            <a:lvl9pPr marL="3656455" algn="l" defTabSz="914114" rtl="0" eaLnBrk="1" latinLnBrk="0" hangingPunct="1">
              <a:defRPr kern="1200">
                <a:solidFill>
                  <a:schemeClr val="tx1"/>
                </a:solidFill>
                <a:latin typeface="Calibri" pitchFamily="34" charset="0"/>
                <a:ea typeface="ヒラギノ角ゴ Pro W3" pitchFamily="1" charset="-128"/>
                <a:cs typeface="+mn-cs"/>
              </a:defRPr>
            </a:lvl9pPr>
          </a:lstStyle>
          <a:p>
            <a:pPr>
              <a:defRPr/>
            </a:pPr>
            <a:r>
              <a:rPr lang="tr-TR" sz="2000" b="1" dirty="0"/>
              <a:t>     Toplam İşletme Sayısı: 3.954.698* </a:t>
            </a:r>
          </a:p>
          <a:p>
            <a:pPr>
              <a:defRPr/>
            </a:pPr>
            <a:r>
              <a:rPr lang="tr-TR" sz="2000" b="1" dirty="0"/>
              <a:t>     Toplam KOBİ Sayısı: 3.949.641 (%99,87)</a:t>
            </a:r>
          </a:p>
          <a:p>
            <a:pPr>
              <a:defRPr/>
            </a:pPr>
            <a:endParaRPr lang="tr-TR" sz="2000" b="1" dirty="0">
              <a:solidFill>
                <a:srgbClr val="69DBF7"/>
              </a:solidFill>
            </a:endParaRPr>
          </a:p>
          <a:p>
            <a:pPr marL="458747" indent="-458747">
              <a:buClr>
                <a:srgbClr val="5CCAE6"/>
              </a:buClr>
              <a:buFont typeface="Wingdings" pitchFamily="2" charset="2"/>
              <a:buChar char="Ø"/>
            </a:pPr>
            <a:r>
              <a:rPr lang="tr-TR" sz="2000" b="1" dirty="0">
                <a:solidFill>
                  <a:srgbClr val="0070C0"/>
                </a:solidFill>
              </a:rPr>
              <a:t>Mikro </a:t>
            </a:r>
          </a:p>
          <a:p>
            <a:pPr>
              <a:buClr>
                <a:srgbClr val="5CCAE6"/>
              </a:buClr>
            </a:pPr>
            <a:r>
              <a:rPr lang="tr-TR" sz="2000" b="1" dirty="0">
                <a:solidFill>
                  <a:srgbClr val="0070C0"/>
                </a:solidFill>
              </a:rPr>
              <a:t>	Çalışan Sayısı: 0 – 9 	 </a:t>
            </a:r>
          </a:p>
          <a:p>
            <a:pPr>
              <a:buClr>
                <a:srgbClr val="5CCAE6"/>
              </a:buClr>
            </a:pPr>
            <a:r>
              <a:rPr lang="tr-TR" sz="2000" b="1" dirty="0">
                <a:solidFill>
                  <a:srgbClr val="0070C0"/>
                </a:solidFill>
              </a:rPr>
              <a:t>	Net Satış/Bilanço ≤ 3.000.000 </a:t>
            </a:r>
            <a:r>
              <a:rPr lang="tr-TR" sz="2000" b="1" i="1" dirty="0">
                <a:solidFill>
                  <a:srgbClr val="0070C0"/>
                </a:solidFill>
              </a:rPr>
              <a:t>₺</a:t>
            </a:r>
          </a:p>
          <a:p>
            <a:pPr lvl="2">
              <a:buClr>
                <a:srgbClr val="5CCAE6"/>
              </a:buClr>
            </a:pPr>
            <a:r>
              <a:rPr lang="tr-TR" sz="2000" b="1" dirty="0">
                <a:solidFill>
                  <a:srgbClr val="0070C0"/>
                </a:solidFill>
              </a:rPr>
              <a:t>3.763.800 adet, </a:t>
            </a:r>
            <a:r>
              <a:rPr lang="tr-TR" sz="2000" b="1" dirty="0" smtClean="0">
                <a:solidFill>
                  <a:srgbClr val="0070C0"/>
                </a:solidFill>
              </a:rPr>
              <a:t>%95,17</a:t>
            </a:r>
          </a:p>
          <a:p>
            <a:pPr>
              <a:buClr>
                <a:srgbClr val="5CCAE6"/>
              </a:buClr>
            </a:pPr>
            <a:endParaRPr lang="tr-TR" sz="2000" i="1" dirty="0">
              <a:solidFill>
                <a:prstClr val="black"/>
              </a:solidFill>
            </a:endParaRPr>
          </a:p>
          <a:p>
            <a:pPr marL="458747" indent="-458747">
              <a:buClr>
                <a:srgbClr val="5CCAE6"/>
              </a:buClr>
              <a:buFont typeface="Wingdings" pitchFamily="2" charset="2"/>
              <a:buChar char="Ø"/>
            </a:pPr>
            <a:r>
              <a:rPr lang="tr-TR" sz="2000" b="1" dirty="0">
                <a:solidFill>
                  <a:srgbClr val="C00000"/>
                </a:solidFill>
              </a:rPr>
              <a:t>Küçük </a:t>
            </a:r>
          </a:p>
          <a:p>
            <a:pPr>
              <a:buClr>
                <a:srgbClr val="5CCAE6"/>
              </a:buClr>
            </a:pPr>
            <a:r>
              <a:rPr lang="tr-TR" sz="2000" b="1" dirty="0">
                <a:solidFill>
                  <a:srgbClr val="C00000"/>
                </a:solidFill>
              </a:rPr>
              <a:t>	Çalışan Sayısı: 10 – 49</a:t>
            </a:r>
          </a:p>
          <a:p>
            <a:pPr>
              <a:buClr>
                <a:srgbClr val="5CCAE6"/>
              </a:buClr>
            </a:pPr>
            <a:r>
              <a:rPr lang="tr-TR" sz="2000" b="1" dirty="0">
                <a:solidFill>
                  <a:srgbClr val="C00000"/>
                </a:solidFill>
              </a:rPr>
              <a:t>	Net Satış/Bilanço ≤ 25.000.000 </a:t>
            </a:r>
            <a:r>
              <a:rPr lang="tr-TR" sz="2000" b="1" i="1" dirty="0">
                <a:solidFill>
                  <a:srgbClr val="C00000"/>
                </a:solidFill>
              </a:rPr>
              <a:t>₺</a:t>
            </a:r>
          </a:p>
          <a:p>
            <a:pPr lvl="2">
              <a:buClr>
                <a:srgbClr val="5CCAE6"/>
              </a:buClr>
            </a:pPr>
            <a:r>
              <a:rPr lang="tr-TR" sz="2000" b="1" dirty="0">
                <a:solidFill>
                  <a:srgbClr val="C00000"/>
                </a:solidFill>
              </a:rPr>
              <a:t>159.392 adet, </a:t>
            </a:r>
            <a:r>
              <a:rPr lang="tr-TR" sz="2000" b="1" dirty="0" smtClean="0">
                <a:solidFill>
                  <a:srgbClr val="C00000"/>
                </a:solidFill>
              </a:rPr>
              <a:t>%4,03</a:t>
            </a:r>
            <a:endParaRPr lang="tr-TR" sz="2000" b="1" dirty="0">
              <a:solidFill>
                <a:srgbClr val="C00000"/>
              </a:solidFill>
            </a:endParaRPr>
          </a:p>
          <a:p>
            <a:pPr marL="458747" indent="-458747">
              <a:buClr>
                <a:srgbClr val="5CCAE6"/>
              </a:buClr>
              <a:buFont typeface="Wingdings" pitchFamily="2" charset="2"/>
              <a:buChar char="Ø"/>
            </a:pPr>
            <a:endParaRPr lang="tr-TR" sz="2000" b="1" dirty="0" smtClean="0">
              <a:solidFill>
                <a:schemeClr val="accent3">
                  <a:lumMod val="75000"/>
                </a:schemeClr>
              </a:solidFill>
            </a:endParaRPr>
          </a:p>
          <a:p>
            <a:pPr marL="458747" indent="-458747">
              <a:buClr>
                <a:srgbClr val="5CCAE6"/>
              </a:buClr>
              <a:buFont typeface="Wingdings" pitchFamily="2" charset="2"/>
              <a:buChar char="Ø"/>
            </a:pPr>
            <a:r>
              <a:rPr lang="tr-TR" sz="2000" b="1" dirty="0" smtClean="0">
                <a:solidFill>
                  <a:schemeClr val="accent3">
                    <a:lumMod val="75000"/>
                  </a:schemeClr>
                </a:solidFill>
              </a:rPr>
              <a:t>Orta</a:t>
            </a:r>
            <a:endParaRPr lang="tr-TR" sz="2000" b="1" dirty="0">
              <a:solidFill>
                <a:schemeClr val="accent3">
                  <a:lumMod val="75000"/>
                </a:schemeClr>
              </a:solidFill>
            </a:endParaRPr>
          </a:p>
          <a:p>
            <a:pPr>
              <a:buClr>
                <a:srgbClr val="5CCAE6"/>
              </a:buClr>
            </a:pPr>
            <a:r>
              <a:rPr lang="tr-TR" sz="2000" b="1" dirty="0">
                <a:solidFill>
                  <a:schemeClr val="accent3">
                    <a:lumMod val="75000"/>
                  </a:schemeClr>
                </a:solidFill>
              </a:rPr>
              <a:t>	Çalışan Sayısı: 50 – 249</a:t>
            </a:r>
          </a:p>
          <a:p>
            <a:pPr lvl="1">
              <a:buClr>
                <a:srgbClr val="5CCAE6"/>
              </a:buClr>
            </a:pPr>
            <a:r>
              <a:rPr lang="tr-TR" sz="2000" b="1" dirty="0">
                <a:solidFill>
                  <a:schemeClr val="accent3">
                    <a:lumMod val="75000"/>
                  </a:schemeClr>
                </a:solidFill>
              </a:rPr>
              <a:t>	Net Satış/Bilanço ≤ 125.000.000 </a:t>
            </a:r>
            <a:r>
              <a:rPr lang="tr-TR" sz="2000" b="1" i="1" dirty="0">
                <a:solidFill>
                  <a:schemeClr val="accent3">
                    <a:lumMod val="75000"/>
                  </a:schemeClr>
                </a:solidFill>
              </a:rPr>
              <a:t>₺</a:t>
            </a:r>
          </a:p>
          <a:p>
            <a:pPr lvl="2">
              <a:buClr>
                <a:srgbClr val="5CCAE6"/>
              </a:buClr>
            </a:pPr>
            <a:r>
              <a:rPr lang="tr-TR" sz="2000" b="1" dirty="0">
                <a:solidFill>
                  <a:schemeClr val="accent3">
                    <a:lumMod val="75000"/>
                  </a:schemeClr>
                </a:solidFill>
              </a:rPr>
              <a:t>26.449 adet, %</a:t>
            </a:r>
            <a:r>
              <a:rPr lang="tr-TR" sz="2000" b="1" dirty="0" smtClean="0">
                <a:solidFill>
                  <a:schemeClr val="accent3">
                    <a:lumMod val="75000"/>
                  </a:schemeClr>
                </a:solidFill>
              </a:rPr>
              <a:t>0,67</a:t>
            </a:r>
          </a:p>
        </p:txBody>
      </p:sp>
      <p:graphicFrame>
        <p:nvGraphicFramePr>
          <p:cNvPr id="12" name="Grafik 11"/>
          <p:cNvGraphicFramePr/>
          <p:nvPr>
            <p:extLst>
              <p:ext uri="{D42A27DB-BD31-4B8C-83A1-F6EECF244321}">
                <p14:modId xmlns:p14="http://schemas.microsoft.com/office/powerpoint/2010/main" val="2219862503"/>
              </p:ext>
            </p:extLst>
          </p:nvPr>
        </p:nvGraphicFramePr>
        <p:xfrm>
          <a:off x="5765741" y="1531373"/>
          <a:ext cx="5933344" cy="3632027"/>
        </p:xfrm>
        <a:graphic>
          <a:graphicData uri="http://schemas.openxmlformats.org/drawingml/2006/chart">
            <c:chart xmlns:c="http://schemas.openxmlformats.org/drawingml/2006/chart" xmlns:r="http://schemas.openxmlformats.org/officeDocument/2006/relationships" r:id="rId4"/>
          </a:graphicData>
        </a:graphic>
      </p:graphicFrame>
      <p:pic>
        <p:nvPicPr>
          <p:cNvPr id="9" name="Picture 3"/>
          <p:cNvPicPr>
            <a:picLocks noChangeAspect="1" noChangeArrowheads="1"/>
          </p:cNvPicPr>
          <p:nvPr/>
        </p:nvPicPr>
        <p:blipFill>
          <a:blip r:embed="rId5" cstate="print"/>
          <a:srcRect/>
          <a:stretch>
            <a:fillRect/>
          </a:stretch>
        </p:blipFill>
        <p:spPr bwMode="auto">
          <a:xfrm>
            <a:off x="333632" y="217942"/>
            <a:ext cx="919801" cy="648787"/>
          </a:xfrm>
          <a:prstGeom prst="rect">
            <a:avLst/>
          </a:prstGeom>
          <a:noFill/>
          <a:ln w="9525">
            <a:noFill/>
            <a:miter lim="800000"/>
            <a:headEnd/>
            <a:tailEnd/>
          </a:ln>
        </p:spPr>
      </p:pic>
      <p:sp>
        <p:nvSpPr>
          <p:cNvPr id="2" name="Sol Ok 1">
            <a:hlinkClick r:id="rId6" action="ppaction://hlinksldjump"/>
          </p:cNvPr>
          <p:cNvSpPr/>
          <p:nvPr/>
        </p:nvSpPr>
        <p:spPr>
          <a:xfrm>
            <a:off x="10330249" y="6125742"/>
            <a:ext cx="413951" cy="38935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3" name="Metin kutusu 2"/>
          <p:cNvSpPr txBox="1"/>
          <p:nvPr/>
        </p:nvSpPr>
        <p:spPr>
          <a:xfrm>
            <a:off x="7843777" y="4927828"/>
            <a:ext cx="3855308" cy="369332"/>
          </a:xfrm>
          <a:prstGeom prst="rect">
            <a:avLst/>
          </a:prstGeom>
          <a:noFill/>
        </p:spPr>
        <p:txBody>
          <a:bodyPr wrap="square" rtlCol="0">
            <a:spAutoFit/>
          </a:bodyPr>
          <a:lstStyle/>
          <a:p>
            <a:r>
              <a:rPr lang="tr-TR" dirty="0" smtClean="0"/>
              <a:t>* TUİK İş kayıtları 2019</a:t>
            </a:r>
            <a:endParaRPr lang="tr-TR" dirty="0"/>
          </a:p>
        </p:txBody>
      </p:sp>
    </p:spTree>
    <p:extLst>
      <p:ext uri="{BB962C8B-B14F-4D97-AF65-F5344CB8AC3E}">
        <p14:creationId xmlns:p14="http://schemas.microsoft.com/office/powerpoint/2010/main" val="683138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Metin kutusu 6"/>
          <p:cNvSpPr txBox="1"/>
          <p:nvPr/>
        </p:nvSpPr>
        <p:spPr>
          <a:xfrm>
            <a:off x="1953641" y="323709"/>
            <a:ext cx="7934941" cy="523535"/>
          </a:xfrm>
          <a:prstGeom prst="rect">
            <a:avLst/>
          </a:prstGeom>
          <a:solidFill>
            <a:schemeClr val="bg1"/>
          </a:solidFill>
        </p:spPr>
        <p:txBody>
          <a:bodyPr wrap="square" lIns="91754" tIns="45876" rIns="91754" bIns="45876"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800" b="1" i="0" u="none" strike="noStrike" kern="1200" cap="none" spc="0" normalizeH="0" baseline="0" noProof="0" dirty="0">
                <a:ln>
                  <a:noFill/>
                </a:ln>
                <a:solidFill>
                  <a:srgbClr val="0086AC">
                    <a:lumMod val="75000"/>
                  </a:srgbClr>
                </a:solidFill>
                <a:effectLst>
                  <a:outerShdw blurRad="38100" dist="38100" dir="2700000" algn="tl">
                    <a:srgbClr val="000000">
                      <a:alpha val="43137"/>
                    </a:srgbClr>
                  </a:outerShdw>
                </a:effectLst>
                <a:uLnTx/>
                <a:uFillTx/>
                <a:latin typeface="Roboto Light"/>
                <a:ea typeface="+mn-ea"/>
                <a:cs typeface="+mn-cs"/>
              </a:rPr>
              <a:t>PROGRAMDAN YARARLANMA KOŞULU</a:t>
            </a:r>
          </a:p>
        </p:txBody>
      </p:sp>
      <p:graphicFrame>
        <p:nvGraphicFramePr>
          <p:cNvPr id="9" name="Diyagram 8"/>
          <p:cNvGraphicFramePr/>
          <p:nvPr>
            <p:extLst/>
          </p:nvPr>
        </p:nvGraphicFramePr>
        <p:xfrm>
          <a:off x="558801" y="1066801"/>
          <a:ext cx="11170416" cy="48086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Metin kutusu 9"/>
          <p:cNvSpPr txBox="1"/>
          <p:nvPr/>
        </p:nvSpPr>
        <p:spPr>
          <a:xfrm>
            <a:off x="1250499" y="5263666"/>
            <a:ext cx="10941501" cy="831312"/>
          </a:xfrm>
          <a:prstGeom prst="rect">
            <a:avLst/>
          </a:prstGeom>
          <a:noFill/>
        </p:spPr>
        <p:txBody>
          <a:bodyPr wrap="square" lIns="91754" tIns="45876" rIns="91754" bIns="45876"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tr-TR" sz="2400" b="0" i="0" u="none" strike="noStrike" kern="1200" cap="none" spc="0" normalizeH="0" baseline="0" noProof="0" dirty="0" smtClean="0">
                <a:ln>
                  <a:noFill/>
                </a:ln>
                <a:solidFill>
                  <a:srgbClr val="445469"/>
                </a:solidFill>
                <a:effectLst/>
                <a:uLnTx/>
                <a:uFillTx/>
                <a:latin typeface="Roboto Light"/>
                <a:ea typeface="+mn-ea"/>
                <a:cs typeface="Times New Roman" panose="02020603050405020304" pitchFamily="18" charset="0"/>
              </a:rPr>
              <a:t>Teknoloji </a:t>
            </a:r>
            <a:r>
              <a:rPr kumimoji="0" lang="tr-TR" sz="2400" b="0" i="0" u="none" strike="noStrike" kern="1200" cap="none" spc="0" normalizeH="0" baseline="0" noProof="0" dirty="0">
                <a:ln>
                  <a:noFill/>
                </a:ln>
                <a:solidFill>
                  <a:srgbClr val="445469"/>
                </a:solidFill>
                <a:effectLst/>
                <a:uLnTx/>
                <a:uFillTx/>
                <a:latin typeface="Roboto Light"/>
                <a:ea typeface="+mn-ea"/>
                <a:cs typeface="Times New Roman" panose="02020603050405020304" pitchFamily="18" charset="0"/>
              </a:rPr>
              <a:t>Odaklı Sanayi Hamlesi </a:t>
            </a:r>
            <a:r>
              <a:rPr kumimoji="0" lang="tr-TR" sz="2400" b="0" i="0" u="none" strike="noStrike" kern="1200" cap="none" spc="0" normalizeH="0" baseline="0" noProof="0" dirty="0" smtClean="0">
                <a:ln>
                  <a:noFill/>
                </a:ln>
                <a:solidFill>
                  <a:srgbClr val="445469"/>
                </a:solidFill>
                <a:effectLst/>
                <a:uLnTx/>
                <a:uFillTx/>
                <a:latin typeface="Roboto Light"/>
                <a:ea typeface="+mn-ea"/>
                <a:cs typeface="Times New Roman" panose="02020603050405020304" pitchFamily="18" charset="0"/>
              </a:rPr>
              <a:t>Programı kapsamında Sanayi ve Teknoloji Bakanlığı tarafından ilan edilen ürünleri üretmek </a:t>
            </a:r>
            <a:r>
              <a:rPr kumimoji="0" lang="tr-TR" sz="2400" b="0" i="0" u="none" strike="noStrike" kern="1200" cap="none" spc="0" normalizeH="0" baseline="0" noProof="0" dirty="0">
                <a:ln>
                  <a:noFill/>
                </a:ln>
                <a:solidFill>
                  <a:srgbClr val="445469"/>
                </a:solidFill>
                <a:effectLst/>
                <a:uLnTx/>
                <a:uFillTx/>
                <a:latin typeface="Roboto Light"/>
                <a:ea typeface="+mn-ea"/>
                <a:cs typeface="Times New Roman" panose="02020603050405020304" pitchFamily="18" charset="0"/>
              </a:rPr>
              <a:t>üzere başvurabilir.</a:t>
            </a:r>
          </a:p>
        </p:txBody>
      </p:sp>
    </p:spTree>
    <p:extLst>
      <p:ext uri="{BB962C8B-B14F-4D97-AF65-F5344CB8AC3E}">
        <p14:creationId xmlns:p14="http://schemas.microsoft.com/office/powerpoint/2010/main" val="39061965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5"/>
          <p:cNvSpPr txBox="1">
            <a:spLocks/>
          </p:cNvSpPr>
          <p:nvPr/>
        </p:nvSpPr>
        <p:spPr>
          <a:xfrm>
            <a:off x="2219480" y="7355190"/>
            <a:ext cx="1075483" cy="571466"/>
          </a:xfrm>
          <a:prstGeom prst="rect">
            <a:avLst/>
          </a:prstGeom>
          <a:noFill/>
          <a:ln>
            <a:miter lim="800000"/>
            <a:headEnd/>
            <a:tailEnd/>
          </a:ln>
        </p:spPr>
        <p:txBody>
          <a:bodyPr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E3B29AA5-3A34-4A67-9DD6-75C837EE9A54}" type="slidenum">
              <a:rPr kumimoji="0" lang="tr-TR" sz="1204"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tr-TR"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Metin kutusu 5"/>
          <p:cNvSpPr txBox="1"/>
          <p:nvPr/>
        </p:nvSpPr>
        <p:spPr>
          <a:xfrm>
            <a:off x="2017854" y="333994"/>
            <a:ext cx="6162059" cy="52322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800" b="1" i="0" u="none" strike="noStrike" kern="1200" cap="none" spc="0" normalizeH="0" baseline="0" noProof="0" dirty="0">
                <a:ln>
                  <a:noFill/>
                </a:ln>
                <a:solidFill>
                  <a:srgbClr val="0086AC">
                    <a:lumMod val="75000"/>
                  </a:srgbClr>
                </a:solidFill>
                <a:effectLst>
                  <a:outerShdw blurRad="38100" dist="38100" dir="2700000" algn="tl">
                    <a:srgbClr val="000000">
                      <a:alpha val="43137"/>
                    </a:srgbClr>
                  </a:outerShdw>
                </a:effectLst>
                <a:uLnTx/>
                <a:uFillTx/>
                <a:latin typeface="Roboto Light"/>
                <a:ea typeface="+mn-ea"/>
                <a:cs typeface="+mn-cs"/>
              </a:rPr>
              <a:t>DESTEK ÜST LİMİTİ VE ORANLARI</a:t>
            </a:r>
          </a:p>
        </p:txBody>
      </p:sp>
      <p:graphicFrame>
        <p:nvGraphicFramePr>
          <p:cNvPr id="8" name="Tablo 7"/>
          <p:cNvGraphicFramePr>
            <a:graphicFrameLocks noGrp="1"/>
          </p:cNvGraphicFramePr>
          <p:nvPr>
            <p:extLst/>
          </p:nvPr>
        </p:nvGraphicFramePr>
        <p:xfrm>
          <a:off x="1054538" y="1437198"/>
          <a:ext cx="9811380" cy="741680"/>
        </p:xfrm>
        <a:graphic>
          <a:graphicData uri="http://schemas.openxmlformats.org/drawingml/2006/table">
            <a:tbl>
              <a:tblPr firstRow="1" bandRow="1">
                <a:tableStyleId>{5C22544A-7EE6-4342-B048-85BDC9FD1C3A}</a:tableStyleId>
              </a:tblPr>
              <a:tblGrid>
                <a:gridCol w="3270460">
                  <a:extLst>
                    <a:ext uri="{9D8B030D-6E8A-4147-A177-3AD203B41FA5}">
                      <a16:colId xmlns:a16="http://schemas.microsoft.com/office/drawing/2014/main" val="2079036794"/>
                    </a:ext>
                  </a:extLst>
                </a:gridCol>
                <a:gridCol w="2420186">
                  <a:extLst>
                    <a:ext uri="{9D8B030D-6E8A-4147-A177-3AD203B41FA5}">
                      <a16:colId xmlns:a16="http://schemas.microsoft.com/office/drawing/2014/main" val="114252512"/>
                    </a:ext>
                  </a:extLst>
                </a:gridCol>
                <a:gridCol w="4120734">
                  <a:extLst>
                    <a:ext uri="{9D8B030D-6E8A-4147-A177-3AD203B41FA5}">
                      <a16:colId xmlns:a16="http://schemas.microsoft.com/office/drawing/2014/main" val="2943912940"/>
                    </a:ext>
                  </a:extLst>
                </a:gridCol>
              </a:tblGrid>
              <a:tr h="370840">
                <a:tc rowSpan="2">
                  <a:txBody>
                    <a:bodyPr/>
                    <a:lstStyle/>
                    <a:p>
                      <a:pPr algn="ctr"/>
                      <a:r>
                        <a:rPr lang="tr-TR" dirty="0" smtClean="0"/>
                        <a:t>Destek Üst Limiti</a:t>
                      </a:r>
                      <a:endParaRPr lang="tr-TR" dirty="0"/>
                    </a:p>
                  </a:txBody>
                  <a:tcPr anchor="ctr"/>
                </a:tc>
                <a:tc rowSpan="2">
                  <a:txBody>
                    <a:bodyPr/>
                    <a:lstStyle/>
                    <a:p>
                      <a:pPr algn="ctr"/>
                      <a:r>
                        <a:rPr lang="tr-TR" dirty="0" smtClean="0"/>
                        <a:t>5.000.000 TL</a:t>
                      </a:r>
                      <a:endParaRPr lang="tr-TR" dirty="0"/>
                    </a:p>
                  </a:txBody>
                  <a:tcPr anchor="ctr"/>
                </a:tc>
                <a:tc>
                  <a:txBody>
                    <a:bodyPr/>
                    <a:lstStyle/>
                    <a:p>
                      <a:pPr algn="r"/>
                      <a:r>
                        <a:rPr lang="tr-TR" b="1" dirty="0" smtClean="0">
                          <a:solidFill>
                            <a:schemeClr val="tx2">
                              <a:lumMod val="75000"/>
                            </a:schemeClr>
                          </a:solidFill>
                        </a:rPr>
                        <a:t>1.800.000 TL</a:t>
                      </a:r>
                      <a:r>
                        <a:rPr lang="tr-TR" b="1" baseline="0" dirty="0" smtClean="0">
                          <a:solidFill>
                            <a:schemeClr val="tx2">
                              <a:lumMod val="75000"/>
                            </a:schemeClr>
                          </a:solidFill>
                        </a:rPr>
                        <a:t> - Geri ödemesiz</a:t>
                      </a:r>
                      <a:endParaRPr lang="tr-TR" b="1" dirty="0">
                        <a:solidFill>
                          <a:schemeClr val="tx2">
                            <a:lumMod val="75000"/>
                          </a:schemeClr>
                        </a:solidFill>
                      </a:endParaRPr>
                    </a:p>
                  </a:txBody>
                  <a:tcPr anchor="ctr">
                    <a:solidFill>
                      <a:schemeClr val="tx2">
                        <a:lumMod val="20000"/>
                        <a:lumOff val="80000"/>
                      </a:schemeClr>
                    </a:solidFill>
                  </a:tcPr>
                </a:tc>
                <a:extLst>
                  <a:ext uri="{0D108BD9-81ED-4DB2-BD59-A6C34878D82A}">
                    <a16:rowId xmlns:a16="http://schemas.microsoft.com/office/drawing/2014/main" val="3363246724"/>
                  </a:ext>
                </a:extLst>
              </a:tr>
              <a:tr h="370840">
                <a:tc vMerge="1">
                  <a:txBody>
                    <a:bodyPr/>
                    <a:lstStyle/>
                    <a:p>
                      <a:endParaRPr lang="tr-TR" dirty="0"/>
                    </a:p>
                  </a:txBody>
                  <a:tcPr/>
                </a:tc>
                <a:tc vMerge="1">
                  <a:txBody>
                    <a:bodyPr/>
                    <a:lstStyle/>
                    <a:p>
                      <a:endParaRPr lang="tr-TR" dirty="0"/>
                    </a:p>
                  </a:txBody>
                  <a:tcPr/>
                </a:tc>
                <a:tc>
                  <a:txBody>
                    <a:bodyPr/>
                    <a:lstStyle/>
                    <a:p>
                      <a:pPr algn="r"/>
                      <a:r>
                        <a:rPr lang="tr-TR" b="1" dirty="0" smtClean="0">
                          <a:solidFill>
                            <a:schemeClr val="tx2">
                              <a:lumMod val="75000"/>
                            </a:schemeClr>
                          </a:solidFill>
                        </a:rPr>
                        <a:t>4.200.000 TL - Geri Ödemeli</a:t>
                      </a:r>
                      <a:endParaRPr lang="tr-TR" b="1" dirty="0">
                        <a:solidFill>
                          <a:schemeClr val="tx2">
                            <a:lumMod val="75000"/>
                          </a:schemeClr>
                        </a:solidFill>
                      </a:endParaRPr>
                    </a:p>
                  </a:txBody>
                  <a:tcPr>
                    <a:solidFill>
                      <a:schemeClr val="tx2">
                        <a:lumMod val="20000"/>
                        <a:lumOff val="80000"/>
                      </a:schemeClr>
                    </a:solidFill>
                  </a:tcPr>
                </a:tc>
                <a:extLst>
                  <a:ext uri="{0D108BD9-81ED-4DB2-BD59-A6C34878D82A}">
                    <a16:rowId xmlns:a16="http://schemas.microsoft.com/office/drawing/2014/main" val="3627241477"/>
                  </a:ext>
                </a:extLst>
              </a:tr>
            </a:tbl>
          </a:graphicData>
        </a:graphic>
      </p:graphicFrame>
      <p:graphicFrame>
        <p:nvGraphicFramePr>
          <p:cNvPr id="11" name="Tablo 10"/>
          <p:cNvGraphicFramePr>
            <a:graphicFrameLocks noGrp="1"/>
          </p:cNvGraphicFramePr>
          <p:nvPr>
            <p:extLst/>
          </p:nvPr>
        </p:nvGraphicFramePr>
        <p:xfrm>
          <a:off x="1054538" y="4411755"/>
          <a:ext cx="9811380" cy="741680"/>
        </p:xfrm>
        <a:graphic>
          <a:graphicData uri="http://schemas.openxmlformats.org/drawingml/2006/table">
            <a:tbl>
              <a:tblPr firstRow="1" bandRow="1">
                <a:tableStyleId>{5C22544A-7EE6-4342-B048-85BDC9FD1C3A}</a:tableStyleId>
              </a:tblPr>
              <a:tblGrid>
                <a:gridCol w="4014378">
                  <a:extLst>
                    <a:ext uri="{9D8B030D-6E8A-4147-A177-3AD203B41FA5}">
                      <a16:colId xmlns:a16="http://schemas.microsoft.com/office/drawing/2014/main" val="2079036794"/>
                    </a:ext>
                  </a:extLst>
                </a:gridCol>
                <a:gridCol w="5797002">
                  <a:extLst>
                    <a:ext uri="{9D8B030D-6E8A-4147-A177-3AD203B41FA5}">
                      <a16:colId xmlns:a16="http://schemas.microsoft.com/office/drawing/2014/main" val="114252512"/>
                    </a:ext>
                  </a:extLst>
                </a:gridCol>
              </a:tblGrid>
              <a:tr h="741680">
                <a:tc>
                  <a:txBody>
                    <a:bodyPr/>
                    <a:lstStyle/>
                    <a:p>
                      <a:pPr algn="l"/>
                      <a:r>
                        <a:rPr lang="tr-TR" dirty="0" smtClean="0">
                          <a:solidFill>
                            <a:schemeClr val="bg1"/>
                          </a:solidFill>
                        </a:rPr>
                        <a:t>   Destek Oranı</a:t>
                      </a:r>
                      <a:endParaRPr lang="tr-TR" dirty="0">
                        <a:solidFill>
                          <a:schemeClr val="bg1"/>
                        </a:solidFill>
                      </a:endParaRPr>
                    </a:p>
                  </a:txBody>
                  <a:tcPr anchor="ctr"/>
                </a:tc>
                <a:tc>
                  <a:txBody>
                    <a:bodyPr/>
                    <a:lstStyle/>
                    <a:p>
                      <a:pPr algn="ctr"/>
                      <a:r>
                        <a:rPr lang="tr-TR" dirty="0" smtClean="0">
                          <a:solidFill>
                            <a:schemeClr val="bg1"/>
                          </a:solidFill>
                        </a:rPr>
                        <a:t>%30’u geri ödemesiz</a:t>
                      </a:r>
                    </a:p>
                    <a:p>
                      <a:pPr marL="0" marR="0" indent="0" algn="ctr" defTabSz="1219275" rtl="0" eaLnBrk="1" fontAlgn="auto" latinLnBrk="0" hangingPunct="1">
                        <a:lnSpc>
                          <a:spcPct val="100000"/>
                        </a:lnSpc>
                        <a:spcBef>
                          <a:spcPts val="0"/>
                        </a:spcBef>
                        <a:spcAft>
                          <a:spcPts val="0"/>
                        </a:spcAft>
                        <a:buClrTx/>
                        <a:buSzTx/>
                        <a:buFontTx/>
                        <a:buNone/>
                        <a:tabLst/>
                        <a:defRPr/>
                      </a:pPr>
                      <a:r>
                        <a:rPr lang="tr-TR" b="1" dirty="0" smtClean="0">
                          <a:solidFill>
                            <a:schemeClr val="bg1"/>
                          </a:solidFill>
                        </a:rPr>
                        <a:t>%70’i geri ödemeli</a:t>
                      </a:r>
                    </a:p>
                  </a:txBody>
                  <a:tcPr anchor="ctr"/>
                </a:tc>
                <a:extLst>
                  <a:ext uri="{0D108BD9-81ED-4DB2-BD59-A6C34878D82A}">
                    <a16:rowId xmlns:a16="http://schemas.microsoft.com/office/drawing/2014/main" val="3363246724"/>
                  </a:ext>
                </a:extLst>
              </a:tr>
            </a:tbl>
          </a:graphicData>
        </a:graphic>
      </p:graphicFrame>
      <p:sp>
        <p:nvSpPr>
          <p:cNvPr id="12" name="Oval 11"/>
          <p:cNvSpPr/>
          <p:nvPr/>
        </p:nvSpPr>
        <p:spPr>
          <a:xfrm>
            <a:off x="4204582" y="1013730"/>
            <a:ext cx="2698466" cy="1923025"/>
          </a:xfrm>
          <a:prstGeom prst="ellipse">
            <a:avLst/>
          </a:pr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13" name="Oval 4"/>
          <p:cNvSpPr txBox="1"/>
          <p:nvPr/>
        </p:nvSpPr>
        <p:spPr>
          <a:xfrm>
            <a:off x="4599763" y="1207542"/>
            <a:ext cx="1908104" cy="1359785"/>
          </a:xfrm>
          <a:prstGeom prst="rect">
            <a:avLst/>
          </a:prstGeom>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tr-TR" sz="2800" b="1" i="0" u="none" strike="noStrike" kern="1200" cap="none" spc="0" normalizeH="0" baseline="0" noProof="0" dirty="0" smtClean="0">
                <a:ln>
                  <a:noFill/>
                </a:ln>
                <a:solidFill>
                  <a:srgbClr val="F6F8F8"/>
                </a:solidFill>
                <a:effectLst/>
                <a:uLnTx/>
                <a:uFillTx/>
                <a:latin typeface="Calibri Light" panose="020F0302020204030204"/>
                <a:ea typeface="+mn-ea"/>
                <a:cs typeface="+mn-cs"/>
              </a:rPr>
              <a:t>Toplam</a:t>
            </a:r>
          </a:p>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tr-TR" sz="2800" b="1" i="0" u="none" strike="noStrike" kern="1200" cap="none" spc="0" normalizeH="0" baseline="0" noProof="0" dirty="0">
                <a:ln>
                  <a:noFill/>
                </a:ln>
                <a:solidFill>
                  <a:srgbClr val="F6F8F8"/>
                </a:solidFill>
                <a:effectLst/>
                <a:uLnTx/>
                <a:uFillTx/>
                <a:latin typeface="Calibri Light" panose="020F0302020204030204"/>
                <a:ea typeface="+mn-ea"/>
                <a:cs typeface="+mn-cs"/>
              </a:rPr>
              <a:t>6</a:t>
            </a:r>
            <a:r>
              <a:rPr kumimoji="0" lang="tr-TR" sz="2800" b="1" i="0" u="none" strike="noStrike" kern="1200" cap="none" spc="0" normalizeH="0" baseline="0" noProof="0" dirty="0" smtClean="0">
                <a:ln>
                  <a:noFill/>
                </a:ln>
                <a:solidFill>
                  <a:srgbClr val="F6F8F8"/>
                </a:solidFill>
                <a:effectLst/>
                <a:uLnTx/>
                <a:uFillTx/>
                <a:latin typeface="Calibri Light" panose="020F0302020204030204"/>
                <a:ea typeface="+mn-ea"/>
                <a:cs typeface="+mn-cs"/>
              </a:rPr>
              <a:t>.000.000TL</a:t>
            </a:r>
            <a:endParaRPr kumimoji="0" lang="tr-TR" sz="2800" b="1" i="0" u="none" strike="noStrike" kern="1200" cap="none" spc="0" normalizeH="0" baseline="0" noProof="0" dirty="0">
              <a:ln>
                <a:noFill/>
              </a:ln>
              <a:solidFill>
                <a:srgbClr val="F6F8F8"/>
              </a:solidFill>
              <a:effectLst/>
              <a:uLnTx/>
              <a:uFillTx/>
              <a:latin typeface="Calibri Light" panose="020F0302020204030204"/>
              <a:ea typeface="+mn-ea"/>
              <a:cs typeface="+mn-cs"/>
            </a:endParaRPr>
          </a:p>
        </p:txBody>
      </p:sp>
      <p:grpSp>
        <p:nvGrpSpPr>
          <p:cNvPr id="14" name="Grup 13"/>
          <p:cNvGrpSpPr/>
          <p:nvPr/>
        </p:nvGrpSpPr>
        <p:grpSpPr>
          <a:xfrm>
            <a:off x="3119015" y="3861505"/>
            <a:ext cx="2434800" cy="1923025"/>
            <a:chOff x="5417807" y="356936"/>
            <a:chExt cx="2434800" cy="1923025"/>
          </a:xfrm>
          <a:scene3d>
            <a:camera prst="orthographicFront"/>
            <a:lightRig rig="threePt" dir="t">
              <a:rot lat="0" lon="0" rev="7500000"/>
            </a:lightRig>
          </a:scene3d>
        </p:grpSpPr>
        <p:sp>
          <p:nvSpPr>
            <p:cNvPr id="15" name="Oval 14"/>
            <p:cNvSpPr/>
            <p:nvPr/>
          </p:nvSpPr>
          <p:spPr>
            <a:xfrm>
              <a:off x="5417807" y="356936"/>
              <a:ext cx="2434800" cy="1923025"/>
            </a:xfrm>
            <a:prstGeom prst="ellipse">
              <a:avLst/>
            </a:prstGeom>
            <a:sp3d prstMaterial="plastic">
              <a:bevelT w="127000" h="25400" prst="relaxedInset"/>
            </a:sp3d>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16" name="Oval 4"/>
            <p:cNvSpPr txBox="1"/>
            <p:nvPr/>
          </p:nvSpPr>
          <p:spPr>
            <a:xfrm>
              <a:off x="5774375" y="697171"/>
              <a:ext cx="1892064" cy="135978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tr-TR" sz="2800" b="1" i="0" u="none" strike="noStrike" kern="1200" cap="none" spc="0" normalizeH="0" baseline="0" noProof="0" dirty="0" smtClean="0">
                  <a:ln>
                    <a:noFill/>
                  </a:ln>
                  <a:solidFill>
                    <a:srgbClr val="F6F8F8"/>
                  </a:solidFill>
                  <a:effectLst/>
                  <a:uLnTx/>
                  <a:uFillTx/>
                  <a:latin typeface="Calibri Light" panose="020F0302020204030204"/>
                  <a:ea typeface="+mn-ea"/>
                  <a:cs typeface="+mn-cs"/>
                </a:rPr>
                <a:t>Destek Oranı %60 *</a:t>
              </a:r>
              <a:endParaRPr kumimoji="0" lang="tr-TR" sz="2800" b="1" i="0" u="none" strike="noStrike" kern="1200" cap="none" spc="0" normalizeH="0" baseline="0" noProof="0" dirty="0">
                <a:ln>
                  <a:noFill/>
                </a:ln>
                <a:solidFill>
                  <a:srgbClr val="F6F8F8"/>
                </a:solidFill>
                <a:effectLst/>
                <a:uLnTx/>
                <a:uFillTx/>
                <a:latin typeface="Calibri Light" panose="020F0302020204030204"/>
                <a:ea typeface="+mn-ea"/>
                <a:cs typeface="+mn-cs"/>
              </a:endParaRPr>
            </a:p>
          </p:txBody>
        </p:sp>
      </p:grpSp>
      <p:sp>
        <p:nvSpPr>
          <p:cNvPr id="17" name="Metin kutusu 16"/>
          <p:cNvSpPr txBox="1"/>
          <p:nvPr/>
        </p:nvSpPr>
        <p:spPr>
          <a:xfrm>
            <a:off x="0" y="6400792"/>
            <a:ext cx="12192000" cy="523220"/>
          </a:xfrm>
          <a:prstGeom prst="rect">
            <a:avLst/>
          </a:prstGeom>
          <a:noFill/>
        </p:spPr>
        <p:txBody>
          <a:bodyPr wrap="square" rtlCol="0">
            <a:spAutoFit/>
          </a:bodyPr>
          <a:lstStyle/>
          <a:p>
            <a:pPr marL="0" marR="0" lvl="0" indent="0" algn="l" defTabSz="917783" rtl="0" eaLnBrk="1" fontAlgn="base" latinLnBrk="0" hangingPunct="1">
              <a:lnSpc>
                <a:spcPct val="100000"/>
              </a:lnSpc>
              <a:spcBef>
                <a:spcPct val="0"/>
              </a:spcBef>
              <a:spcAft>
                <a:spcPct val="0"/>
              </a:spcAft>
              <a:buClrTx/>
              <a:buSzTx/>
              <a:buFontTx/>
              <a:buNone/>
              <a:tabLst/>
              <a:defRPr/>
            </a:pPr>
            <a:r>
              <a:rPr kumimoji="0" lang="tr-TR" sz="1400" b="0" i="0" u="none" strike="noStrike" kern="1200" cap="none" spc="0" normalizeH="0" baseline="0" noProof="0" dirty="0" smtClean="0">
                <a:ln>
                  <a:noFill/>
                </a:ln>
                <a:solidFill>
                  <a:prstClr val="black"/>
                </a:solidFill>
                <a:effectLst/>
                <a:uLnTx/>
                <a:uFillTx/>
                <a:latin typeface="Calibri" pitchFamily="34" charset="0"/>
                <a:ea typeface="ヒラギノ角ゴ Pro W3" pitchFamily="1" charset="-128"/>
                <a:cs typeface="+mn-cs"/>
              </a:rPr>
              <a:t>*</a:t>
            </a:r>
            <a:r>
              <a:rPr kumimoji="0" lang="tr-TR" sz="1400" b="0" i="0" u="none" strike="noStrike" kern="1200" cap="none" spc="0" normalizeH="0" baseline="0" noProof="0" dirty="0" err="1" smtClean="0">
                <a:ln>
                  <a:noFill/>
                </a:ln>
                <a:solidFill>
                  <a:prstClr val="black"/>
                </a:solidFill>
                <a:effectLst/>
                <a:uLnTx/>
                <a:uFillTx/>
                <a:latin typeface="Calibri" pitchFamily="34" charset="0"/>
                <a:ea typeface="ヒラギノ角ゴ Pro W3" pitchFamily="1" charset="-128"/>
                <a:cs typeface="+mn-cs"/>
              </a:rPr>
              <a:t>Örn</a:t>
            </a:r>
            <a:r>
              <a:rPr kumimoji="0" lang="tr-TR" sz="1400" b="0" i="0" u="none" strike="noStrike" kern="1200" cap="none" spc="0" normalizeH="0" baseline="0" noProof="0" dirty="0" smtClean="0">
                <a:ln>
                  <a:noFill/>
                </a:ln>
                <a:solidFill>
                  <a:prstClr val="black"/>
                </a:solidFill>
                <a:effectLst/>
                <a:uLnTx/>
                <a:uFillTx/>
                <a:latin typeface="Calibri" pitchFamily="34" charset="0"/>
                <a:ea typeface="ヒラギノ角ゴ Pro W3" pitchFamily="1" charset="-128"/>
                <a:cs typeface="+mn-cs"/>
              </a:rPr>
              <a:t> Komitenin uygun bulduğu 1 Milyon TL’lik bir makine-teçhizat için KOSGEB tarafından 600 Bin TL destek verilmektedir. Bu desteğin 180 Bin TL’si geri ödemesiz, 420 Bin TL’si ise geri ödemeli olarak sağlanmaktadır.</a:t>
            </a:r>
          </a:p>
        </p:txBody>
      </p:sp>
      <p:graphicFrame>
        <p:nvGraphicFramePr>
          <p:cNvPr id="18" name="Tablo 17"/>
          <p:cNvGraphicFramePr>
            <a:graphicFrameLocks noGrp="1"/>
          </p:cNvGraphicFramePr>
          <p:nvPr>
            <p:extLst/>
          </p:nvPr>
        </p:nvGraphicFramePr>
        <p:xfrm>
          <a:off x="1045516" y="3015131"/>
          <a:ext cx="9811380" cy="741680"/>
        </p:xfrm>
        <a:graphic>
          <a:graphicData uri="http://schemas.openxmlformats.org/drawingml/2006/table">
            <a:tbl>
              <a:tblPr firstRow="1" bandRow="1">
                <a:tableStyleId>{5C22544A-7EE6-4342-B048-85BDC9FD1C3A}</a:tableStyleId>
              </a:tblPr>
              <a:tblGrid>
                <a:gridCol w="3270460">
                  <a:extLst>
                    <a:ext uri="{9D8B030D-6E8A-4147-A177-3AD203B41FA5}">
                      <a16:colId xmlns:a16="http://schemas.microsoft.com/office/drawing/2014/main" val="2079036794"/>
                    </a:ext>
                  </a:extLst>
                </a:gridCol>
                <a:gridCol w="6540920">
                  <a:extLst>
                    <a:ext uri="{9D8B030D-6E8A-4147-A177-3AD203B41FA5}">
                      <a16:colId xmlns:a16="http://schemas.microsoft.com/office/drawing/2014/main" val="114252512"/>
                    </a:ext>
                  </a:extLst>
                </a:gridCol>
              </a:tblGrid>
              <a:tr h="741680">
                <a:tc>
                  <a:txBody>
                    <a:bodyPr/>
                    <a:lstStyle/>
                    <a:p>
                      <a:pPr algn="ctr"/>
                      <a:r>
                        <a:rPr lang="tr-TR" dirty="0" smtClean="0"/>
                        <a:t>Erken Ödeme</a:t>
                      </a:r>
                      <a:endParaRPr lang="tr-TR" dirty="0"/>
                    </a:p>
                  </a:txBody>
                  <a:tcPr anchor="ctr"/>
                </a:tc>
                <a:tc>
                  <a:txBody>
                    <a:bodyPr/>
                    <a:lstStyle/>
                    <a:p>
                      <a:pPr marL="0" marR="0" indent="0" algn="ctr" defTabSz="1219275" rtl="0" eaLnBrk="1" fontAlgn="auto" latinLnBrk="0" hangingPunct="1">
                        <a:lnSpc>
                          <a:spcPct val="100000"/>
                        </a:lnSpc>
                        <a:spcBef>
                          <a:spcPts val="0"/>
                        </a:spcBef>
                        <a:spcAft>
                          <a:spcPts val="0"/>
                        </a:spcAft>
                        <a:buClrTx/>
                        <a:buSzTx/>
                        <a:buFontTx/>
                        <a:buNone/>
                        <a:tabLst/>
                        <a:defRPr/>
                      </a:pPr>
                      <a:r>
                        <a:rPr lang="tr-TR" b="1" baseline="0" dirty="0" smtClean="0">
                          <a:solidFill>
                            <a:schemeClr val="tx2">
                              <a:lumMod val="75000"/>
                            </a:schemeClr>
                          </a:solidFill>
                        </a:rPr>
                        <a:t>Geri ödemeli destek tutarının %35’ine kadar</a:t>
                      </a:r>
                      <a:endParaRPr lang="tr-TR" b="1" dirty="0" smtClean="0">
                        <a:solidFill>
                          <a:schemeClr val="tx2">
                            <a:lumMod val="75000"/>
                          </a:schemeClr>
                        </a:solidFill>
                      </a:endParaRPr>
                    </a:p>
                  </a:txBody>
                  <a:tcPr anchor="ctr">
                    <a:solidFill>
                      <a:schemeClr val="tx2">
                        <a:lumMod val="20000"/>
                        <a:lumOff val="80000"/>
                      </a:schemeClr>
                    </a:solidFill>
                  </a:tcPr>
                </a:tc>
                <a:extLst>
                  <a:ext uri="{0D108BD9-81ED-4DB2-BD59-A6C34878D82A}">
                    <a16:rowId xmlns:a16="http://schemas.microsoft.com/office/drawing/2014/main" val="3363246724"/>
                  </a:ext>
                </a:extLst>
              </a:tr>
            </a:tbl>
          </a:graphicData>
        </a:graphic>
      </p:graphicFrame>
    </p:spTree>
    <p:extLst>
      <p:ext uri="{BB962C8B-B14F-4D97-AF65-F5344CB8AC3E}">
        <p14:creationId xmlns:p14="http://schemas.microsoft.com/office/powerpoint/2010/main" val="789216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o 1"/>
          <p:cNvGraphicFramePr>
            <a:graphicFrameLocks noGrp="1"/>
          </p:cNvGraphicFramePr>
          <p:nvPr>
            <p:extLst/>
          </p:nvPr>
        </p:nvGraphicFramePr>
        <p:xfrm>
          <a:off x="275505" y="1080446"/>
          <a:ext cx="11443063" cy="5907554"/>
        </p:xfrm>
        <a:graphic>
          <a:graphicData uri="http://schemas.openxmlformats.org/drawingml/2006/table">
            <a:tbl>
              <a:tblPr firstRow="1" bandRow="1">
                <a:tableStyleId>{073A0DAA-6AF3-43AB-8588-CEC1D06C72B9}</a:tableStyleId>
              </a:tblPr>
              <a:tblGrid>
                <a:gridCol w="6000629">
                  <a:extLst>
                    <a:ext uri="{9D8B030D-6E8A-4147-A177-3AD203B41FA5}">
                      <a16:colId xmlns:a16="http://schemas.microsoft.com/office/drawing/2014/main" val="20000"/>
                    </a:ext>
                  </a:extLst>
                </a:gridCol>
                <a:gridCol w="2139759">
                  <a:extLst>
                    <a:ext uri="{9D8B030D-6E8A-4147-A177-3AD203B41FA5}">
                      <a16:colId xmlns:a16="http://schemas.microsoft.com/office/drawing/2014/main" val="20001"/>
                    </a:ext>
                  </a:extLst>
                </a:gridCol>
                <a:gridCol w="1674597">
                  <a:extLst>
                    <a:ext uri="{9D8B030D-6E8A-4147-A177-3AD203B41FA5}">
                      <a16:colId xmlns:a16="http://schemas.microsoft.com/office/drawing/2014/main" val="20002"/>
                    </a:ext>
                  </a:extLst>
                </a:gridCol>
                <a:gridCol w="1628078">
                  <a:extLst>
                    <a:ext uri="{9D8B030D-6E8A-4147-A177-3AD203B41FA5}">
                      <a16:colId xmlns:a16="http://schemas.microsoft.com/office/drawing/2014/main" val="20003"/>
                    </a:ext>
                  </a:extLst>
                </a:gridCol>
              </a:tblGrid>
              <a:tr h="582644">
                <a:tc rowSpan="2">
                  <a:txBody>
                    <a:bodyPr/>
                    <a:lstStyle/>
                    <a:p>
                      <a:pPr algn="ctr"/>
                      <a:r>
                        <a:rPr lang="tr-TR" sz="2000" dirty="0" smtClean="0"/>
                        <a:t>Destek Unsurları </a:t>
                      </a:r>
                      <a:endParaRPr lang="tr-TR" sz="2000" dirty="0"/>
                    </a:p>
                  </a:txBody>
                  <a:tcPr marL="109728" marR="109728" marT="45721" marB="45721" anchor="ctr"/>
                </a:tc>
                <a:tc rowSpan="2">
                  <a:txBody>
                    <a:bodyPr/>
                    <a:lstStyle/>
                    <a:p>
                      <a:pPr algn="ctr"/>
                      <a:r>
                        <a:rPr lang="tr-TR" sz="2000" dirty="0" smtClean="0"/>
                        <a:t>Destek Üst Limiti (TL)</a:t>
                      </a:r>
                      <a:endParaRPr lang="tr-TR" sz="2000" dirty="0"/>
                    </a:p>
                  </a:txBody>
                  <a:tcPr marL="109728" marR="109728" marT="45721" marB="45721" anchor="ctr"/>
                </a:tc>
                <a:tc gridSpan="2">
                  <a:txBody>
                    <a:bodyPr/>
                    <a:lstStyle/>
                    <a:p>
                      <a:pPr algn="ctr"/>
                      <a:r>
                        <a:rPr lang="tr-TR" sz="2000" dirty="0" smtClean="0"/>
                        <a:t>Destek Oranı</a:t>
                      </a:r>
                    </a:p>
                    <a:p>
                      <a:pPr algn="ctr"/>
                      <a:r>
                        <a:rPr lang="tr-TR" sz="2000" dirty="0" smtClean="0"/>
                        <a:t>(%60)</a:t>
                      </a:r>
                      <a:endParaRPr lang="tr-TR" sz="2000" dirty="0"/>
                    </a:p>
                  </a:txBody>
                  <a:tcPr marL="109728" marR="109728" marT="45721" marB="45721" anchor="ctr"/>
                </a:tc>
                <a:tc hMerge="1">
                  <a:txBody>
                    <a:bodyPr/>
                    <a:lstStyle/>
                    <a:p>
                      <a:pPr algn="ctr"/>
                      <a:endParaRPr lang="tr-TR" sz="1800" dirty="0"/>
                    </a:p>
                  </a:txBody>
                  <a:tcPr anchor="ctr">
                    <a:solidFill>
                      <a:schemeClr val="accent1">
                        <a:lumMod val="60000"/>
                        <a:lumOff val="40000"/>
                      </a:schemeClr>
                    </a:solidFill>
                  </a:tcPr>
                </a:tc>
                <a:extLst>
                  <a:ext uri="{0D108BD9-81ED-4DB2-BD59-A6C34878D82A}">
                    <a16:rowId xmlns:a16="http://schemas.microsoft.com/office/drawing/2014/main" val="10000"/>
                  </a:ext>
                </a:extLst>
              </a:tr>
              <a:tr h="278656">
                <a:tc vMerge="1">
                  <a:txBody>
                    <a:bodyPr/>
                    <a:lstStyle/>
                    <a:p>
                      <a:endParaRPr lang="en-US"/>
                    </a:p>
                  </a:txBody>
                  <a:tcPr/>
                </a:tc>
                <a:tc vMerge="1">
                  <a:txBody>
                    <a:bodyPr/>
                    <a:lstStyle/>
                    <a:p>
                      <a:endParaRPr lang="en-US"/>
                    </a:p>
                  </a:txBody>
                  <a:tcPr/>
                </a:tc>
                <a:tc>
                  <a:txBody>
                    <a:bodyPr/>
                    <a:lstStyle/>
                    <a:p>
                      <a:pPr algn="ctr"/>
                      <a:r>
                        <a:rPr lang="tr-TR" sz="1600" dirty="0" smtClean="0"/>
                        <a:t>Geri Ödemesiz</a:t>
                      </a:r>
                      <a:endParaRPr lang="tr-TR" sz="1600" dirty="0"/>
                    </a:p>
                  </a:txBody>
                  <a:tcPr marL="109728" marR="109728" marT="45721" marB="45721" anchor="ctr"/>
                </a:tc>
                <a:tc>
                  <a:txBody>
                    <a:bodyPr/>
                    <a:lstStyle/>
                    <a:p>
                      <a:pPr algn="ctr"/>
                      <a:r>
                        <a:rPr lang="tr-TR" sz="1600" dirty="0" smtClean="0"/>
                        <a:t>Geri Ödemeli</a:t>
                      </a:r>
                      <a:endParaRPr lang="en-US" sz="1600" dirty="0"/>
                    </a:p>
                  </a:txBody>
                  <a:tcPr marL="109728" marR="109728" marT="45721" marB="45721" anchor="ctr"/>
                </a:tc>
                <a:extLst>
                  <a:ext uri="{0D108BD9-81ED-4DB2-BD59-A6C34878D82A}">
                    <a16:rowId xmlns:a16="http://schemas.microsoft.com/office/drawing/2014/main" val="10001"/>
                  </a:ext>
                </a:extLst>
              </a:tr>
              <a:tr h="278656">
                <a:tc>
                  <a:txBody>
                    <a:bodyPr/>
                    <a:lstStyle/>
                    <a:p>
                      <a:pPr algn="ctr"/>
                      <a:r>
                        <a:rPr lang="tr-TR" sz="1600" kern="1200" dirty="0" smtClean="0">
                          <a:effectLst/>
                        </a:rPr>
                        <a:t>Makine - teçhizat desteği</a:t>
                      </a:r>
                      <a:endParaRPr lang="tr-TR" sz="1600" dirty="0"/>
                    </a:p>
                  </a:txBody>
                  <a:tcPr marL="109728" marR="109728" marT="45721" marB="45721" anchor="ctr"/>
                </a:tc>
                <a:tc rowSpan="5">
                  <a:txBody>
                    <a:bodyPr/>
                    <a:lstStyle/>
                    <a:p>
                      <a:pPr algn="ctr"/>
                      <a:r>
                        <a:rPr lang="tr-TR" sz="1800" dirty="0" smtClean="0"/>
                        <a:t>6.000.000</a:t>
                      </a:r>
                      <a:endParaRPr lang="tr-TR" sz="1800" dirty="0"/>
                    </a:p>
                  </a:txBody>
                  <a:tcPr marL="109728" marR="109728" marT="45721" marB="45721" anchor="ctr"/>
                </a:tc>
                <a:tc rowSpan="2">
                  <a:txBody>
                    <a:bodyPr/>
                    <a:lstStyle/>
                    <a:p>
                      <a:pPr algn="ctr"/>
                      <a:r>
                        <a:rPr lang="tr-TR" sz="1800" dirty="0" smtClean="0"/>
                        <a:t>30</a:t>
                      </a:r>
                      <a:endParaRPr lang="tr-TR" sz="1800" dirty="0"/>
                    </a:p>
                  </a:txBody>
                  <a:tcPr marL="109728" marR="109728" marT="45721" marB="45721" anchor="ctr"/>
                </a:tc>
                <a:tc rowSpan="2">
                  <a:txBody>
                    <a:bodyPr/>
                    <a:lstStyle/>
                    <a:p>
                      <a:pPr algn="ctr"/>
                      <a:endParaRPr lang="tr-TR" sz="1800" dirty="0" smtClean="0"/>
                    </a:p>
                    <a:p>
                      <a:pPr algn="ctr"/>
                      <a:r>
                        <a:rPr lang="tr-TR" sz="1800" dirty="0" smtClean="0"/>
                        <a:t>70</a:t>
                      </a:r>
                      <a:endParaRPr lang="en-US" sz="1800" dirty="0"/>
                    </a:p>
                    <a:p>
                      <a:pPr algn="ctr"/>
                      <a:endParaRPr lang="en-US" sz="1800" dirty="0"/>
                    </a:p>
                  </a:txBody>
                  <a:tcPr marL="109728" marR="109728" marT="45721" marB="45721" anchor="ctr"/>
                </a:tc>
                <a:extLst>
                  <a:ext uri="{0D108BD9-81ED-4DB2-BD59-A6C34878D82A}">
                    <a16:rowId xmlns:a16="http://schemas.microsoft.com/office/drawing/2014/main" val="10002"/>
                  </a:ext>
                </a:extLst>
              </a:tr>
              <a:tr h="481313">
                <a:tc>
                  <a:txBody>
                    <a:bodyPr/>
                    <a:lstStyle/>
                    <a:p>
                      <a:pPr algn="ctr"/>
                      <a:r>
                        <a:rPr lang="tr-TR" sz="1600" kern="1200" dirty="0" smtClean="0">
                          <a:effectLst/>
                        </a:rPr>
                        <a:t>Yazılım giderleri desteği</a:t>
                      </a:r>
                      <a:endParaRPr lang="tr-TR" sz="1600" dirty="0"/>
                    </a:p>
                  </a:txBody>
                  <a:tcPr marL="109728" marR="109728" marT="45721" marB="45721" anchor="ctr"/>
                </a:tc>
                <a:tc vMerge="1">
                  <a:txBody>
                    <a:bodyPr/>
                    <a:lstStyle/>
                    <a:p>
                      <a:pPr algn="ctr"/>
                      <a:endParaRPr lang="tr-TR" sz="1600" dirty="0"/>
                    </a:p>
                  </a:txBody>
                  <a:tcPr anchor="ctr"/>
                </a:tc>
                <a:tc vMerge="1">
                  <a:txBody>
                    <a:bodyPr/>
                    <a:lstStyle/>
                    <a:p>
                      <a:pPr algn="ctr"/>
                      <a:endParaRPr lang="tr-TR" sz="1700" dirty="0"/>
                    </a:p>
                  </a:txBody>
                  <a:tcPr marL="109728" marR="109728" marT="45721" marB="45721" anchor="ctr"/>
                </a:tc>
                <a:tc vMerge="1">
                  <a:txBody>
                    <a:bodyPr/>
                    <a:lstStyle/>
                    <a:p>
                      <a:pPr algn="ctr"/>
                      <a:endParaRPr lang="en-US" sz="1700" dirty="0"/>
                    </a:p>
                  </a:txBody>
                  <a:tcPr marL="109728" marR="109728" marT="45721" marB="45721" anchor="ctr"/>
                </a:tc>
                <a:extLst>
                  <a:ext uri="{0D108BD9-81ED-4DB2-BD59-A6C34878D82A}">
                    <a16:rowId xmlns:a16="http://schemas.microsoft.com/office/drawing/2014/main" val="10003"/>
                  </a:ext>
                </a:extLst>
              </a:tr>
              <a:tr h="683973">
                <a:tc>
                  <a:txBody>
                    <a:bodyPr/>
                    <a:lstStyle/>
                    <a:p>
                      <a:pPr algn="ctr"/>
                      <a:r>
                        <a:rPr lang="tr-TR" sz="1600" kern="1200" dirty="0" smtClean="0">
                          <a:effectLst/>
                        </a:rPr>
                        <a:t>Personel gideri desteği</a:t>
                      </a:r>
                      <a:endParaRPr lang="tr-TR" sz="1600" dirty="0"/>
                    </a:p>
                  </a:txBody>
                  <a:tcPr marL="109728" marR="109728" marT="45721" marB="45721" anchor="ctr"/>
                </a:tc>
                <a:tc vMerge="1">
                  <a:txBody>
                    <a:bodyPr/>
                    <a:lstStyle/>
                    <a:p>
                      <a:endParaRPr lang="tr-TR"/>
                    </a:p>
                  </a:txBody>
                  <a:tcPr/>
                </a:tc>
                <a:tc gridSpan="2">
                  <a:txBody>
                    <a:bodyPr/>
                    <a:lstStyle/>
                    <a:p>
                      <a:pPr algn="ctr"/>
                      <a:r>
                        <a:rPr lang="tr-TR" sz="1600" dirty="0" smtClean="0"/>
                        <a:t>Destek oranı dikkate alınmaksızın %100 oranında</a:t>
                      </a:r>
                      <a:r>
                        <a:rPr lang="tr-TR" sz="1600" baseline="0" dirty="0" smtClean="0"/>
                        <a:t> geri ödemesiz destek sağlanır.</a:t>
                      </a:r>
                      <a:endParaRPr lang="en-US" sz="1600" dirty="0"/>
                    </a:p>
                  </a:txBody>
                  <a:tcPr marL="109728" marR="109728" marT="45721" marB="45721" anchor="ctr"/>
                </a:tc>
                <a:tc hMerge="1">
                  <a:txBody>
                    <a:bodyPr/>
                    <a:lstStyle/>
                    <a:p>
                      <a:pPr algn="ctr"/>
                      <a:endParaRPr lang="en-US" sz="1700" dirty="0"/>
                    </a:p>
                  </a:txBody>
                  <a:tcPr marL="109728" marR="109728" marT="45721" marB="45721" anchor="ctr"/>
                </a:tc>
                <a:extLst>
                  <a:ext uri="{0D108BD9-81ED-4DB2-BD59-A6C34878D82A}">
                    <a16:rowId xmlns:a16="http://schemas.microsoft.com/office/drawing/2014/main" val="10004"/>
                  </a:ext>
                </a:extLst>
              </a:tr>
              <a:tr h="1061224">
                <a:tc>
                  <a:txBody>
                    <a:bodyPr/>
                    <a:lstStyle/>
                    <a:p>
                      <a:pPr algn="ctr"/>
                      <a:r>
                        <a:rPr lang="tr-TR" sz="1600" dirty="0" smtClean="0"/>
                        <a:t>Referans Numune Desteği</a:t>
                      </a:r>
                    </a:p>
                    <a:p>
                      <a:pPr algn="ctr"/>
                      <a:r>
                        <a:rPr lang="tr-TR" sz="1600" dirty="0" smtClean="0"/>
                        <a:t>(Destekleme</a:t>
                      </a:r>
                      <a:r>
                        <a:rPr lang="tr-TR" sz="1600" baseline="0" dirty="0" smtClean="0"/>
                        <a:t> kararı alınan makine-teçhizat desteği için onaylanan toplam desteklemeye esas tutarın %5’ini geçemez.)</a:t>
                      </a:r>
                      <a:endParaRPr lang="tr-TR" sz="1600" i="1" dirty="0"/>
                    </a:p>
                  </a:txBody>
                  <a:tcPr marL="109728" marR="109728" marT="45721" marB="45721"/>
                </a:tc>
                <a:tc vMerge="1">
                  <a:txBody>
                    <a:bodyPr/>
                    <a:lstStyle/>
                    <a:p>
                      <a:endParaRPr lang="tr-TR"/>
                    </a:p>
                  </a:txBody>
                  <a:tcPr/>
                </a:tc>
                <a:tc rowSpan="2">
                  <a:txBody>
                    <a:bodyPr/>
                    <a:lstStyle/>
                    <a:p>
                      <a:pPr algn="ctr"/>
                      <a:r>
                        <a:rPr lang="tr-TR" sz="1800" dirty="0" smtClean="0"/>
                        <a:t>30</a:t>
                      </a:r>
                    </a:p>
                  </a:txBody>
                  <a:tcPr marL="109728" marR="109728" marT="45721" marB="45721" anchor="ctr"/>
                </a:tc>
                <a:tc rowSpan="2">
                  <a:txBody>
                    <a:bodyPr/>
                    <a:lstStyle/>
                    <a:p>
                      <a:pPr algn="ctr"/>
                      <a:r>
                        <a:rPr lang="tr-TR" sz="1800" dirty="0" smtClean="0"/>
                        <a:t>70</a:t>
                      </a:r>
                    </a:p>
                  </a:txBody>
                  <a:tcPr marL="109728" marR="109728" marT="45721" marB="45721" anchor="ctr"/>
                </a:tc>
                <a:extLst>
                  <a:ext uri="{0D108BD9-81ED-4DB2-BD59-A6C34878D82A}">
                    <a16:rowId xmlns:a16="http://schemas.microsoft.com/office/drawing/2014/main" val="1568879334"/>
                  </a:ext>
                </a:extLst>
              </a:tr>
              <a:tr h="1545269">
                <a:tc>
                  <a:txBody>
                    <a:bodyPr/>
                    <a:lstStyle/>
                    <a:p>
                      <a:pPr algn="ctr"/>
                      <a:r>
                        <a:rPr lang="tr-TR" sz="1800" kern="1200" dirty="0" smtClean="0">
                          <a:effectLst/>
                        </a:rPr>
                        <a:t>Hizmet alımı desteği</a:t>
                      </a:r>
                    </a:p>
                    <a:p>
                      <a:r>
                        <a:rPr lang="tr-TR" sz="1400" kern="1200" dirty="0" smtClean="0">
                          <a:effectLst/>
                        </a:rPr>
                        <a:t>a)Eğitim ve danışmanlık desteği:  Destek üst limiti  geri ödemesiz olarak 100.000 TL’dir.</a:t>
                      </a:r>
                    </a:p>
                    <a:p>
                      <a:r>
                        <a:rPr lang="tr-TR" sz="1400" kern="1200" dirty="0" smtClean="0">
                          <a:effectLst/>
                        </a:rPr>
                        <a:t>b) Tasarım giderleri desteği: Makine-teçhizat desteği için onaylanan toplam desteklemeye esas tutarın %3 (üç)’ünü geçemez.</a:t>
                      </a:r>
                    </a:p>
                    <a:p>
                      <a:r>
                        <a:rPr lang="tr-TR" sz="1400" kern="1200" dirty="0" smtClean="0">
                          <a:effectLst/>
                        </a:rPr>
                        <a:t>c) test-analiz ve kalibrasyon giderleri</a:t>
                      </a:r>
                      <a:endParaRPr lang="tr-TR" sz="1400" kern="1200" dirty="0">
                        <a:effectLst/>
                      </a:endParaRPr>
                    </a:p>
                    <a:p>
                      <a:r>
                        <a:rPr lang="tr-TR" sz="1400" kern="1200" dirty="0" smtClean="0">
                          <a:effectLst/>
                        </a:rPr>
                        <a:t>ç) Bilgi transferi giderleri: Destekleme kararı alınan makine-teçhizat desteği için onaylanan toplam desteklemeye esas tutarın %5’ini geçemez.</a:t>
                      </a:r>
                      <a:endParaRPr lang="tr-TR" sz="1400" i="1" kern="1200" dirty="0" smtClean="0">
                        <a:solidFill>
                          <a:schemeClr val="dk1"/>
                        </a:solidFill>
                        <a:effectLst/>
                        <a:latin typeface="Times New Roman"/>
                        <a:ea typeface="Times New Roman"/>
                        <a:cs typeface="+mn-cs"/>
                      </a:endParaRPr>
                    </a:p>
                  </a:txBody>
                  <a:tcPr marL="109728" marR="109728" marT="45721" marB="45721"/>
                </a:tc>
                <a:tc vMerge="1">
                  <a:txBody>
                    <a:bodyPr/>
                    <a:lstStyle/>
                    <a:p>
                      <a:pPr algn="ctr"/>
                      <a:endParaRPr lang="tr-TR" sz="1600" dirty="0"/>
                    </a:p>
                  </a:txBody>
                  <a:tcPr anchor="ctr"/>
                </a:tc>
                <a:tc vMerge="1">
                  <a:txBody>
                    <a:bodyPr/>
                    <a:lstStyle/>
                    <a:p>
                      <a:pPr algn="ctr"/>
                      <a:endParaRPr lang="tr-TR" sz="1700" dirty="0" smtClean="0"/>
                    </a:p>
                  </a:txBody>
                  <a:tcPr marL="109728" marR="109728" marT="45721" marB="45721" anchor="ctr"/>
                </a:tc>
                <a:tc vMerge="1">
                  <a:txBody>
                    <a:bodyPr/>
                    <a:lstStyle/>
                    <a:p>
                      <a:pPr algn="ctr"/>
                      <a:endParaRPr lang="en-US" sz="1700" dirty="0" smtClean="0"/>
                    </a:p>
                  </a:txBody>
                  <a:tcPr marL="109728" marR="109728" marT="45721" marB="45721" anchor="ctr"/>
                </a:tc>
                <a:extLst>
                  <a:ext uri="{0D108BD9-81ED-4DB2-BD59-A6C34878D82A}">
                    <a16:rowId xmlns:a16="http://schemas.microsoft.com/office/drawing/2014/main" val="10006"/>
                  </a:ext>
                </a:extLst>
              </a:tr>
            </a:tbl>
          </a:graphicData>
        </a:graphic>
      </p:graphicFrame>
      <p:sp>
        <p:nvSpPr>
          <p:cNvPr id="3" name="Başlık 1"/>
          <p:cNvSpPr txBox="1">
            <a:spLocks/>
          </p:cNvSpPr>
          <p:nvPr/>
        </p:nvSpPr>
        <p:spPr>
          <a:xfrm>
            <a:off x="1385006" y="2629"/>
            <a:ext cx="9615949" cy="7239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1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tr-TR" sz="2800" b="1" i="0" u="none" strike="noStrike" kern="1200" cap="none" spc="0" normalizeH="0" baseline="0" noProof="0" dirty="0" smtClean="0">
                <a:ln>
                  <a:noFill/>
                </a:ln>
                <a:solidFill>
                  <a:srgbClr val="0070C0"/>
                </a:solidFill>
                <a:effectLst/>
                <a:uLnTx/>
                <a:uFillTx/>
                <a:latin typeface="Roboto Black"/>
                <a:ea typeface="+mj-ea"/>
                <a:cs typeface="+mj-cs"/>
              </a:rPr>
              <a:t>Stratejik Ürün Destek Programı</a:t>
            </a:r>
            <a:endParaRPr kumimoji="0" lang="tr-TR" altLang="tr-TR" sz="2800" b="1" i="0" u="none" strike="noStrike" kern="1200" cap="none" spc="0" normalizeH="0" baseline="0" noProof="0" dirty="0">
              <a:ln>
                <a:noFill/>
              </a:ln>
              <a:solidFill>
                <a:srgbClr val="0070C0"/>
              </a:solidFill>
              <a:effectLst/>
              <a:uLnTx/>
              <a:uFillTx/>
              <a:latin typeface="Roboto Black"/>
              <a:ea typeface="+mj-ea"/>
              <a:cs typeface="+mj-cs"/>
            </a:endParaRPr>
          </a:p>
        </p:txBody>
      </p:sp>
    </p:spTree>
    <p:extLst>
      <p:ext uri="{BB962C8B-B14F-4D97-AF65-F5344CB8AC3E}">
        <p14:creationId xmlns:p14="http://schemas.microsoft.com/office/powerpoint/2010/main" val="1269313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ShapeNameChangedByPowerUser1"/>
          <p:cNvGrpSpPr/>
          <p:nvPr/>
        </p:nvGrpSpPr>
        <p:grpSpPr>
          <a:xfrm>
            <a:off x="1905859" y="2778940"/>
            <a:ext cx="1680786" cy="2585155"/>
            <a:chOff x="1018988" y="1637071"/>
            <a:chExt cx="1680883" cy="2585305"/>
          </a:xfrm>
        </p:grpSpPr>
        <p:sp>
          <p:nvSpPr>
            <p:cNvPr id="39" name="Freeform 7"/>
            <p:cNvSpPr/>
            <p:nvPr/>
          </p:nvSpPr>
          <p:spPr>
            <a:xfrm>
              <a:off x="1018988"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0" name="Freeform 12"/>
            <p:cNvSpPr/>
            <p:nvPr/>
          </p:nvSpPr>
          <p:spPr>
            <a:xfrm>
              <a:off x="1402228"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41" name="ShapeNameChangedByPowerUser2"/>
          <p:cNvGrpSpPr/>
          <p:nvPr/>
        </p:nvGrpSpPr>
        <p:grpSpPr>
          <a:xfrm>
            <a:off x="4318573" y="2721982"/>
            <a:ext cx="1680786" cy="2585155"/>
            <a:chOff x="3843368" y="1637071"/>
            <a:chExt cx="1680883" cy="2585305"/>
          </a:xfrm>
        </p:grpSpPr>
        <p:sp>
          <p:nvSpPr>
            <p:cNvPr id="42" name="Freeform 13"/>
            <p:cNvSpPr/>
            <p:nvPr/>
          </p:nvSpPr>
          <p:spPr>
            <a:xfrm>
              <a:off x="3843368"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3" name="Freeform 14"/>
            <p:cNvSpPr/>
            <p:nvPr/>
          </p:nvSpPr>
          <p:spPr>
            <a:xfrm>
              <a:off x="4226608"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44" name="ShapeNameChangedByPowerUser3"/>
          <p:cNvGrpSpPr/>
          <p:nvPr/>
        </p:nvGrpSpPr>
        <p:grpSpPr>
          <a:xfrm>
            <a:off x="6429539" y="2774030"/>
            <a:ext cx="1680786" cy="2585155"/>
            <a:chOff x="6667748" y="1637071"/>
            <a:chExt cx="1680883" cy="2585305"/>
          </a:xfrm>
        </p:grpSpPr>
        <p:sp>
          <p:nvSpPr>
            <p:cNvPr id="45" name="Freeform 15"/>
            <p:cNvSpPr/>
            <p:nvPr/>
          </p:nvSpPr>
          <p:spPr>
            <a:xfrm>
              <a:off x="6667748"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6" name="Freeform 16"/>
            <p:cNvSpPr/>
            <p:nvPr/>
          </p:nvSpPr>
          <p:spPr>
            <a:xfrm>
              <a:off x="7050988"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47" name="ShapeNameChangedByPowerUser4"/>
          <p:cNvGrpSpPr/>
          <p:nvPr/>
        </p:nvGrpSpPr>
        <p:grpSpPr>
          <a:xfrm>
            <a:off x="8600352" y="2774032"/>
            <a:ext cx="1680785" cy="2585154"/>
            <a:chOff x="9492129" y="1637071"/>
            <a:chExt cx="1680883" cy="2585305"/>
          </a:xfrm>
        </p:grpSpPr>
        <p:sp>
          <p:nvSpPr>
            <p:cNvPr id="48" name="Freeform 17"/>
            <p:cNvSpPr/>
            <p:nvPr/>
          </p:nvSpPr>
          <p:spPr>
            <a:xfrm>
              <a:off x="9492129"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9" name="Freeform 18"/>
            <p:cNvSpPr/>
            <p:nvPr/>
          </p:nvSpPr>
          <p:spPr>
            <a:xfrm>
              <a:off x="9875369"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50" name="POWER_USER_ID_ICONS_Gauge"/>
          <p:cNvGrpSpPr>
            <a:grpSpLocks noChangeAspect="1"/>
          </p:cNvGrpSpPr>
          <p:nvPr>
            <p:custDataLst>
              <p:tags r:id="rId1"/>
            </p:custDataLst>
          </p:nvPr>
        </p:nvGrpSpPr>
        <p:grpSpPr bwMode="auto">
          <a:xfrm>
            <a:off x="4849325" y="2913700"/>
            <a:ext cx="641313" cy="642901"/>
            <a:chOff x="40" y="40"/>
            <a:chExt cx="404" cy="405"/>
          </a:xfrm>
          <a:solidFill>
            <a:schemeClr val="bg1"/>
          </a:solidFill>
        </p:grpSpPr>
        <p:sp>
          <p:nvSpPr>
            <p:cNvPr id="51" name="POWER_USER_ID_ICONS_Gauge"/>
            <p:cNvSpPr>
              <a:spLocks/>
            </p:cNvSpPr>
            <p:nvPr>
              <p:custDataLst>
                <p:tags r:id="rId7"/>
              </p:custDataLst>
            </p:nvPr>
          </p:nvSpPr>
          <p:spPr bwMode="auto">
            <a:xfrm>
              <a:off x="91" y="91"/>
              <a:ext cx="303" cy="264"/>
            </a:xfrm>
            <a:custGeom>
              <a:avLst/>
              <a:gdLst>
                <a:gd name="T0" fmla="*/ 337 w 419"/>
                <a:gd name="T1" fmla="*/ 317 h 364"/>
                <a:gd name="T2" fmla="*/ 376 w 419"/>
                <a:gd name="T3" fmla="*/ 209 h 364"/>
                <a:gd name="T4" fmla="*/ 209 w 419"/>
                <a:gd name="T5" fmla="*/ 43 h 364"/>
                <a:gd name="T6" fmla="*/ 43 w 419"/>
                <a:gd name="T7" fmla="*/ 209 h 364"/>
                <a:gd name="T8" fmla="*/ 82 w 419"/>
                <a:gd name="T9" fmla="*/ 317 h 364"/>
                <a:gd name="T10" fmla="*/ 90 w 419"/>
                <a:gd name="T11" fmla="*/ 326 h 364"/>
                <a:gd name="T12" fmla="*/ 57 w 419"/>
                <a:gd name="T13" fmla="*/ 353 h 364"/>
                <a:gd name="T14" fmla="*/ 66 w 419"/>
                <a:gd name="T15" fmla="*/ 364 h 364"/>
                <a:gd name="T16" fmla="*/ 99 w 419"/>
                <a:gd name="T17" fmla="*/ 337 h 364"/>
                <a:gd name="T18" fmla="*/ 90 w 419"/>
                <a:gd name="T19" fmla="*/ 326 h 364"/>
                <a:gd name="T20" fmla="*/ 71 w 419"/>
                <a:gd name="T21" fmla="*/ 342 h 364"/>
                <a:gd name="T22" fmla="*/ 63 w 419"/>
                <a:gd name="T23" fmla="*/ 332 h 364"/>
                <a:gd name="T24" fmla="*/ 20 w 419"/>
                <a:gd name="T25" fmla="*/ 230 h 364"/>
                <a:gd name="T26" fmla="*/ 1 w 419"/>
                <a:gd name="T27" fmla="*/ 231 h 364"/>
                <a:gd name="T28" fmla="*/ 0 w 419"/>
                <a:gd name="T29" fmla="*/ 217 h 364"/>
                <a:gd name="T30" fmla="*/ 19 w 419"/>
                <a:gd name="T31" fmla="*/ 216 h 364"/>
                <a:gd name="T32" fmla="*/ 18 w 419"/>
                <a:gd name="T33" fmla="*/ 209 h 364"/>
                <a:gd name="T34" fmla="*/ 67 w 419"/>
                <a:gd name="T35" fmla="*/ 82 h 364"/>
                <a:gd name="T36" fmla="*/ 54 w 419"/>
                <a:gd name="T37" fmla="*/ 69 h 364"/>
                <a:gd name="T38" fmla="*/ 64 w 419"/>
                <a:gd name="T39" fmla="*/ 59 h 364"/>
                <a:gd name="T40" fmla="*/ 77 w 419"/>
                <a:gd name="T41" fmla="*/ 72 h 364"/>
                <a:gd name="T42" fmla="*/ 202 w 419"/>
                <a:gd name="T43" fmla="*/ 19 h 364"/>
                <a:gd name="T44" fmla="*/ 202 w 419"/>
                <a:gd name="T45" fmla="*/ 0 h 364"/>
                <a:gd name="T46" fmla="*/ 217 w 419"/>
                <a:gd name="T47" fmla="*/ 0 h 364"/>
                <a:gd name="T48" fmla="*/ 217 w 419"/>
                <a:gd name="T49" fmla="*/ 19 h 364"/>
                <a:gd name="T50" fmla="*/ 342 w 419"/>
                <a:gd name="T51" fmla="*/ 72 h 364"/>
                <a:gd name="T52" fmla="*/ 355 w 419"/>
                <a:gd name="T53" fmla="*/ 59 h 364"/>
                <a:gd name="T54" fmla="*/ 365 w 419"/>
                <a:gd name="T55" fmla="*/ 69 h 364"/>
                <a:gd name="T56" fmla="*/ 352 w 419"/>
                <a:gd name="T57" fmla="*/ 82 h 364"/>
                <a:gd name="T58" fmla="*/ 400 w 419"/>
                <a:gd name="T59" fmla="*/ 209 h 364"/>
                <a:gd name="T60" fmla="*/ 400 w 419"/>
                <a:gd name="T61" fmla="*/ 216 h 364"/>
                <a:gd name="T62" fmla="*/ 419 w 419"/>
                <a:gd name="T63" fmla="*/ 217 h 364"/>
                <a:gd name="T64" fmla="*/ 418 w 419"/>
                <a:gd name="T65" fmla="*/ 231 h 364"/>
                <a:gd name="T66" fmla="*/ 399 w 419"/>
                <a:gd name="T67" fmla="*/ 230 h 364"/>
                <a:gd name="T68" fmla="*/ 356 w 419"/>
                <a:gd name="T69" fmla="*/ 332 h 364"/>
                <a:gd name="T70" fmla="*/ 348 w 419"/>
                <a:gd name="T71" fmla="*/ 342 h 364"/>
                <a:gd name="T72" fmla="*/ 362 w 419"/>
                <a:gd name="T73" fmla="*/ 353 h 364"/>
                <a:gd name="T74" fmla="*/ 353 w 419"/>
                <a:gd name="T75" fmla="*/ 364 h 364"/>
                <a:gd name="T76" fmla="*/ 320 w 419"/>
                <a:gd name="T77" fmla="*/ 337 h 364"/>
                <a:gd name="T78" fmla="*/ 329 w 419"/>
                <a:gd name="T79" fmla="*/ 326 h 364"/>
                <a:gd name="T80" fmla="*/ 337 w 419"/>
                <a:gd name="T81" fmla="*/ 31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9" h="364">
                  <a:moveTo>
                    <a:pt x="337" y="317"/>
                  </a:moveTo>
                  <a:cubicBezTo>
                    <a:pt x="362" y="287"/>
                    <a:pt x="376" y="249"/>
                    <a:pt x="376" y="209"/>
                  </a:cubicBezTo>
                  <a:cubicBezTo>
                    <a:pt x="376" y="117"/>
                    <a:pt x="301" y="43"/>
                    <a:pt x="209" y="43"/>
                  </a:cubicBezTo>
                  <a:cubicBezTo>
                    <a:pt x="117" y="43"/>
                    <a:pt x="43" y="117"/>
                    <a:pt x="43" y="209"/>
                  </a:cubicBezTo>
                  <a:cubicBezTo>
                    <a:pt x="43" y="249"/>
                    <a:pt x="57" y="287"/>
                    <a:pt x="82" y="317"/>
                  </a:cubicBezTo>
                  <a:lnTo>
                    <a:pt x="90" y="326"/>
                  </a:lnTo>
                  <a:lnTo>
                    <a:pt x="57" y="353"/>
                  </a:lnTo>
                  <a:lnTo>
                    <a:pt x="66" y="364"/>
                  </a:lnTo>
                  <a:lnTo>
                    <a:pt x="99" y="337"/>
                  </a:lnTo>
                  <a:lnTo>
                    <a:pt x="90" y="326"/>
                  </a:lnTo>
                  <a:lnTo>
                    <a:pt x="71" y="342"/>
                  </a:lnTo>
                  <a:lnTo>
                    <a:pt x="63" y="332"/>
                  </a:lnTo>
                  <a:cubicBezTo>
                    <a:pt x="39" y="303"/>
                    <a:pt x="24" y="267"/>
                    <a:pt x="20" y="230"/>
                  </a:cubicBezTo>
                  <a:lnTo>
                    <a:pt x="1" y="231"/>
                  </a:lnTo>
                  <a:lnTo>
                    <a:pt x="0" y="217"/>
                  </a:lnTo>
                  <a:lnTo>
                    <a:pt x="19" y="216"/>
                  </a:lnTo>
                  <a:cubicBezTo>
                    <a:pt x="18" y="214"/>
                    <a:pt x="18" y="211"/>
                    <a:pt x="18" y="209"/>
                  </a:cubicBezTo>
                  <a:cubicBezTo>
                    <a:pt x="18" y="160"/>
                    <a:pt x="37" y="116"/>
                    <a:pt x="67" y="82"/>
                  </a:cubicBezTo>
                  <a:lnTo>
                    <a:pt x="54" y="69"/>
                  </a:lnTo>
                  <a:lnTo>
                    <a:pt x="64" y="59"/>
                  </a:lnTo>
                  <a:lnTo>
                    <a:pt x="77" y="72"/>
                  </a:lnTo>
                  <a:cubicBezTo>
                    <a:pt x="110" y="40"/>
                    <a:pt x="154" y="20"/>
                    <a:pt x="202" y="19"/>
                  </a:cubicBezTo>
                  <a:lnTo>
                    <a:pt x="202" y="0"/>
                  </a:lnTo>
                  <a:lnTo>
                    <a:pt x="217" y="0"/>
                  </a:lnTo>
                  <a:lnTo>
                    <a:pt x="217" y="19"/>
                  </a:lnTo>
                  <a:cubicBezTo>
                    <a:pt x="265" y="20"/>
                    <a:pt x="309" y="40"/>
                    <a:pt x="342" y="72"/>
                  </a:cubicBezTo>
                  <a:lnTo>
                    <a:pt x="355" y="59"/>
                  </a:lnTo>
                  <a:lnTo>
                    <a:pt x="365" y="69"/>
                  </a:lnTo>
                  <a:lnTo>
                    <a:pt x="352" y="82"/>
                  </a:lnTo>
                  <a:cubicBezTo>
                    <a:pt x="382" y="116"/>
                    <a:pt x="400" y="160"/>
                    <a:pt x="400" y="209"/>
                  </a:cubicBezTo>
                  <a:cubicBezTo>
                    <a:pt x="400" y="211"/>
                    <a:pt x="400" y="214"/>
                    <a:pt x="400" y="216"/>
                  </a:cubicBezTo>
                  <a:lnTo>
                    <a:pt x="419" y="217"/>
                  </a:lnTo>
                  <a:lnTo>
                    <a:pt x="418" y="231"/>
                  </a:lnTo>
                  <a:lnTo>
                    <a:pt x="399" y="230"/>
                  </a:lnTo>
                  <a:cubicBezTo>
                    <a:pt x="395" y="267"/>
                    <a:pt x="380" y="303"/>
                    <a:pt x="356" y="332"/>
                  </a:cubicBezTo>
                  <a:lnTo>
                    <a:pt x="348" y="342"/>
                  </a:lnTo>
                  <a:lnTo>
                    <a:pt x="362" y="353"/>
                  </a:lnTo>
                  <a:lnTo>
                    <a:pt x="353" y="364"/>
                  </a:lnTo>
                  <a:lnTo>
                    <a:pt x="320" y="337"/>
                  </a:lnTo>
                  <a:lnTo>
                    <a:pt x="329" y="326"/>
                  </a:lnTo>
                  <a:lnTo>
                    <a:pt x="337" y="317"/>
                  </a:ln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52" name="POWER_USER_ID_ICONS_Gauge"/>
            <p:cNvSpPr>
              <a:spLocks/>
            </p:cNvSpPr>
            <p:nvPr>
              <p:custDataLst>
                <p:tags r:id="rId8"/>
              </p:custDataLst>
            </p:nvPr>
          </p:nvSpPr>
          <p:spPr bwMode="auto">
            <a:xfrm>
              <a:off x="202" y="172"/>
              <a:ext cx="114" cy="110"/>
            </a:xfrm>
            <a:custGeom>
              <a:avLst/>
              <a:gdLst>
                <a:gd name="T0" fmla="*/ 0 w 157"/>
                <a:gd name="T1" fmla="*/ 131 h 151"/>
                <a:gd name="T2" fmla="*/ 20 w 157"/>
                <a:gd name="T3" fmla="*/ 151 h 151"/>
                <a:gd name="T4" fmla="*/ 45 w 157"/>
                <a:gd name="T5" fmla="*/ 124 h 151"/>
                <a:gd name="T6" fmla="*/ 57 w 157"/>
                <a:gd name="T7" fmla="*/ 126 h 151"/>
                <a:gd name="T8" fmla="*/ 84 w 157"/>
                <a:gd name="T9" fmla="*/ 96 h 151"/>
                <a:gd name="T10" fmla="*/ 81 w 157"/>
                <a:gd name="T11" fmla="*/ 84 h 151"/>
                <a:gd name="T12" fmla="*/ 157 w 157"/>
                <a:gd name="T13" fmla="*/ 0 h 151"/>
                <a:gd name="T14" fmla="*/ 70 w 157"/>
                <a:gd name="T15" fmla="*/ 73 h 151"/>
                <a:gd name="T16" fmla="*/ 54 w 157"/>
                <a:gd name="T17" fmla="*/ 69 h 151"/>
                <a:gd name="T18" fmla="*/ 27 w 157"/>
                <a:gd name="T19" fmla="*/ 99 h 151"/>
                <a:gd name="T20" fmla="*/ 28 w 157"/>
                <a:gd name="T21" fmla="*/ 107 h 151"/>
                <a:gd name="T22" fmla="*/ 0 w 157"/>
                <a:gd name="T23" fmla="*/ 13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1">
                  <a:moveTo>
                    <a:pt x="0" y="131"/>
                  </a:moveTo>
                  <a:lnTo>
                    <a:pt x="20" y="151"/>
                  </a:lnTo>
                  <a:lnTo>
                    <a:pt x="45" y="124"/>
                  </a:lnTo>
                  <a:cubicBezTo>
                    <a:pt x="49" y="125"/>
                    <a:pt x="53" y="126"/>
                    <a:pt x="57" y="126"/>
                  </a:cubicBezTo>
                  <a:cubicBezTo>
                    <a:pt x="73" y="125"/>
                    <a:pt x="85" y="111"/>
                    <a:pt x="84" y="96"/>
                  </a:cubicBezTo>
                  <a:cubicBezTo>
                    <a:pt x="84" y="91"/>
                    <a:pt x="82" y="88"/>
                    <a:pt x="81" y="84"/>
                  </a:cubicBezTo>
                  <a:lnTo>
                    <a:pt x="157" y="0"/>
                  </a:lnTo>
                  <a:lnTo>
                    <a:pt x="70" y="73"/>
                  </a:lnTo>
                  <a:cubicBezTo>
                    <a:pt x="65" y="70"/>
                    <a:pt x="59" y="69"/>
                    <a:pt x="54" y="69"/>
                  </a:cubicBezTo>
                  <a:cubicBezTo>
                    <a:pt x="38" y="70"/>
                    <a:pt x="26" y="84"/>
                    <a:pt x="27" y="99"/>
                  </a:cubicBezTo>
                  <a:cubicBezTo>
                    <a:pt x="27" y="102"/>
                    <a:pt x="28" y="105"/>
                    <a:pt x="28" y="107"/>
                  </a:cubicBezTo>
                  <a:lnTo>
                    <a:pt x="0" y="131"/>
                  </a:ln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53" name="POWER_USER_ID_ICONS_Gauge"/>
            <p:cNvSpPr>
              <a:spLocks noEditPoints="1"/>
            </p:cNvSpPr>
            <p:nvPr>
              <p:custDataLst>
                <p:tags r:id="rId9"/>
              </p:custDataLst>
            </p:nvPr>
          </p:nvSpPr>
          <p:spPr bwMode="auto">
            <a:xfrm>
              <a:off x="40" y="40"/>
              <a:ext cx="404" cy="405"/>
            </a:xfrm>
            <a:custGeom>
              <a:avLst/>
              <a:gdLst>
                <a:gd name="T0" fmla="*/ 279 w 558"/>
                <a:gd name="T1" fmla="*/ 0 h 558"/>
                <a:gd name="T2" fmla="*/ 0 w 558"/>
                <a:gd name="T3" fmla="*/ 279 h 558"/>
                <a:gd name="T4" fmla="*/ 279 w 558"/>
                <a:gd name="T5" fmla="*/ 558 h 558"/>
                <a:gd name="T6" fmla="*/ 558 w 558"/>
                <a:gd name="T7" fmla="*/ 279 h 558"/>
                <a:gd name="T8" fmla="*/ 279 w 558"/>
                <a:gd name="T9" fmla="*/ 0 h 558"/>
                <a:gd name="T10" fmla="*/ 279 w 558"/>
                <a:gd name="T11" fmla="*/ 43 h 558"/>
                <a:gd name="T12" fmla="*/ 515 w 558"/>
                <a:gd name="T13" fmla="*/ 279 h 558"/>
                <a:gd name="T14" fmla="*/ 279 w 558"/>
                <a:gd name="T15" fmla="*/ 516 h 558"/>
                <a:gd name="T16" fmla="*/ 43 w 558"/>
                <a:gd name="T17" fmla="*/ 279 h 558"/>
                <a:gd name="T18" fmla="*/ 279 w 558"/>
                <a:gd name="T19" fmla="*/ 4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8" h="558">
                  <a:moveTo>
                    <a:pt x="279" y="0"/>
                  </a:moveTo>
                  <a:cubicBezTo>
                    <a:pt x="125" y="0"/>
                    <a:pt x="0" y="125"/>
                    <a:pt x="0" y="279"/>
                  </a:cubicBezTo>
                  <a:cubicBezTo>
                    <a:pt x="0" y="433"/>
                    <a:pt x="125" y="558"/>
                    <a:pt x="279" y="558"/>
                  </a:cubicBezTo>
                  <a:cubicBezTo>
                    <a:pt x="433" y="558"/>
                    <a:pt x="558" y="433"/>
                    <a:pt x="558" y="279"/>
                  </a:cubicBezTo>
                  <a:cubicBezTo>
                    <a:pt x="558" y="125"/>
                    <a:pt x="433" y="0"/>
                    <a:pt x="279" y="0"/>
                  </a:cubicBezTo>
                  <a:close/>
                  <a:moveTo>
                    <a:pt x="279" y="43"/>
                  </a:moveTo>
                  <a:cubicBezTo>
                    <a:pt x="410" y="43"/>
                    <a:pt x="515" y="149"/>
                    <a:pt x="515" y="279"/>
                  </a:cubicBezTo>
                  <a:cubicBezTo>
                    <a:pt x="515" y="410"/>
                    <a:pt x="410" y="516"/>
                    <a:pt x="279" y="516"/>
                  </a:cubicBezTo>
                  <a:cubicBezTo>
                    <a:pt x="149" y="516"/>
                    <a:pt x="43" y="410"/>
                    <a:pt x="43" y="279"/>
                  </a:cubicBezTo>
                  <a:cubicBezTo>
                    <a:pt x="43" y="149"/>
                    <a:pt x="149" y="43"/>
                    <a:pt x="279" y="43"/>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grpSp>
        <p:nvGrpSpPr>
          <p:cNvPr id="54" name="POWER_USER_ID_ICONS_Running"/>
          <p:cNvGrpSpPr>
            <a:grpSpLocks noChangeAspect="1"/>
          </p:cNvGrpSpPr>
          <p:nvPr>
            <p:custDataLst>
              <p:tags r:id="rId2"/>
            </p:custDataLst>
          </p:nvPr>
        </p:nvGrpSpPr>
        <p:grpSpPr bwMode="auto">
          <a:xfrm flipH="1">
            <a:off x="7008009" y="2924017"/>
            <a:ext cx="523845" cy="747670"/>
            <a:chOff x="8" y="8"/>
            <a:chExt cx="330" cy="471"/>
          </a:xfrm>
          <a:solidFill>
            <a:schemeClr val="bg1"/>
          </a:solidFill>
        </p:grpSpPr>
        <p:sp>
          <p:nvSpPr>
            <p:cNvPr id="55" name="POWER_USER_ID_ICONS_Running"/>
            <p:cNvSpPr>
              <a:spLocks noChangeArrowheads="1"/>
            </p:cNvSpPr>
            <p:nvPr>
              <p:custDataLst>
                <p:tags r:id="rId5"/>
              </p:custDataLst>
            </p:nvPr>
          </p:nvSpPr>
          <p:spPr bwMode="auto">
            <a:xfrm>
              <a:off x="26" y="8"/>
              <a:ext cx="109" cy="116"/>
            </a:xfrm>
            <a:prstGeom prst="ellipse">
              <a:avLst/>
            </a:pr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56" name="POWER_USER_ID_ICONS_Running"/>
            <p:cNvSpPr>
              <a:spLocks/>
            </p:cNvSpPr>
            <p:nvPr>
              <p:custDataLst>
                <p:tags r:id="rId6"/>
              </p:custDataLst>
            </p:nvPr>
          </p:nvSpPr>
          <p:spPr bwMode="auto">
            <a:xfrm>
              <a:off x="8" y="99"/>
              <a:ext cx="330" cy="380"/>
            </a:xfrm>
            <a:custGeom>
              <a:avLst/>
              <a:gdLst>
                <a:gd name="T0" fmla="*/ 650 w 879"/>
                <a:gd name="T1" fmla="*/ 681 h 1007"/>
                <a:gd name="T2" fmla="*/ 637 w 879"/>
                <a:gd name="T3" fmla="*/ 422 h 1007"/>
                <a:gd name="T4" fmla="*/ 478 w 879"/>
                <a:gd name="T5" fmla="*/ 150 h 1007"/>
                <a:gd name="T6" fmla="*/ 541 w 879"/>
                <a:gd name="T7" fmla="*/ 123 h 1007"/>
                <a:gd name="T8" fmla="*/ 662 w 879"/>
                <a:gd name="T9" fmla="*/ 300 h 1007"/>
                <a:gd name="T10" fmla="*/ 752 w 879"/>
                <a:gd name="T11" fmla="*/ 232 h 1007"/>
                <a:gd name="T12" fmla="*/ 643 w 879"/>
                <a:gd name="T13" fmla="*/ 14 h 1007"/>
                <a:gd name="T14" fmla="*/ 357 w 879"/>
                <a:gd name="T15" fmla="*/ 0 h 1007"/>
                <a:gd name="T16" fmla="*/ 191 w 879"/>
                <a:gd name="T17" fmla="*/ 109 h 1007"/>
                <a:gd name="T18" fmla="*/ 178 w 879"/>
                <a:gd name="T19" fmla="*/ 327 h 1007"/>
                <a:gd name="T20" fmla="*/ 0 w 879"/>
                <a:gd name="T21" fmla="*/ 334 h 1007"/>
                <a:gd name="T22" fmla="*/ 13 w 879"/>
                <a:gd name="T23" fmla="*/ 476 h 1007"/>
                <a:gd name="T24" fmla="*/ 312 w 879"/>
                <a:gd name="T25" fmla="*/ 449 h 1007"/>
                <a:gd name="T26" fmla="*/ 344 w 879"/>
                <a:gd name="T27" fmla="*/ 340 h 1007"/>
                <a:gd name="T28" fmla="*/ 401 w 879"/>
                <a:gd name="T29" fmla="*/ 463 h 1007"/>
                <a:gd name="T30" fmla="*/ 389 w 879"/>
                <a:gd name="T31" fmla="*/ 510 h 1007"/>
                <a:gd name="T32" fmla="*/ 217 w 879"/>
                <a:gd name="T33" fmla="*/ 619 h 1007"/>
                <a:gd name="T34" fmla="*/ 229 w 879"/>
                <a:gd name="T35" fmla="*/ 1007 h 1007"/>
                <a:gd name="T36" fmla="*/ 357 w 879"/>
                <a:gd name="T37" fmla="*/ 1007 h 1007"/>
                <a:gd name="T38" fmla="*/ 382 w 879"/>
                <a:gd name="T39" fmla="*/ 708 h 1007"/>
                <a:gd name="T40" fmla="*/ 529 w 879"/>
                <a:gd name="T41" fmla="*/ 606 h 1007"/>
                <a:gd name="T42" fmla="*/ 516 w 879"/>
                <a:gd name="T43" fmla="*/ 817 h 1007"/>
                <a:gd name="T44" fmla="*/ 860 w 879"/>
                <a:gd name="T45" fmla="*/ 817 h 1007"/>
                <a:gd name="T46" fmla="*/ 879 w 879"/>
                <a:gd name="T47" fmla="*/ 674 h 1007"/>
                <a:gd name="T48" fmla="*/ 650 w 879"/>
                <a:gd name="T49" fmla="*/ 681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9" h="1007">
                  <a:moveTo>
                    <a:pt x="650" y="681"/>
                  </a:moveTo>
                  <a:cubicBezTo>
                    <a:pt x="662" y="646"/>
                    <a:pt x="637" y="422"/>
                    <a:pt x="637" y="422"/>
                  </a:cubicBezTo>
                  <a:lnTo>
                    <a:pt x="478" y="150"/>
                  </a:lnTo>
                  <a:lnTo>
                    <a:pt x="541" y="123"/>
                  </a:lnTo>
                  <a:lnTo>
                    <a:pt x="662" y="300"/>
                  </a:lnTo>
                  <a:lnTo>
                    <a:pt x="752" y="232"/>
                  </a:lnTo>
                  <a:lnTo>
                    <a:pt x="643" y="14"/>
                  </a:lnTo>
                  <a:lnTo>
                    <a:pt x="357" y="0"/>
                  </a:lnTo>
                  <a:cubicBezTo>
                    <a:pt x="338" y="34"/>
                    <a:pt x="217" y="102"/>
                    <a:pt x="191" y="109"/>
                  </a:cubicBezTo>
                  <a:cubicBezTo>
                    <a:pt x="166" y="116"/>
                    <a:pt x="178" y="327"/>
                    <a:pt x="178" y="327"/>
                  </a:cubicBezTo>
                  <a:lnTo>
                    <a:pt x="0" y="334"/>
                  </a:lnTo>
                  <a:lnTo>
                    <a:pt x="13" y="476"/>
                  </a:lnTo>
                  <a:lnTo>
                    <a:pt x="312" y="449"/>
                  </a:lnTo>
                  <a:lnTo>
                    <a:pt x="344" y="340"/>
                  </a:lnTo>
                  <a:cubicBezTo>
                    <a:pt x="344" y="340"/>
                    <a:pt x="389" y="442"/>
                    <a:pt x="401" y="463"/>
                  </a:cubicBezTo>
                  <a:cubicBezTo>
                    <a:pt x="414" y="483"/>
                    <a:pt x="389" y="510"/>
                    <a:pt x="389" y="510"/>
                  </a:cubicBezTo>
                  <a:lnTo>
                    <a:pt x="217" y="619"/>
                  </a:lnTo>
                  <a:lnTo>
                    <a:pt x="229" y="1007"/>
                  </a:lnTo>
                  <a:lnTo>
                    <a:pt x="357" y="1007"/>
                  </a:lnTo>
                  <a:lnTo>
                    <a:pt x="382" y="708"/>
                  </a:lnTo>
                  <a:lnTo>
                    <a:pt x="529" y="606"/>
                  </a:lnTo>
                  <a:lnTo>
                    <a:pt x="516" y="817"/>
                  </a:lnTo>
                  <a:lnTo>
                    <a:pt x="860" y="817"/>
                  </a:lnTo>
                  <a:lnTo>
                    <a:pt x="879" y="674"/>
                  </a:lnTo>
                  <a:cubicBezTo>
                    <a:pt x="841" y="612"/>
                    <a:pt x="637" y="715"/>
                    <a:pt x="650" y="681"/>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sp>
        <p:nvSpPr>
          <p:cNvPr id="57" name="POWER_USER_ID_ICONS_Stopwatch5"/>
          <p:cNvSpPr>
            <a:spLocks noChangeAspect="1" noEditPoints="1"/>
          </p:cNvSpPr>
          <p:nvPr>
            <p:custDataLst>
              <p:tags r:id="rId3"/>
            </p:custDataLst>
          </p:nvPr>
        </p:nvSpPr>
        <p:spPr bwMode="auto">
          <a:xfrm>
            <a:off x="9111962" y="2960501"/>
            <a:ext cx="719097" cy="533369"/>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bg1"/>
          </a:solidFill>
          <a:ln>
            <a:noFill/>
          </a:ln>
          <a:extLst/>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58" name="POWER_USER_ID_ICONS_Magnifying_Glass2"/>
          <p:cNvSpPr>
            <a:spLocks noChangeAspect="1" noEditPoints="1"/>
          </p:cNvSpPr>
          <p:nvPr>
            <p:custDataLst>
              <p:tags r:id="rId4"/>
            </p:custDataLst>
          </p:nvPr>
        </p:nvSpPr>
        <p:spPr bwMode="auto">
          <a:xfrm>
            <a:off x="2478774" y="3072810"/>
            <a:ext cx="534957" cy="534957"/>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solidFill>
            <a:schemeClr val="bg1"/>
          </a:solid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59" name="Metin kutusu 58"/>
          <p:cNvSpPr txBox="1"/>
          <p:nvPr/>
        </p:nvSpPr>
        <p:spPr>
          <a:xfrm>
            <a:off x="1836273" y="233302"/>
            <a:ext cx="4480832" cy="593093"/>
          </a:xfrm>
          <a:prstGeom prst="rect">
            <a:avLst/>
          </a:prstGeom>
          <a:solidFill>
            <a:schemeClr val="bg1"/>
          </a:solidFill>
        </p:spPr>
        <p:txBody>
          <a:bodyPr wrap="square" rtlCol="0">
            <a:spAutoFit/>
          </a:bodyPr>
          <a:lstStyle/>
          <a:p>
            <a:pPr marL="0" marR="0" lvl="0" indent="0" algn="l" defTabSz="917783" rtl="0" eaLnBrk="1" fontAlgn="base" latinLnBrk="0" hangingPunct="1">
              <a:lnSpc>
                <a:spcPct val="90000"/>
              </a:lnSpc>
              <a:spcBef>
                <a:spcPct val="0"/>
              </a:spcBef>
              <a:spcAft>
                <a:spcPct val="0"/>
              </a:spcAft>
              <a:buClrTx/>
              <a:buSzTx/>
              <a:buFontTx/>
              <a:buNone/>
              <a:tabLst/>
              <a:defRPr/>
            </a:pPr>
            <a:r>
              <a:rPr kumimoji="0" lang="tr-TR"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Yatırım Projesi Süresi</a:t>
            </a:r>
          </a:p>
        </p:txBody>
      </p:sp>
      <p:sp>
        <p:nvSpPr>
          <p:cNvPr id="61" name="Dikdörtgen 60"/>
          <p:cNvSpPr/>
          <p:nvPr/>
        </p:nvSpPr>
        <p:spPr>
          <a:xfrm>
            <a:off x="1499317" y="998988"/>
            <a:ext cx="4269719" cy="1877437"/>
          </a:xfrm>
          <a:prstGeom prst="rect">
            <a:avLst/>
          </a:prstGeom>
        </p:spPr>
        <p:txBody>
          <a:bodyPr wrap="square">
            <a:spAutoFit/>
          </a:bodyPr>
          <a:lstStyle/>
          <a:p>
            <a:pPr marL="0" marR="0" lvl="0" indent="0" algn="just" defTabSz="917783" rtl="0" eaLnBrk="1" fontAlgn="base" latinLnBrk="0" hangingPunct="1">
              <a:lnSpc>
                <a:spcPct val="100000"/>
              </a:lnSpc>
              <a:spcBef>
                <a:spcPct val="0"/>
              </a:spcBef>
              <a:spcAft>
                <a:spcPct val="0"/>
              </a:spcAft>
              <a:buClrTx/>
              <a:buSzTx/>
              <a:buFontTx/>
              <a:buNone/>
              <a:tabLst/>
              <a:defRPr/>
            </a:pPr>
            <a:r>
              <a:rPr kumimoji="0" lang="tr-TR" sz="2400"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İşletme, yatırım proje süresini 4 ay ve katları şeklinde olmak üzere en az 8 ay en fazla 36 ay olacak şekilde belirler</a:t>
            </a:r>
          </a:p>
          <a:p>
            <a:pPr marL="0" marR="0" lvl="0" indent="0" algn="just" defTabSz="917783" rtl="0" eaLnBrk="1" fontAlgn="base" latinLnBrk="0" hangingPunct="1">
              <a:lnSpc>
                <a:spcPct val="100000"/>
              </a:lnSpc>
              <a:spcBef>
                <a:spcPct val="0"/>
              </a:spcBef>
              <a:spcAft>
                <a:spcPct val="0"/>
              </a:spcAft>
              <a:buClrTx/>
              <a:buSzTx/>
              <a:buFontTx/>
              <a:buNone/>
              <a:tabLst/>
              <a:defRPr/>
            </a:pPr>
            <a:endParaRPr kumimoji="0" lang="tr-TR" sz="2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endParaRPr>
          </a:p>
        </p:txBody>
      </p:sp>
      <p:sp>
        <p:nvSpPr>
          <p:cNvPr id="62" name="Dikdörtgen 61"/>
          <p:cNvSpPr/>
          <p:nvPr/>
        </p:nvSpPr>
        <p:spPr>
          <a:xfrm>
            <a:off x="4205320" y="5635263"/>
            <a:ext cx="4223571" cy="461665"/>
          </a:xfrm>
          <a:prstGeom prst="rect">
            <a:avLst/>
          </a:prstGeom>
        </p:spPr>
        <p:txBody>
          <a:bodyPr wrap="square">
            <a:spAutoFit/>
          </a:bodyPr>
          <a:lstStyle/>
          <a:p>
            <a:pPr marL="0" marR="0" lvl="0" indent="0" algn="just" defTabSz="917783" rtl="0" eaLnBrk="1" fontAlgn="base" latinLnBrk="0" hangingPunct="1">
              <a:lnSpc>
                <a:spcPct val="100000"/>
              </a:lnSpc>
              <a:spcBef>
                <a:spcPct val="0"/>
              </a:spcBef>
              <a:spcAft>
                <a:spcPct val="0"/>
              </a:spcAft>
              <a:buClrTx/>
              <a:buSzTx/>
              <a:buFontTx/>
              <a:buNone/>
              <a:tabLst/>
              <a:defRPr/>
            </a:pPr>
            <a:r>
              <a:rPr kumimoji="0" lang="tr-TR" sz="2400" b="1" i="0" u="none" strike="noStrike" kern="1200" cap="none" spc="0" normalizeH="0" baseline="0" noProof="0" dirty="0" smtClean="0">
                <a:ln>
                  <a:noFill/>
                </a:ln>
                <a:solidFill>
                  <a:prstClr val="black"/>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4’er aylık </a:t>
            </a:r>
            <a:r>
              <a:rPr kumimoji="0" lang="nn-NO" sz="2400" b="1" i="0" u="none" strike="noStrike" kern="1200" cap="none" spc="0" normalizeH="0" baseline="0" noProof="0" dirty="0" smtClean="0">
                <a:ln>
                  <a:noFill/>
                </a:ln>
                <a:solidFill>
                  <a:prstClr val="black"/>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Faaliyet-zaman planı</a:t>
            </a:r>
            <a:endParaRPr kumimoji="0" lang="nn-NO" sz="24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endParaRPr>
          </a:p>
        </p:txBody>
      </p:sp>
      <p:sp>
        <p:nvSpPr>
          <p:cNvPr id="63" name="Dikdörtgen 62"/>
          <p:cNvSpPr/>
          <p:nvPr/>
        </p:nvSpPr>
        <p:spPr>
          <a:xfrm>
            <a:off x="6410851" y="826395"/>
            <a:ext cx="5237476" cy="1938992"/>
          </a:xfrm>
          <a:prstGeom prst="rect">
            <a:avLst/>
          </a:prstGeom>
        </p:spPr>
        <p:txBody>
          <a:bodyPr wrap="square">
            <a:spAutoFit/>
          </a:bodyPr>
          <a:lstStyle/>
          <a:p>
            <a:pPr marL="0" marR="0" lvl="0" indent="0" algn="just" defTabSz="917783" rtl="0" eaLnBrk="1" fontAlgn="base" latinLnBrk="0" hangingPunct="1">
              <a:lnSpc>
                <a:spcPct val="100000"/>
              </a:lnSpc>
              <a:spcBef>
                <a:spcPct val="0"/>
              </a:spcBef>
              <a:spcAft>
                <a:spcPct val="0"/>
              </a:spcAft>
              <a:buClrTx/>
              <a:buSzTx/>
              <a:buFontTx/>
              <a:buNone/>
              <a:tabLst/>
              <a:defRPr/>
            </a:pPr>
            <a:r>
              <a:rPr kumimoji="0" lang="tr-TR" sz="2400"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İşletmenin talep etmesi halinde, komite kararı ile bir defaya mahsus olmak üzere 4 ay ek süre verilebilir. Verilen ek süre dâhil olmak üzere yatırım projesi süresi toplam 36 ayı geçemez.</a:t>
            </a:r>
          </a:p>
        </p:txBody>
      </p:sp>
    </p:spTree>
    <p:extLst>
      <p:ext uri="{BB962C8B-B14F-4D97-AF65-F5344CB8AC3E}">
        <p14:creationId xmlns:p14="http://schemas.microsoft.com/office/powerpoint/2010/main" val="22357039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 1"/>
          <p:cNvGrpSpPr/>
          <p:nvPr/>
        </p:nvGrpSpPr>
        <p:grpSpPr>
          <a:xfrm>
            <a:off x="537482" y="1048691"/>
            <a:ext cx="11201407" cy="5308250"/>
            <a:chOff x="726606" y="1684343"/>
            <a:chExt cx="8058584" cy="4323316"/>
          </a:xfrm>
        </p:grpSpPr>
        <p:grpSp>
          <p:nvGrpSpPr>
            <p:cNvPr id="3" name="Group 67"/>
            <p:cNvGrpSpPr>
              <a:grpSpLocks noChangeAspect="1"/>
            </p:cNvGrpSpPr>
            <p:nvPr/>
          </p:nvGrpSpPr>
          <p:grpSpPr>
            <a:xfrm>
              <a:off x="6947321" y="2270743"/>
              <a:ext cx="1470074" cy="1483078"/>
              <a:chOff x="9268877" y="1596791"/>
              <a:chExt cx="1005840" cy="1014737"/>
            </a:xfrm>
          </p:grpSpPr>
          <p:sp>
            <p:nvSpPr>
              <p:cNvPr id="75"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6"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grpSp>
        <p:cxnSp>
          <p:nvCxnSpPr>
            <p:cNvPr id="4" name="Straight Connector 5"/>
            <p:cNvCxnSpPr/>
            <p:nvPr/>
          </p:nvCxnSpPr>
          <p:spPr>
            <a:xfrm>
              <a:off x="1132084" y="2270743"/>
              <a:ext cx="6561161"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Oval 4"/>
            <p:cNvSpPr>
              <a:spLocks noChangeAspect="1"/>
            </p:cNvSpPr>
            <p:nvPr/>
          </p:nvSpPr>
          <p:spPr>
            <a:xfrm>
              <a:off x="1986872"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 name="Oval 5"/>
            <p:cNvSpPr>
              <a:spLocks noChangeAspect="1"/>
            </p:cNvSpPr>
            <p:nvPr/>
          </p:nvSpPr>
          <p:spPr>
            <a:xfrm>
              <a:off x="4203139"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Oval 6"/>
            <p:cNvSpPr>
              <a:spLocks noChangeAspect="1"/>
            </p:cNvSpPr>
            <p:nvPr/>
          </p:nvSpPr>
          <p:spPr>
            <a:xfrm>
              <a:off x="6419407"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cxnSp>
          <p:nvCxnSpPr>
            <p:cNvPr id="8" name="Straight Connector 7"/>
            <p:cNvCxnSpPr/>
            <p:nvPr/>
          </p:nvCxnSpPr>
          <p:spPr>
            <a:xfrm flipV="1">
              <a:off x="1484729" y="3753769"/>
              <a:ext cx="6210000" cy="51"/>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flipV="1">
              <a:off x="1483987" y="5236796"/>
              <a:ext cx="6210000" cy="51"/>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TextBox 91"/>
            <p:cNvSpPr txBox="1"/>
            <p:nvPr/>
          </p:nvSpPr>
          <p:spPr>
            <a:xfrm>
              <a:off x="1469766" y="2321280"/>
              <a:ext cx="1207675" cy="326758"/>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Kesin Başvuru</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11" name="TextBox 92"/>
            <p:cNvSpPr txBox="1"/>
            <p:nvPr/>
          </p:nvSpPr>
          <p:spPr>
            <a:xfrm>
              <a:off x="3245985" y="2316657"/>
              <a:ext cx="1829193" cy="326758"/>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Başvurunun Kontrolü</a:t>
              </a:r>
              <a:r>
                <a:rPr kumimoji="0" lang="en-US"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 </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12" name="TextBox 94"/>
            <p:cNvSpPr txBox="1"/>
            <p:nvPr/>
          </p:nvSpPr>
          <p:spPr>
            <a:xfrm>
              <a:off x="1004152" y="2561483"/>
              <a:ext cx="2273429" cy="276467"/>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Portal üzerinden </a:t>
              </a:r>
              <a:endPar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13" name="TextBox 95"/>
            <p:cNvSpPr txBox="1"/>
            <p:nvPr/>
          </p:nvSpPr>
          <p:spPr>
            <a:xfrm>
              <a:off x="3077434" y="2498449"/>
              <a:ext cx="2006626" cy="679001"/>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Değerlendirme için sevk, Düzeltme İstenmesi, PY Ofisine sunulması</a:t>
              </a:r>
              <a:endPar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14" name="TextBox 93"/>
            <p:cNvSpPr txBox="1"/>
            <p:nvPr/>
          </p:nvSpPr>
          <p:spPr>
            <a:xfrm>
              <a:off x="5252612" y="2324855"/>
              <a:ext cx="2556969" cy="326758"/>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Kurul ve Komisyon İncelemeleri</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15" name="TextBox 96"/>
            <p:cNvSpPr txBox="1"/>
            <p:nvPr/>
          </p:nvSpPr>
          <p:spPr>
            <a:xfrm>
              <a:off x="4987556" y="2527011"/>
              <a:ext cx="3205337" cy="276467"/>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grpSp>
          <p:nvGrpSpPr>
            <p:cNvPr id="16" name="POWER_USER_ID_ICONS_Big_Idea"/>
            <p:cNvGrpSpPr>
              <a:grpSpLocks noChangeAspect="1"/>
            </p:cNvGrpSpPr>
            <p:nvPr>
              <p:custDataLst>
                <p:tags r:id="rId13"/>
              </p:custDataLst>
            </p:nvPr>
          </p:nvGrpSpPr>
          <p:grpSpPr bwMode="auto">
            <a:xfrm>
              <a:off x="1903977" y="1684343"/>
              <a:ext cx="353773" cy="372365"/>
              <a:chOff x="3544" y="-299"/>
              <a:chExt cx="4110" cy="4326"/>
            </a:xfrm>
            <a:solidFill>
              <a:schemeClr val="tx2"/>
            </a:solidFill>
          </p:grpSpPr>
          <p:sp>
            <p:nvSpPr>
              <p:cNvPr id="66" name="Freeform 1368"/>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7" name="Freeform 1369"/>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8" name="Freeform 1370"/>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9" name="Freeform 1371"/>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0" name="Freeform 1372"/>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1" name="Freeform 1373"/>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2" name="Freeform 1374"/>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3" name="Freeform 1375"/>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4" name="Freeform 1376"/>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sp>
          <p:nvSpPr>
            <p:cNvPr id="17" name="POWER_USER_ID_ICONS_Crossroads"/>
            <p:cNvSpPr>
              <a:spLocks noChangeAspect="1"/>
            </p:cNvSpPr>
            <p:nvPr>
              <p:custDataLst>
                <p:tags r:id="rId14"/>
              </p:custDataLst>
            </p:nvPr>
          </p:nvSpPr>
          <p:spPr bwMode="auto">
            <a:xfrm>
              <a:off x="4116144" y="1687375"/>
              <a:ext cx="397348" cy="432556"/>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tx2"/>
            </a:solidFill>
            <a:ln>
              <a:noFill/>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nvGrpSpPr>
            <p:cNvPr id="18" name="POWER_USER_ID_ICONS_Cup"/>
            <p:cNvGrpSpPr>
              <a:grpSpLocks noChangeAspect="1"/>
            </p:cNvGrpSpPr>
            <p:nvPr>
              <p:custDataLst>
                <p:tags r:id="rId15"/>
              </p:custDataLst>
            </p:nvPr>
          </p:nvGrpSpPr>
          <p:grpSpPr bwMode="auto">
            <a:xfrm>
              <a:off x="7787205" y="4771529"/>
              <a:ext cx="559408" cy="603779"/>
              <a:chOff x="69" y="56"/>
              <a:chExt cx="353" cy="381"/>
            </a:xfrm>
            <a:solidFill>
              <a:schemeClr val="tx2"/>
            </a:solidFill>
          </p:grpSpPr>
          <p:sp>
            <p:nvSpPr>
              <p:cNvPr id="61" name="POWER_USER_ID_ICONS_Cup"/>
              <p:cNvSpPr>
                <a:spLocks/>
              </p:cNvSpPr>
              <p:nvPr>
                <p:custDataLst>
                  <p:tags r:id="rId44"/>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2" name="POWER_USER_ID_ICONS_Cup"/>
              <p:cNvSpPr>
                <a:spLocks/>
              </p:cNvSpPr>
              <p:nvPr>
                <p:custDataLst>
                  <p:tags r:id="rId45"/>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3" name="POWER_USER_ID_ICONS_Cup"/>
              <p:cNvSpPr>
                <a:spLocks/>
              </p:cNvSpPr>
              <p:nvPr>
                <p:custDataLst>
                  <p:tags r:id="rId46"/>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4" name="POWER_USER_ID_ICONS_Cup"/>
              <p:cNvSpPr>
                <a:spLocks/>
              </p:cNvSpPr>
              <p:nvPr>
                <p:custDataLst>
                  <p:tags r:id="rId47"/>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5" name="POWER_USER_ID_ICONS_Cup"/>
              <p:cNvSpPr>
                <a:spLocks/>
              </p:cNvSpPr>
              <p:nvPr>
                <p:custDataLst>
                  <p:tags r:id="rId48"/>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grpSp>
          <p:nvGrpSpPr>
            <p:cNvPr id="19" name="POWER_USER_ID_ICONS_Flag5"/>
            <p:cNvGrpSpPr>
              <a:grpSpLocks noChangeAspect="1"/>
            </p:cNvGrpSpPr>
            <p:nvPr>
              <p:custDataLst>
                <p:tags r:id="rId16"/>
              </p:custDataLst>
            </p:nvPr>
          </p:nvGrpSpPr>
          <p:grpSpPr bwMode="auto">
            <a:xfrm>
              <a:off x="726606" y="1935356"/>
              <a:ext cx="362108" cy="466410"/>
              <a:chOff x="8" y="5"/>
              <a:chExt cx="368" cy="474"/>
            </a:xfrm>
            <a:solidFill>
              <a:schemeClr val="tx2"/>
            </a:solidFill>
          </p:grpSpPr>
          <p:sp>
            <p:nvSpPr>
              <p:cNvPr id="47" name="POWER_USER_ID_ICONS_Flag5"/>
              <p:cNvSpPr>
                <a:spLocks/>
              </p:cNvSpPr>
              <p:nvPr>
                <p:custDataLst>
                  <p:tags r:id="rId30"/>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48" name="POWER_USER_ID_ICONS_Flag5"/>
              <p:cNvSpPr>
                <a:spLocks noChangeArrowheads="1"/>
              </p:cNvSpPr>
              <p:nvPr>
                <p:custDataLst>
                  <p:tags r:id="rId31"/>
                </p:custDataLst>
              </p:nvPr>
            </p:nvSpPr>
            <p:spPr bwMode="auto">
              <a:xfrm>
                <a:off x="34" y="26"/>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49" name="POWER_USER_ID_ICONS_Flag5"/>
              <p:cNvSpPr>
                <a:spLocks noChangeArrowheads="1"/>
              </p:cNvSpPr>
              <p:nvPr>
                <p:custDataLst>
                  <p:tags r:id="rId32"/>
                </p:custDataLst>
              </p:nvPr>
            </p:nvSpPr>
            <p:spPr bwMode="auto">
              <a:xfrm>
                <a:off x="88" y="81"/>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0" name="POWER_USER_ID_ICONS_Flag5"/>
              <p:cNvSpPr>
                <a:spLocks noChangeArrowheads="1"/>
              </p:cNvSpPr>
              <p:nvPr>
                <p:custDataLst>
                  <p:tags r:id="rId33"/>
                </p:custDataLst>
              </p:nvPr>
            </p:nvSpPr>
            <p:spPr bwMode="auto">
              <a:xfrm>
                <a:off x="34" y="136"/>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1" name="POWER_USER_ID_ICONS_Flag5"/>
              <p:cNvSpPr>
                <a:spLocks noChangeArrowheads="1"/>
              </p:cNvSpPr>
              <p:nvPr>
                <p:custDataLst>
                  <p:tags r:id="rId34"/>
                </p:custDataLst>
              </p:nvPr>
            </p:nvSpPr>
            <p:spPr bwMode="auto">
              <a:xfrm>
                <a:off x="88" y="191"/>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2" name="POWER_USER_ID_ICONS_Flag5"/>
              <p:cNvSpPr>
                <a:spLocks noChangeArrowheads="1"/>
              </p:cNvSpPr>
              <p:nvPr>
                <p:custDataLst>
                  <p:tags r:id="rId35"/>
                </p:custDataLst>
              </p:nvPr>
            </p:nvSpPr>
            <p:spPr bwMode="auto">
              <a:xfrm>
                <a:off x="144" y="26"/>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3" name="POWER_USER_ID_ICONS_Flag5"/>
              <p:cNvSpPr>
                <a:spLocks noChangeArrowheads="1"/>
              </p:cNvSpPr>
              <p:nvPr>
                <p:custDataLst>
                  <p:tags r:id="rId36"/>
                </p:custDataLst>
              </p:nvPr>
            </p:nvSpPr>
            <p:spPr bwMode="auto">
              <a:xfrm>
                <a:off x="198" y="81"/>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4" name="POWER_USER_ID_ICONS_Flag5"/>
              <p:cNvSpPr>
                <a:spLocks noChangeArrowheads="1"/>
              </p:cNvSpPr>
              <p:nvPr>
                <p:custDataLst>
                  <p:tags r:id="rId37"/>
                </p:custDataLst>
              </p:nvPr>
            </p:nvSpPr>
            <p:spPr bwMode="auto">
              <a:xfrm>
                <a:off x="144" y="136"/>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5" name="POWER_USER_ID_ICONS_Flag5"/>
              <p:cNvSpPr>
                <a:spLocks noChangeArrowheads="1"/>
              </p:cNvSpPr>
              <p:nvPr>
                <p:custDataLst>
                  <p:tags r:id="rId38"/>
                </p:custDataLst>
              </p:nvPr>
            </p:nvSpPr>
            <p:spPr bwMode="auto">
              <a:xfrm>
                <a:off x="198" y="191"/>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6" name="POWER_USER_ID_ICONS_Flag5"/>
              <p:cNvSpPr>
                <a:spLocks noChangeArrowheads="1"/>
              </p:cNvSpPr>
              <p:nvPr>
                <p:custDataLst>
                  <p:tags r:id="rId39"/>
                </p:custDataLst>
              </p:nvPr>
            </p:nvSpPr>
            <p:spPr bwMode="auto">
              <a:xfrm>
                <a:off x="253" y="26"/>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7" name="POWER_USER_ID_ICONS_Flag5"/>
              <p:cNvSpPr>
                <a:spLocks noChangeArrowheads="1"/>
              </p:cNvSpPr>
              <p:nvPr>
                <p:custDataLst>
                  <p:tags r:id="rId40"/>
                </p:custDataLst>
              </p:nvPr>
            </p:nvSpPr>
            <p:spPr bwMode="auto">
              <a:xfrm>
                <a:off x="309" y="81"/>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8" name="POWER_USER_ID_ICONS_Flag5"/>
              <p:cNvSpPr>
                <a:spLocks noChangeArrowheads="1"/>
              </p:cNvSpPr>
              <p:nvPr>
                <p:custDataLst>
                  <p:tags r:id="rId41"/>
                </p:custDataLst>
              </p:nvPr>
            </p:nvSpPr>
            <p:spPr bwMode="auto">
              <a:xfrm>
                <a:off x="253" y="136"/>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9" name="POWER_USER_ID_ICONS_Flag5"/>
              <p:cNvSpPr>
                <a:spLocks noChangeArrowheads="1"/>
              </p:cNvSpPr>
              <p:nvPr>
                <p:custDataLst>
                  <p:tags r:id="rId42"/>
                </p:custDataLst>
              </p:nvPr>
            </p:nvSpPr>
            <p:spPr bwMode="auto">
              <a:xfrm>
                <a:off x="309" y="191"/>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0" name="POWER_USER_ID_ICONS_Flag5"/>
              <p:cNvSpPr>
                <a:spLocks noEditPoints="1"/>
              </p:cNvSpPr>
              <p:nvPr>
                <p:custDataLst>
                  <p:tags r:id="rId43"/>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grpSp>
          <p:nvGrpSpPr>
            <p:cNvPr id="20" name="Group 154"/>
            <p:cNvGrpSpPr>
              <a:grpSpLocks noChangeAspect="1"/>
            </p:cNvGrpSpPr>
            <p:nvPr/>
          </p:nvGrpSpPr>
          <p:grpSpPr>
            <a:xfrm rot="10800000">
              <a:off x="777435" y="3753770"/>
              <a:ext cx="1470074" cy="1483078"/>
              <a:chOff x="9268877" y="1596791"/>
              <a:chExt cx="1005840" cy="1014737"/>
            </a:xfrm>
          </p:grpSpPr>
          <p:sp>
            <p:nvSpPr>
              <p:cNvPr id="45"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6" name="Arc 156"/>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21" name="Oval 20"/>
            <p:cNvSpPr>
              <a:spLocks noChangeAspect="1"/>
            </p:cNvSpPr>
            <p:nvPr/>
          </p:nvSpPr>
          <p:spPr>
            <a:xfrm>
              <a:off x="1986872"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2" name="Oval 21"/>
            <p:cNvSpPr>
              <a:spLocks noChangeAspect="1"/>
            </p:cNvSpPr>
            <p:nvPr/>
          </p:nvSpPr>
          <p:spPr>
            <a:xfrm>
              <a:off x="4203139"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3" name="Oval 22"/>
            <p:cNvSpPr>
              <a:spLocks noChangeAspect="1"/>
            </p:cNvSpPr>
            <p:nvPr/>
          </p:nvSpPr>
          <p:spPr>
            <a:xfrm>
              <a:off x="6419407"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4" name="TextBox 160"/>
            <p:cNvSpPr txBox="1"/>
            <p:nvPr/>
          </p:nvSpPr>
          <p:spPr>
            <a:xfrm>
              <a:off x="1648625" y="3819959"/>
              <a:ext cx="899760" cy="326758"/>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Ödemeler</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25" name="TextBox 161"/>
            <p:cNvSpPr txBox="1"/>
            <p:nvPr/>
          </p:nvSpPr>
          <p:spPr>
            <a:xfrm>
              <a:off x="3265145" y="3861357"/>
              <a:ext cx="2099346" cy="327954"/>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rPr>
                <a:t>Faaliyetlerin Yürütülmesi</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26" name="TextBox 164"/>
            <p:cNvSpPr txBox="1"/>
            <p:nvPr/>
          </p:nvSpPr>
          <p:spPr>
            <a:xfrm>
              <a:off x="6166556" y="3789182"/>
              <a:ext cx="729080" cy="326758"/>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Komite</a:t>
              </a:r>
              <a:r>
                <a:rPr kumimoji="0" lang="en-US"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 </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27" name="Oval 26"/>
            <p:cNvSpPr>
              <a:spLocks noChangeAspect="1"/>
            </p:cNvSpPr>
            <p:nvPr/>
          </p:nvSpPr>
          <p:spPr>
            <a:xfrm>
              <a:off x="3325854" y="5159643"/>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8" name="Oval 27"/>
            <p:cNvSpPr>
              <a:spLocks noChangeAspect="1"/>
            </p:cNvSpPr>
            <p:nvPr/>
          </p:nvSpPr>
          <p:spPr>
            <a:xfrm>
              <a:off x="6380986" y="5127756"/>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9" name="TextBox 169"/>
            <p:cNvSpPr txBox="1"/>
            <p:nvPr/>
          </p:nvSpPr>
          <p:spPr>
            <a:xfrm>
              <a:off x="2148993" y="5358505"/>
              <a:ext cx="2033455" cy="327954"/>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rPr>
                <a:t>Projenin Tamamlanması</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30" name="TextBox 173"/>
            <p:cNvSpPr txBox="1"/>
            <p:nvPr/>
          </p:nvSpPr>
          <p:spPr>
            <a:xfrm>
              <a:off x="5945148" y="5306089"/>
              <a:ext cx="1576922" cy="327954"/>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rPr>
                <a:t>Projenin İzlenmesi</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31" name="TextBox 174"/>
            <p:cNvSpPr txBox="1"/>
            <p:nvPr/>
          </p:nvSpPr>
          <p:spPr>
            <a:xfrm>
              <a:off x="4772347" y="5529925"/>
              <a:ext cx="4012843" cy="477734"/>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3</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yıl boyunca işletmenin her yıl </a:t>
              </a:r>
              <a:r>
                <a:rPr kumimoji="0" lang="en-US"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izlenmesi</a:t>
              </a:r>
              <a:r>
                <a:rPr kumimoji="0" lang="tr-TR"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 ve Program Yönetim Ofisi tarafından izlenmesi</a:t>
              </a:r>
              <a:endPar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32" name="POWER_USER_ID_ICONS_Board"/>
            <p:cNvSpPr>
              <a:spLocks noChangeAspect="1" noEditPoints="1"/>
            </p:cNvSpPr>
            <p:nvPr>
              <p:custDataLst>
                <p:tags r:id="rId17"/>
              </p:custDataLst>
            </p:nvPr>
          </p:nvSpPr>
          <p:spPr bwMode="auto">
            <a:xfrm>
              <a:off x="4152393" y="3163062"/>
              <a:ext cx="309499" cy="393233"/>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tx2"/>
            </a:solidFill>
            <a:ln>
              <a:noFill/>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33" name="POWER_USER_ID_ICONS_Stopwatch5"/>
            <p:cNvSpPr>
              <a:spLocks noChangeAspect="1" noEditPoints="1"/>
            </p:cNvSpPr>
            <p:nvPr>
              <p:custDataLst>
                <p:tags r:id="rId18"/>
              </p:custDataLst>
            </p:nvPr>
          </p:nvSpPr>
          <p:spPr bwMode="auto">
            <a:xfrm>
              <a:off x="3179162" y="4670222"/>
              <a:ext cx="405224" cy="300563"/>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tx2"/>
            </a:solidFill>
            <a:ln>
              <a:noFill/>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nvGrpSpPr>
            <p:cNvPr id="34" name="POWER_USER_ID_ICONS_Poll"/>
            <p:cNvGrpSpPr>
              <a:grpSpLocks noChangeAspect="1"/>
            </p:cNvGrpSpPr>
            <p:nvPr>
              <p:custDataLst>
                <p:tags r:id="rId19"/>
              </p:custDataLst>
            </p:nvPr>
          </p:nvGrpSpPr>
          <p:grpSpPr bwMode="auto">
            <a:xfrm>
              <a:off x="6277098" y="4519266"/>
              <a:ext cx="361475" cy="468868"/>
              <a:chOff x="74" y="94"/>
              <a:chExt cx="276" cy="358"/>
            </a:xfrm>
            <a:solidFill>
              <a:schemeClr val="tx2"/>
            </a:solidFill>
          </p:grpSpPr>
          <p:sp>
            <p:nvSpPr>
              <p:cNvPr id="35" name="POWER_USER_ID_ICONS_Poll"/>
              <p:cNvSpPr>
                <a:spLocks/>
              </p:cNvSpPr>
              <p:nvPr>
                <p:custDataLst>
                  <p:tags r:id="rId20"/>
                </p:custDataLst>
              </p:nvPr>
            </p:nvSpPr>
            <p:spPr bwMode="auto">
              <a:xfrm>
                <a:off x="74" y="94"/>
                <a:ext cx="273" cy="280"/>
              </a:xfrm>
              <a:custGeom>
                <a:avLst/>
                <a:gdLst>
                  <a:gd name="T0" fmla="*/ 900 w 900"/>
                  <a:gd name="T1" fmla="*/ 900 h 900"/>
                  <a:gd name="T2" fmla="*/ 0 w 900"/>
                  <a:gd name="T3" fmla="*/ 900 h 900"/>
                  <a:gd name="T4" fmla="*/ 0 w 900"/>
                  <a:gd name="T5" fmla="*/ 0 h 900"/>
                  <a:gd name="T6" fmla="*/ 15 w 900"/>
                  <a:gd name="T7" fmla="*/ 0 h 900"/>
                  <a:gd name="T8" fmla="*/ 15 w 900"/>
                  <a:gd name="T9" fmla="*/ 885 h 900"/>
                  <a:gd name="T10" fmla="*/ 900 w 900"/>
                  <a:gd name="T11" fmla="*/ 885 h 900"/>
                  <a:gd name="T12" fmla="*/ 900 w 900"/>
                  <a:gd name="T13" fmla="*/ 900 h 900"/>
                </a:gdLst>
                <a:ahLst/>
                <a:cxnLst>
                  <a:cxn ang="0">
                    <a:pos x="T0" y="T1"/>
                  </a:cxn>
                  <a:cxn ang="0">
                    <a:pos x="T2" y="T3"/>
                  </a:cxn>
                  <a:cxn ang="0">
                    <a:pos x="T4" y="T5"/>
                  </a:cxn>
                  <a:cxn ang="0">
                    <a:pos x="T6" y="T7"/>
                  </a:cxn>
                  <a:cxn ang="0">
                    <a:pos x="T8" y="T9"/>
                  </a:cxn>
                  <a:cxn ang="0">
                    <a:pos x="T10" y="T11"/>
                  </a:cxn>
                  <a:cxn ang="0">
                    <a:pos x="T12" y="T13"/>
                  </a:cxn>
                </a:cxnLst>
                <a:rect l="0" t="0" r="r" b="b"/>
                <a:pathLst>
                  <a:path w="900" h="900">
                    <a:moveTo>
                      <a:pt x="900" y="900"/>
                    </a:moveTo>
                    <a:lnTo>
                      <a:pt x="0" y="900"/>
                    </a:lnTo>
                    <a:lnTo>
                      <a:pt x="0" y="0"/>
                    </a:lnTo>
                    <a:lnTo>
                      <a:pt x="15" y="0"/>
                    </a:lnTo>
                    <a:lnTo>
                      <a:pt x="15" y="885"/>
                    </a:lnTo>
                    <a:lnTo>
                      <a:pt x="900" y="885"/>
                    </a:lnTo>
                    <a:lnTo>
                      <a:pt x="900" y="900"/>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36" name="POWER_USER_ID_ICONS_Poll"/>
              <p:cNvSpPr>
                <a:spLocks noEditPoints="1"/>
              </p:cNvSpPr>
              <p:nvPr>
                <p:custDataLst>
                  <p:tags r:id="rId21"/>
                </p:custDataLst>
              </p:nvPr>
            </p:nvSpPr>
            <p:spPr bwMode="auto">
              <a:xfrm>
                <a:off x="113" y="129"/>
                <a:ext cx="52" cy="210"/>
              </a:xfrm>
              <a:custGeom>
                <a:avLst/>
                <a:gdLst>
                  <a:gd name="T0" fmla="*/ 172 w 172"/>
                  <a:gd name="T1" fmla="*/ 676 h 676"/>
                  <a:gd name="T2" fmla="*/ 0 w 172"/>
                  <a:gd name="T3" fmla="*/ 676 h 676"/>
                  <a:gd name="T4" fmla="*/ 0 w 172"/>
                  <a:gd name="T5" fmla="*/ 0 h 676"/>
                  <a:gd name="T6" fmla="*/ 172 w 172"/>
                  <a:gd name="T7" fmla="*/ 0 h 676"/>
                  <a:gd name="T8" fmla="*/ 172 w 172"/>
                  <a:gd name="T9" fmla="*/ 676 h 676"/>
                  <a:gd name="T10" fmla="*/ 15 w 172"/>
                  <a:gd name="T11" fmla="*/ 661 h 676"/>
                  <a:gd name="T12" fmla="*/ 157 w 172"/>
                  <a:gd name="T13" fmla="*/ 661 h 676"/>
                  <a:gd name="T14" fmla="*/ 157 w 172"/>
                  <a:gd name="T15" fmla="*/ 15 h 676"/>
                  <a:gd name="T16" fmla="*/ 15 w 172"/>
                  <a:gd name="T17" fmla="*/ 15 h 676"/>
                  <a:gd name="T18" fmla="*/ 15 w 172"/>
                  <a:gd name="T19" fmla="*/ 661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676">
                    <a:moveTo>
                      <a:pt x="172" y="676"/>
                    </a:moveTo>
                    <a:lnTo>
                      <a:pt x="0" y="676"/>
                    </a:lnTo>
                    <a:lnTo>
                      <a:pt x="0" y="0"/>
                    </a:lnTo>
                    <a:lnTo>
                      <a:pt x="172" y="0"/>
                    </a:lnTo>
                    <a:lnTo>
                      <a:pt x="172" y="676"/>
                    </a:lnTo>
                    <a:close/>
                    <a:moveTo>
                      <a:pt x="15" y="661"/>
                    </a:moveTo>
                    <a:lnTo>
                      <a:pt x="157" y="661"/>
                    </a:lnTo>
                    <a:lnTo>
                      <a:pt x="157" y="15"/>
                    </a:lnTo>
                    <a:lnTo>
                      <a:pt x="15" y="15"/>
                    </a:lnTo>
                    <a:lnTo>
                      <a:pt x="15" y="661"/>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37" name="POWER_USER_ID_ICONS_Poll"/>
              <p:cNvSpPr>
                <a:spLocks noEditPoints="1"/>
              </p:cNvSpPr>
              <p:nvPr>
                <p:custDataLst>
                  <p:tags r:id="rId22"/>
                </p:custDataLst>
              </p:nvPr>
            </p:nvSpPr>
            <p:spPr bwMode="auto">
              <a:xfrm>
                <a:off x="200" y="201"/>
                <a:ext cx="53" cy="138"/>
              </a:xfrm>
              <a:custGeom>
                <a:avLst/>
                <a:gdLst>
                  <a:gd name="T0" fmla="*/ 172 w 172"/>
                  <a:gd name="T1" fmla="*/ 444 h 444"/>
                  <a:gd name="T2" fmla="*/ 0 w 172"/>
                  <a:gd name="T3" fmla="*/ 444 h 444"/>
                  <a:gd name="T4" fmla="*/ 0 w 172"/>
                  <a:gd name="T5" fmla="*/ 0 h 444"/>
                  <a:gd name="T6" fmla="*/ 172 w 172"/>
                  <a:gd name="T7" fmla="*/ 0 h 444"/>
                  <a:gd name="T8" fmla="*/ 172 w 172"/>
                  <a:gd name="T9" fmla="*/ 444 h 444"/>
                  <a:gd name="T10" fmla="*/ 15 w 172"/>
                  <a:gd name="T11" fmla="*/ 429 h 444"/>
                  <a:gd name="T12" fmla="*/ 157 w 172"/>
                  <a:gd name="T13" fmla="*/ 429 h 444"/>
                  <a:gd name="T14" fmla="*/ 157 w 172"/>
                  <a:gd name="T15" fmla="*/ 15 h 444"/>
                  <a:gd name="T16" fmla="*/ 15 w 172"/>
                  <a:gd name="T17" fmla="*/ 15 h 444"/>
                  <a:gd name="T18" fmla="*/ 15 w 172"/>
                  <a:gd name="T19" fmla="*/ 42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444">
                    <a:moveTo>
                      <a:pt x="172" y="444"/>
                    </a:moveTo>
                    <a:lnTo>
                      <a:pt x="0" y="444"/>
                    </a:lnTo>
                    <a:lnTo>
                      <a:pt x="0" y="0"/>
                    </a:lnTo>
                    <a:lnTo>
                      <a:pt x="172" y="0"/>
                    </a:lnTo>
                    <a:lnTo>
                      <a:pt x="172" y="444"/>
                    </a:lnTo>
                    <a:close/>
                    <a:moveTo>
                      <a:pt x="15" y="429"/>
                    </a:moveTo>
                    <a:lnTo>
                      <a:pt x="157" y="429"/>
                    </a:lnTo>
                    <a:lnTo>
                      <a:pt x="157" y="15"/>
                    </a:lnTo>
                    <a:lnTo>
                      <a:pt x="15" y="15"/>
                    </a:lnTo>
                    <a:lnTo>
                      <a:pt x="15" y="429"/>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38" name="POWER_USER_ID_ICONS_Poll"/>
              <p:cNvSpPr>
                <a:spLocks noEditPoints="1"/>
              </p:cNvSpPr>
              <p:nvPr>
                <p:custDataLst>
                  <p:tags r:id="rId23"/>
                </p:custDataLst>
              </p:nvPr>
            </p:nvSpPr>
            <p:spPr bwMode="auto">
              <a:xfrm>
                <a:off x="287" y="172"/>
                <a:ext cx="53" cy="167"/>
              </a:xfrm>
              <a:custGeom>
                <a:avLst/>
                <a:gdLst>
                  <a:gd name="T0" fmla="*/ 172 w 172"/>
                  <a:gd name="T1" fmla="*/ 539 h 539"/>
                  <a:gd name="T2" fmla="*/ 0 w 172"/>
                  <a:gd name="T3" fmla="*/ 539 h 539"/>
                  <a:gd name="T4" fmla="*/ 0 w 172"/>
                  <a:gd name="T5" fmla="*/ 0 h 539"/>
                  <a:gd name="T6" fmla="*/ 172 w 172"/>
                  <a:gd name="T7" fmla="*/ 0 h 539"/>
                  <a:gd name="T8" fmla="*/ 172 w 172"/>
                  <a:gd name="T9" fmla="*/ 539 h 539"/>
                  <a:gd name="T10" fmla="*/ 15 w 172"/>
                  <a:gd name="T11" fmla="*/ 524 h 539"/>
                  <a:gd name="T12" fmla="*/ 157 w 172"/>
                  <a:gd name="T13" fmla="*/ 524 h 539"/>
                  <a:gd name="T14" fmla="*/ 157 w 172"/>
                  <a:gd name="T15" fmla="*/ 15 h 539"/>
                  <a:gd name="T16" fmla="*/ 15 w 172"/>
                  <a:gd name="T17" fmla="*/ 15 h 539"/>
                  <a:gd name="T18" fmla="*/ 15 w 172"/>
                  <a:gd name="T19" fmla="*/ 52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539">
                    <a:moveTo>
                      <a:pt x="172" y="539"/>
                    </a:moveTo>
                    <a:lnTo>
                      <a:pt x="0" y="539"/>
                    </a:lnTo>
                    <a:lnTo>
                      <a:pt x="0" y="0"/>
                    </a:lnTo>
                    <a:lnTo>
                      <a:pt x="172" y="0"/>
                    </a:lnTo>
                    <a:lnTo>
                      <a:pt x="172" y="539"/>
                    </a:lnTo>
                    <a:close/>
                    <a:moveTo>
                      <a:pt x="15" y="524"/>
                    </a:moveTo>
                    <a:lnTo>
                      <a:pt x="157" y="524"/>
                    </a:lnTo>
                    <a:lnTo>
                      <a:pt x="157" y="15"/>
                    </a:lnTo>
                    <a:lnTo>
                      <a:pt x="15" y="15"/>
                    </a:lnTo>
                    <a:lnTo>
                      <a:pt x="15" y="524"/>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39" name="POWER_USER_ID_ICONS_Poll"/>
              <p:cNvSpPr>
                <a:spLocks noChangeArrowheads="1"/>
              </p:cNvSpPr>
              <p:nvPr>
                <p:custDataLst>
                  <p:tags r:id="rId24"/>
                </p:custDataLst>
              </p:nvPr>
            </p:nvSpPr>
            <p:spPr bwMode="auto">
              <a:xfrm>
                <a:off x="129" y="384"/>
                <a:ext cx="32" cy="31"/>
              </a:xfrm>
              <a:prstGeom prst="ellipse">
                <a:avLst/>
              </a:pr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40" name="POWER_USER_ID_ICONS_Poll"/>
              <p:cNvSpPr>
                <a:spLocks/>
              </p:cNvSpPr>
              <p:nvPr>
                <p:custDataLst>
                  <p:tags r:id="rId25"/>
                </p:custDataLst>
              </p:nvPr>
            </p:nvSpPr>
            <p:spPr bwMode="auto">
              <a:xfrm>
                <a:off x="115"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4" y="4"/>
                      <a:pt x="125" y="0"/>
                    </a:cubicBezTo>
                    <a:cubicBezTo>
                      <a:pt x="115" y="14"/>
                      <a:pt x="99" y="23"/>
                      <a:pt x="81" y="23"/>
                    </a:cubicBezTo>
                    <a:cubicBezTo>
                      <a:pt x="63" y="23"/>
                      <a:pt x="47" y="14"/>
                      <a:pt x="37" y="0"/>
                    </a:cubicBezTo>
                    <a:cubicBezTo>
                      <a:pt x="29" y="4"/>
                      <a:pt x="21" y="9"/>
                      <a:pt x="17" y="16"/>
                    </a:cubicBezTo>
                    <a:cubicBezTo>
                      <a:pt x="3" y="38"/>
                      <a:pt x="0" y="72"/>
                      <a:pt x="0" y="98"/>
                    </a:cubicBezTo>
                    <a:cubicBezTo>
                      <a:pt x="0" y="98"/>
                      <a:pt x="36" y="108"/>
                      <a:pt x="81" y="108"/>
                    </a:cubicBezTo>
                    <a:cubicBezTo>
                      <a:pt x="127" y="108"/>
                      <a:pt x="162" y="98"/>
                      <a:pt x="162" y="98"/>
                    </a:cubicBezTo>
                    <a:cubicBezTo>
                      <a:pt x="162" y="72"/>
                      <a:pt x="159" y="38"/>
                      <a:pt x="145" y="1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41" name="POWER_USER_ID_ICONS_Poll"/>
              <p:cNvSpPr>
                <a:spLocks noChangeArrowheads="1"/>
              </p:cNvSpPr>
              <p:nvPr>
                <p:custDataLst>
                  <p:tags r:id="rId26"/>
                </p:custDataLst>
              </p:nvPr>
            </p:nvSpPr>
            <p:spPr bwMode="auto">
              <a:xfrm>
                <a:off x="216" y="384"/>
                <a:ext cx="32" cy="31"/>
              </a:xfrm>
              <a:prstGeom prst="ellipse">
                <a:avLst/>
              </a:pr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42" name="POWER_USER_ID_ICONS_Poll"/>
              <p:cNvSpPr>
                <a:spLocks/>
              </p:cNvSpPr>
              <p:nvPr>
                <p:custDataLst>
                  <p:tags r:id="rId27"/>
                </p:custDataLst>
              </p:nvPr>
            </p:nvSpPr>
            <p:spPr bwMode="auto">
              <a:xfrm>
                <a:off x="202"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7" y="14"/>
                      <a:pt x="37" y="0"/>
                    </a:cubicBezTo>
                    <a:cubicBezTo>
                      <a:pt x="28" y="4"/>
                      <a:pt x="21" y="9"/>
                      <a:pt x="17" y="16"/>
                    </a:cubicBezTo>
                    <a:cubicBezTo>
                      <a:pt x="3" y="38"/>
                      <a:pt x="0" y="72"/>
                      <a:pt x="0" y="98"/>
                    </a:cubicBezTo>
                    <a:cubicBezTo>
                      <a:pt x="0" y="98"/>
                      <a:pt x="36" y="108"/>
                      <a:pt x="81" y="108"/>
                    </a:cubicBezTo>
                    <a:cubicBezTo>
                      <a:pt x="126" y="108"/>
                      <a:pt x="162" y="98"/>
                      <a:pt x="162" y="98"/>
                    </a:cubicBezTo>
                    <a:cubicBezTo>
                      <a:pt x="162" y="72"/>
                      <a:pt x="159" y="38"/>
                      <a:pt x="145" y="1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43" name="POWER_USER_ID_ICONS_Poll"/>
              <p:cNvSpPr>
                <a:spLocks noChangeArrowheads="1"/>
              </p:cNvSpPr>
              <p:nvPr>
                <p:custDataLst>
                  <p:tags r:id="rId28"/>
                </p:custDataLst>
              </p:nvPr>
            </p:nvSpPr>
            <p:spPr bwMode="auto">
              <a:xfrm>
                <a:off x="304" y="384"/>
                <a:ext cx="31" cy="31"/>
              </a:xfrm>
              <a:prstGeom prst="ellipse">
                <a:avLst/>
              </a:pr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44" name="POWER_USER_ID_ICONS_Poll"/>
              <p:cNvSpPr>
                <a:spLocks/>
              </p:cNvSpPr>
              <p:nvPr>
                <p:custDataLst>
                  <p:tags r:id="rId29"/>
                </p:custDataLst>
              </p:nvPr>
            </p:nvSpPr>
            <p:spPr bwMode="auto">
              <a:xfrm>
                <a:off x="289"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6" y="14"/>
                      <a:pt x="37" y="0"/>
                    </a:cubicBezTo>
                    <a:cubicBezTo>
                      <a:pt x="28" y="4"/>
                      <a:pt x="21" y="9"/>
                      <a:pt x="17" y="16"/>
                    </a:cubicBezTo>
                    <a:cubicBezTo>
                      <a:pt x="3" y="38"/>
                      <a:pt x="0" y="72"/>
                      <a:pt x="0" y="98"/>
                    </a:cubicBezTo>
                    <a:cubicBezTo>
                      <a:pt x="0" y="98"/>
                      <a:pt x="35" y="108"/>
                      <a:pt x="81" y="108"/>
                    </a:cubicBezTo>
                    <a:cubicBezTo>
                      <a:pt x="126" y="108"/>
                      <a:pt x="162" y="98"/>
                      <a:pt x="162" y="98"/>
                    </a:cubicBezTo>
                    <a:cubicBezTo>
                      <a:pt x="162" y="72"/>
                      <a:pt x="158" y="38"/>
                      <a:pt x="145" y="1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grpSp>
      <p:sp>
        <p:nvSpPr>
          <p:cNvPr id="78" name="Text Box 2"/>
          <p:cNvSpPr txBox="1">
            <a:spLocks noChangeArrowheads="1"/>
          </p:cNvSpPr>
          <p:nvPr/>
        </p:nvSpPr>
        <p:spPr bwMode="auto">
          <a:xfrm>
            <a:off x="1493113" y="246155"/>
            <a:ext cx="8094407" cy="500422"/>
          </a:xfrm>
          <a:prstGeom prst="rect">
            <a:avLst/>
          </a:prstGeom>
          <a:noFill/>
          <a:ln>
            <a:noFill/>
          </a:ln>
          <a:extLst/>
        </p:spPr>
        <p:txBody>
          <a:bodyPr wrap="square" lIns="0" tIns="0" rIns="0" bIns="0">
            <a:spAutoFit/>
          </a:bodyPr>
          <a:lstStyle>
            <a:lvl1pPr algn="l">
              <a:spcBef>
                <a:spcPct val="0"/>
              </a:spcBef>
              <a:tabLst>
                <a:tab pos="261938" algn="l"/>
              </a:tabLst>
              <a:defRPr>
                <a:solidFill>
                  <a:schemeClr val="tx1"/>
                </a:solidFill>
                <a:latin typeface="Arial" charset="0"/>
                <a:cs typeface="Arial" charset="0"/>
              </a:defRPr>
            </a:lvl1pPr>
            <a:lvl2pPr marL="742950" indent="-285750" algn="l">
              <a:spcBef>
                <a:spcPct val="0"/>
              </a:spcBef>
              <a:tabLst>
                <a:tab pos="261938" algn="l"/>
              </a:tabLst>
              <a:defRPr>
                <a:solidFill>
                  <a:schemeClr val="tx1"/>
                </a:solidFill>
                <a:latin typeface="Arial" charset="0"/>
                <a:cs typeface="Arial" charset="0"/>
              </a:defRPr>
            </a:lvl2pPr>
            <a:lvl3pPr marL="1143000" indent="-228600" algn="l">
              <a:spcBef>
                <a:spcPct val="0"/>
              </a:spcBef>
              <a:tabLst>
                <a:tab pos="261938" algn="l"/>
              </a:tabLst>
              <a:defRPr>
                <a:solidFill>
                  <a:schemeClr val="tx1"/>
                </a:solidFill>
                <a:latin typeface="Arial" charset="0"/>
                <a:cs typeface="Arial" charset="0"/>
              </a:defRPr>
            </a:lvl3pPr>
            <a:lvl4pPr marL="1600200" indent="-228600" algn="l">
              <a:spcBef>
                <a:spcPct val="0"/>
              </a:spcBef>
              <a:tabLst>
                <a:tab pos="261938" algn="l"/>
              </a:tabLst>
              <a:defRPr>
                <a:solidFill>
                  <a:schemeClr val="tx1"/>
                </a:solidFill>
                <a:latin typeface="Arial" charset="0"/>
                <a:cs typeface="Arial" charset="0"/>
              </a:defRPr>
            </a:lvl4pPr>
            <a:lvl5pPr marL="2057400" indent="-228600" algn="l">
              <a:spcBef>
                <a:spcPct val="0"/>
              </a:spcBef>
              <a:tabLst>
                <a:tab pos="261938" algn="l"/>
              </a:tabLst>
              <a:defRPr>
                <a:solidFill>
                  <a:schemeClr val="tx1"/>
                </a:solidFill>
                <a:latin typeface="Arial" charset="0"/>
                <a:cs typeface="Arial" charset="0"/>
              </a:defRPr>
            </a:lvl5pPr>
            <a:lvl6pPr marL="2514600" indent="-228600" fontAlgn="base">
              <a:spcBef>
                <a:spcPct val="0"/>
              </a:spcBef>
              <a:spcAft>
                <a:spcPct val="0"/>
              </a:spcAft>
              <a:tabLst>
                <a:tab pos="261938" algn="l"/>
              </a:tabLst>
              <a:defRPr>
                <a:solidFill>
                  <a:schemeClr val="tx1"/>
                </a:solidFill>
                <a:latin typeface="Arial" charset="0"/>
                <a:cs typeface="Arial" charset="0"/>
              </a:defRPr>
            </a:lvl6pPr>
            <a:lvl7pPr marL="2971800" indent="-228600" fontAlgn="base">
              <a:spcBef>
                <a:spcPct val="0"/>
              </a:spcBef>
              <a:spcAft>
                <a:spcPct val="0"/>
              </a:spcAft>
              <a:tabLst>
                <a:tab pos="261938" algn="l"/>
              </a:tabLst>
              <a:defRPr>
                <a:solidFill>
                  <a:schemeClr val="tx1"/>
                </a:solidFill>
                <a:latin typeface="Arial" charset="0"/>
                <a:cs typeface="Arial" charset="0"/>
              </a:defRPr>
            </a:lvl7pPr>
            <a:lvl8pPr marL="3429000" indent="-228600" fontAlgn="base">
              <a:spcBef>
                <a:spcPct val="0"/>
              </a:spcBef>
              <a:spcAft>
                <a:spcPct val="0"/>
              </a:spcAft>
              <a:tabLst>
                <a:tab pos="261938" algn="l"/>
              </a:tabLst>
              <a:defRPr>
                <a:solidFill>
                  <a:schemeClr val="tx1"/>
                </a:solidFill>
                <a:latin typeface="Arial" charset="0"/>
                <a:cs typeface="Arial" charset="0"/>
              </a:defRPr>
            </a:lvl8pPr>
            <a:lvl9pPr marL="3886200" indent="-228600" fontAlgn="base">
              <a:spcBef>
                <a:spcPct val="0"/>
              </a:spcBef>
              <a:spcAft>
                <a:spcPct val="0"/>
              </a:spcAft>
              <a:tabLst>
                <a:tab pos="261938" algn="l"/>
              </a:tabLst>
              <a:defRPr>
                <a:solidFill>
                  <a:schemeClr val="tx1"/>
                </a:solidFill>
                <a:latin typeface="Arial" charset="0"/>
                <a:cs typeface="Arial" charset="0"/>
              </a:defRPr>
            </a:lvl9pPr>
          </a:lstStyle>
          <a:p>
            <a:pPr marL="270864" marR="0" lvl="0" indent="0" algn="l" defTabSz="917783" rtl="0" eaLnBrk="1" fontAlgn="base" latinLnBrk="0" hangingPunct="1">
              <a:lnSpc>
                <a:spcPct val="90000"/>
              </a:lnSpc>
              <a:spcBef>
                <a:spcPct val="0"/>
              </a:spcBef>
              <a:spcAft>
                <a:spcPct val="0"/>
              </a:spcAft>
              <a:buClr>
                <a:srgbClr val="F9A91C"/>
              </a:buClr>
              <a:buSzPct val="125000"/>
              <a:buFontTx/>
              <a:buNone/>
              <a:tabLst>
                <a:tab pos="262907" algn="l"/>
              </a:tabLst>
              <a:defRPr/>
            </a:pPr>
            <a:r>
              <a:rPr kumimoji="0" lang="tr-TR"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Arial" charset="0"/>
              </a:rPr>
              <a:t>DESTEK PROGRAMI SÜREÇLERİ</a:t>
            </a:r>
          </a:p>
        </p:txBody>
      </p:sp>
      <p:grpSp>
        <p:nvGrpSpPr>
          <p:cNvPr id="79" name="Rocket2"/>
          <p:cNvGrpSpPr>
            <a:grpSpLocks noChangeAspect="1"/>
          </p:cNvGrpSpPr>
          <p:nvPr>
            <p:custDataLst>
              <p:tags r:id="rId1"/>
            </p:custDataLst>
          </p:nvPr>
        </p:nvGrpSpPr>
        <p:grpSpPr bwMode="auto">
          <a:xfrm>
            <a:off x="2258860" y="2894153"/>
            <a:ext cx="549875" cy="544912"/>
            <a:chOff x="2506" y="943"/>
            <a:chExt cx="2548" cy="2525"/>
          </a:xfrm>
          <a:solidFill>
            <a:srgbClr val="1F497D"/>
          </a:solidFill>
        </p:grpSpPr>
        <p:sp>
          <p:nvSpPr>
            <p:cNvPr id="80" name="Freeform 619"/>
            <p:cNvSpPr>
              <a:spLocks/>
            </p:cNvSpPr>
            <p:nvPr/>
          </p:nvSpPr>
          <p:spPr bwMode="auto">
            <a:xfrm>
              <a:off x="2510" y="2410"/>
              <a:ext cx="1044" cy="1046"/>
            </a:xfrm>
            <a:custGeom>
              <a:avLst/>
              <a:gdLst>
                <a:gd name="T0" fmla="*/ 263 w 263"/>
                <a:gd name="T1" fmla="*/ 94 h 263"/>
                <a:gd name="T2" fmla="*/ 253 w 263"/>
                <a:gd name="T3" fmla="*/ 94 h 263"/>
                <a:gd name="T4" fmla="*/ 234 w 263"/>
                <a:gd name="T5" fmla="*/ 94 h 263"/>
                <a:gd name="T6" fmla="*/ 151 w 263"/>
                <a:gd name="T7" fmla="*/ 159 h 263"/>
                <a:gd name="T8" fmla="*/ 118 w 263"/>
                <a:gd name="T9" fmla="*/ 178 h 263"/>
                <a:gd name="T10" fmla="*/ 95 w 263"/>
                <a:gd name="T11" fmla="*/ 167 h 263"/>
                <a:gd name="T12" fmla="*/ 85 w 263"/>
                <a:gd name="T13" fmla="*/ 144 h 263"/>
                <a:gd name="T14" fmla="*/ 104 w 263"/>
                <a:gd name="T15" fmla="*/ 112 h 263"/>
                <a:gd name="T16" fmla="*/ 106 w 263"/>
                <a:gd name="T17" fmla="*/ 109 h 263"/>
                <a:gd name="T18" fmla="*/ 169 w 263"/>
                <a:gd name="T19" fmla="*/ 29 h 263"/>
                <a:gd name="T20" fmla="*/ 168 w 263"/>
                <a:gd name="T21" fmla="*/ 0 h 263"/>
                <a:gd name="T22" fmla="*/ 146 w 263"/>
                <a:gd name="T23" fmla="*/ 20 h 263"/>
                <a:gd name="T24" fmla="*/ 11 w 263"/>
                <a:gd name="T25" fmla="*/ 252 h 263"/>
                <a:gd name="T26" fmla="*/ 243 w 263"/>
                <a:gd name="T27" fmla="*/ 117 h 263"/>
                <a:gd name="T28" fmla="*/ 263 w 263"/>
                <a:gd name="T29" fmla="*/ 9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263">
                  <a:moveTo>
                    <a:pt x="263" y="94"/>
                  </a:moveTo>
                  <a:cubicBezTo>
                    <a:pt x="259" y="94"/>
                    <a:pt x="256" y="94"/>
                    <a:pt x="253" y="94"/>
                  </a:cubicBezTo>
                  <a:cubicBezTo>
                    <a:pt x="246" y="94"/>
                    <a:pt x="240" y="94"/>
                    <a:pt x="234" y="94"/>
                  </a:cubicBezTo>
                  <a:lnTo>
                    <a:pt x="151" y="159"/>
                  </a:lnTo>
                  <a:cubicBezTo>
                    <a:pt x="142" y="168"/>
                    <a:pt x="132" y="178"/>
                    <a:pt x="118" y="178"/>
                  </a:cubicBezTo>
                  <a:cubicBezTo>
                    <a:pt x="110" y="178"/>
                    <a:pt x="102" y="174"/>
                    <a:pt x="95" y="167"/>
                  </a:cubicBezTo>
                  <a:cubicBezTo>
                    <a:pt x="88" y="160"/>
                    <a:pt x="85" y="153"/>
                    <a:pt x="85" y="144"/>
                  </a:cubicBezTo>
                  <a:cubicBezTo>
                    <a:pt x="85" y="130"/>
                    <a:pt x="95" y="121"/>
                    <a:pt x="104" y="112"/>
                  </a:cubicBezTo>
                  <a:lnTo>
                    <a:pt x="106" y="109"/>
                  </a:lnTo>
                  <a:lnTo>
                    <a:pt x="169" y="29"/>
                  </a:lnTo>
                  <a:cubicBezTo>
                    <a:pt x="168" y="20"/>
                    <a:pt x="168" y="11"/>
                    <a:pt x="168" y="0"/>
                  </a:cubicBezTo>
                  <a:cubicBezTo>
                    <a:pt x="161" y="6"/>
                    <a:pt x="154" y="12"/>
                    <a:pt x="146" y="20"/>
                  </a:cubicBezTo>
                  <a:cubicBezTo>
                    <a:pt x="62" y="104"/>
                    <a:pt x="0" y="242"/>
                    <a:pt x="11" y="252"/>
                  </a:cubicBezTo>
                  <a:cubicBezTo>
                    <a:pt x="21" y="263"/>
                    <a:pt x="158" y="201"/>
                    <a:pt x="243" y="117"/>
                  </a:cubicBezTo>
                  <a:cubicBezTo>
                    <a:pt x="251" y="109"/>
                    <a:pt x="257" y="102"/>
                    <a:pt x="263" y="94"/>
                  </a:cubicBezTo>
                  <a:close/>
                </a:path>
              </a:pathLst>
            </a:custGeom>
            <a:grpFill/>
            <a:ln w="9525">
              <a:noFill/>
              <a:round/>
              <a:headEnd/>
              <a:tailEnd/>
            </a:ln>
            <a:extLst/>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81" name="Freeform 620"/>
            <p:cNvSpPr>
              <a:spLocks/>
            </p:cNvSpPr>
            <p:nvPr/>
          </p:nvSpPr>
          <p:spPr bwMode="auto">
            <a:xfrm>
              <a:off x="2994" y="2040"/>
              <a:ext cx="941" cy="931"/>
            </a:xfrm>
            <a:custGeom>
              <a:avLst/>
              <a:gdLst>
                <a:gd name="T0" fmla="*/ 0 w 237"/>
                <a:gd name="T1" fmla="*/ 234 h 234"/>
                <a:gd name="T2" fmla="*/ 5 w 237"/>
                <a:gd name="T3" fmla="*/ 228 h 234"/>
                <a:gd name="T4" fmla="*/ 10 w 237"/>
                <a:gd name="T5" fmla="*/ 224 h 234"/>
                <a:gd name="T6" fmla="*/ 221 w 237"/>
                <a:gd name="T7" fmla="*/ 60 h 234"/>
                <a:gd name="T8" fmla="*/ 232 w 237"/>
                <a:gd name="T9" fmla="*/ 1 h 234"/>
                <a:gd name="T10" fmla="*/ 223 w 237"/>
                <a:gd name="T11" fmla="*/ 0 h 234"/>
                <a:gd name="T12" fmla="*/ 174 w 237"/>
                <a:gd name="T13" fmla="*/ 13 h 234"/>
                <a:gd name="T14" fmla="*/ 5 w 237"/>
                <a:gd name="T15" fmla="*/ 228 h 234"/>
                <a:gd name="T16" fmla="*/ 0 w 237"/>
                <a:gd name="T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34">
                  <a:moveTo>
                    <a:pt x="0" y="234"/>
                  </a:moveTo>
                  <a:cubicBezTo>
                    <a:pt x="2" y="232"/>
                    <a:pt x="4" y="230"/>
                    <a:pt x="5" y="228"/>
                  </a:cubicBezTo>
                  <a:lnTo>
                    <a:pt x="10" y="224"/>
                  </a:lnTo>
                  <a:lnTo>
                    <a:pt x="221" y="60"/>
                  </a:lnTo>
                  <a:cubicBezTo>
                    <a:pt x="228" y="51"/>
                    <a:pt x="237" y="13"/>
                    <a:pt x="232" y="1"/>
                  </a:cubicBezTo>
                  <a:cubicBezTo>
                    <a:pt x="231" y="1"/>
                    <a:pt x="228" y="0"/>
                    <a:pt x="223" y="0"/>
                  </a:cubicBezTo>
                  <a:cubicBezTo>
                    <a:pt x="203" y="0"/>
                    <a:pt x="180" y="8"/>
                    <a:pt x="174" y="13"/>
                  </a:cubicBezTo>
                  <a:lnTo>
                    <a:pt x="5" y="228"/>
                  </a:lnTo>
                  <a:cubicBezTo>
                    <a:pt x="4" y="230"/>
                    <a:pt x="2" y="232"/>
                    <a:pt x="0" y="234"/>
                  </a:cubicBezTo>
                  <a:close/>
                </a:path>
              </a:pathLst>
            </a:custGeom>
            <a:grpFill/>
            <a:ln w="9525">
              <a:noFill/>
              <a:round/>
              <a:headEnd/>
              <a:tailEnd/>
            </a:ln>
            <a:extLst/>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82" name="Freeform 621"/>
            <p:cNvSpPr>
              <a:spLocks/>
            </p:cNvSpPr>
            <p:nvPr/>
          </p:nvSpPr>
          <p:spPr bwMode="auto">
            <a:xfrm>
              <a:off x="3359" y="2514"/>
              <a:ext cx="1100" cy="954"/>
            </a:xfrm>
            <a:custGeom>
              <a:avLst/>
              <a:gdLst>
                <a:gd name="T0" fmla="*/ 73 w 277"/>
                <a:gd name="T1" fmla="*/ 67 h 240"/>
                <a:gd name="T2" fmla="*/ 11 w 277"/>
                <a:gd name="T3" fmla="*/ 205 h 240"/>
                <a:gd name="T4" fmla="*/ 55 w 277"/>
                <a:gd name="T5" fmla="*/ 221 h 240"/>
                <a:gd name="T6" fmla="*/ 190 w 277"/>
                <a:gd name="T7" fmla="*/ 147 h 240"/>
                <a:gd name="T8" fmla="*/ 276 w 277"/>
                <a:gd name="T9" fmla="*/ 13 h 240"/>
                <a:gd name="T10" fmla="*/ 275 w 277"/>
                <a:gd name="T11" fmla="*/ 0 h 240"/>
                <a:gd name="T12" fmla="*/ 73 w 277"/>
                <a:gd name="T13" fmla="*/ 67 h 240"/>
              </a:gdLst>
              <a:ahLst/>
              <a:cxnLst>
                <a:cxn ang="0">
                  <a:pos x="T0" y="T1"/>
                </a:cxn>
                <a:cxn ang="0">
                  <a:pos x="T2" y="T3"/>
                </a:cxn>
                <a:cxn ang="0">
                  <a:pos x="T4" y="T5"/>
                </a:cxn>
                <a:cxn ang="0">
                  <a:pos x="T6" y="T7"/>
                </a:cxn>
                <a:cxn ang="0">
                  <a:pos x="T8" y="T9"/>
                </a:cxn>
                <a:cxn ang="0">
                  <a:pos x="T10" y="T11"/>
                </a:cxn>
                <a:cxn ang="0">
                  <a:pos x="T12" y="T13"/>
                </a:cxn>
              </a:cxnLst>
              <a:rect l="0" t="0" r="r" b="b"/>
              <a:pathLst>
                <a:path w="277" h="240">
                  <a:moveTo>
                    <a:pt x="73" y="67"/>
                  </a:moveTo>
                  <a:cubicBezTo>
                    <a:pt x="43" y="128"/>
                    <a:pt x="11" y="205"/>
                    <a:pt x="11" y="205"/>
                  </a:cubicBezTo>
                  <a:cubicBezTo>
                    <a:pt x="0" y="225"/>
                    <a:pt x="17" y="240"/>
                    <a:pt x="55" y="221"/>
                  </a:cubicBezTo>
                  <a:lnTo>
                    <a:pt x="190" y="147"/>
                  </a:lnTo>
                  <a:cubicBezTo>
                    <a:pt x="263" y="106"/>
                    <a:pt x="277" y="96"/>
                    <a:pt x="276" y="13"/>
                  </a:cubicBezTo>
                  <a:lnTo>
                    <a:pt x="275" y="0"/>
                  </a:lnTo>
                  <a:cubicBezTo>
                    <a:pt x="209" y="46"/>
                    <a:pt x="134" y="63"/>
                    <a:pt x="73" y="67"/>
                  </a:cubicBezTo>
                  <a:close/>
                </a:path>
              </a:pathLst>
            </a:custGeom>
            <a:grpFill/>
            <a:ln w="9525">
              <a:noFill/>
              <a:round/>
              <a:headEnd/>
              <a:tailEnd/>
            </a:ln>
            <a:extLst/>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83" name="Freeform 622"/>
            <p:cNvSpPr>
              <a:spLocks/>
            </p:cNvSpPr>
            <p:nvPr/>
          </p:nvSpPr>
          <p:spPr bwMode="auto">
            <a:xfrm>
              <a:off x="2506" y="1511"/>
              <a:ext cx="937" cy="1102"/>
            </a:xfrm>
            <a:custGeom>
              <a:avLst/>
              <a:gdLst>
                <a:gd name="T0" fmla="*/ 35 w 236"/>
                <a:gd name="T1" fmla="*/ 266 h 277"/>
                <a:gd name="T2" fmla="*/ 170 w 236"/>
                <a:gd name="T3" fmla="*/ 206 h 277"/>
                <a:gd name="T4" fmla="*/ 236 w 236"/>
                <a:gd name="T5" fmla="*/ 2 h 277"/>
                <a:gd name="T6" fmla="*/ 227 w 236"/>
                <a:gd name="T7" fmla="*/ 1 h 277"/>
                <a:gd name="T8" fmla="*/ 94 w 236"/>
                <a:gd name="T9" fmla="*/ 87 h 277"/>
                <a:gd name="T10" fmla="*/ 20 w 236"/>
                <a:gd name="T11" fmla="*/ 223 h 277"/>
                <a:gd name="T12" fmla="*/ 35 w 236"/>
                <a:gd name="T13" fmla="*/ 266 h 277"/>
              </a:gdLst>
              <a:ahLst/>
              <a:cxnLst>
                <a:cxn ang="0">
                  <a:pos x="T0" y="T1"/>
                </a:cxn>
                <a:cxn ang="0">
                  <a:pos x="T2" y="T3"/>
                </a:cxn>
                <a:cxn ang="0">
                  <a:pos x="T4" y="T5"/>
                </a:cxn>
                <a:cxn ang="0">
                  <a:pos x="T6" y="T7"/>
                </a:cxn>
                <a:cxn ang="0">
                  <a:pos x="T8" y="T9"/>
                </a:cxn>
                <a:cxn ang="0">
                  <a:pos x="T10" y="T11"/>
                </a:cxn>
                <a:cxn ang="0">
                  <a:pos x="T12" y="T13"/>
                </a:cxn>
              </a:cxnLst>
              <a:rect l="0" t="0" r="r" b="b"/>
              <a:pathLst>
                <a:path w="236" h="277">
                  <a:moveTo>
                    <a:pt x="35" y="266"/>
                  </a:moveTo>
                  <a:cubicBezTo>
                    <a:pt x="35" y="266"/>
                    <a:pt x="109" y="235"/>
                    <a:pt x="170" y="206"/>
                  </a:cubicBezTo>
                  <a:cubicBezTo>
                    <a:pt x="174" y="147"/>
                    <a:pt x="189" y="70"/>
                    <a:pt x="236" y="2"/>
                  </a:cubicBezTo>
                  <a:lnTo>
                    <a:pt x="227" y="1"/>
                  </a:lnTo>
                  <a:cubicBezTo>
                    <a:pt x="145" y="0"/>
                    <a:pt x="134" y="14"/>
                    <a:pt x="94" y="87"/>
                  </a:cubicBezTo>
                  <a:lnTo>
                    <a:pt x="20" y="223"/>
                  </a:lnTo>
                  <a:cubicBezTo>
                    <a:pt x="0" y="260"/>
                    <a:pt x="15" y="277"/>
                    <a:pt x="35" y="266"/>
                  </a:cubicBezTo>
                </a:path>
              </a:pathLst>
            </a:custGeom>
            <a:grpFill/>
            <a:ln w="9525">
              <a:noFill/>
              <a:round/>
              <a:headEnd/>
              <a:tailEnd/>
            </a:ln>
            <a:extLst/>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84" name="Freeform 623"/>
            <p:cNvSpPr>
              <a:spLocks noEditPoints="1"/>
            </p:cNvSpPr>
            <p:nvPr/>
          </p:nvSpPr>
          <p:spPr bwMode="auto">
            <a:xfrm>
              <a:off x="3316" y="943"/>
              <a:ext cx="1738" cy="1706"/>
            </a:xfrm>
            <a:custGeom>
              <a:avLst/>
              <a:gdLst>
                <a:gd name="T0" fmla="*/ 367 w 438"/>
                <a:gd name="T1" fmla="*/ 111 h 429"/>
                <a:gd name="T2" fmla="*/ 320 w 438"/>
                <a:gd name="T3" fmla="*/ 111 h 429"/>
                <a:gd name="T4" fmla="*/ 320 w 438"/>
                <a:gd name="T5" fmla="*/ 64 h 429"/>
                <a:gd name="T6" fmla="*/ 367 w 438"/>
                <a:gd name="T7" fmla="*/ 64 h 429"/>
                <a:gd name="T8" fmla="*/ 367 w 438"/>
                <a:gd name="T9" fmla="*/ 111 h 429"/>
                <a:gd name="T10" fmla="*/ 296 w 438"/>
                <a:gd name="T11" fmla="*/ 229 h 429"/>
                <a:gd name="T12" fmla="*/ 202 w 438"/>
                <a:gd name="T13" fmla="*/ 229 h 429"/>
                <a:gd name="T14" fmla="*/ 202 w 438"/>
                <a:gd name="T15" fmla="*/ 135 h 429"/>
                <a:gd name="T16" fmla="*/ 296 w 438"/>
                <a:gd name="T17" fmla="*/ 135 h 429"/>
                <a:gd name="T18" fmla="*/ 296 w 438"/>
                <a:gd name="T19" fmla="*/ 229 h 429"/>
                <a:gd name="T20" fmla="*/ 383 w 438"/>
                <a:gd name="T21" fmla="*/ 0 h 429"/>
                <a:gd name="T22" fmla="*/ 93 w 438"/>
                <a:gd name="T23" fmla="*/ 124 h 429"/>
                <a:gd name="T24" fmla="*/ 0 w 438"/>
                <a:gd name="T25" fmla="*/ 354 h 429"/>
                <a:gd name="T26" fmla="*/ 69 w 438"/>
                <a:gd name="T27" fmla="*/ 265 h 429"/>
                <a:gd name="T28" fmla="*/ 142 w 438"/>
                <a:gd name="T29" fmla="*/ 243 h 429"/>
                <a:gd name="T30" fmla="*/ 175 w 438"/>
                <a:gd name="T31" fmla="*/ 254 h 429"/>
                <a:gd name="T32" fmla="*/ 163 w 438"/>
                <a:gd name="T33" fmla="*/ 360 h 429"/>
                <a:gd name="T34" fmla="*/ 162 w 438"/>
                <a:gd name="T35" fmla="*/ 361 h 429"/>
                <a:gd name="T36" fmla="*/ 74 w 438"/>
                <a:gd name="T37" fmla="*/ 429 h 429"/>
                <a:gd name="T38" fmla="*/ 304 w 438"/>
                <a:gd name="T39" fmla="*/ 336 h 429"/>
                <a:gd name="T40" fmla="*/ 422 w 438"/>
                <a:gd name="T41" fmla="*/ 6 h 429"/>
                <a:gd name="T42" fmla="*/ 383 w 438"/>
                <a:gd name="T43"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8" h="429">
                  <a:moveTo>
                    <a:pt x="367" y="111"/>
                  </a:moveTo>
                  <a:cubicBezTo>
                    <a:pt x="354" y="124"/>
                    <a:pt x="333" y="124"/>
                    <a:pt x="320" y="111"/>
                  </a:cubicBezTo>
                  <a:cubicBezTo>
                    <a:pt x="307" y="98"/>
                    <a:pt x="307" y="77"/>
                    <a:pt x="320" y="64"/>
                  </a:cubicBezTo>
                  <a:cubicBezTo>
                    <a:pt x="333" y="51"/>
                    <a:pt x="354" y="51"/>
                    <a:pt x="367" y="64"/>
                  </a:cubicBezTo>
                  <a:cubicBezTo>
                    <a:pt x="380" y="77"/>
                    <a:pt x="380" y="98"/>
                    <a:pt x="367" y="111"/>
                  </a:cubicBezTo>
                  <a:close/>
                  <a:moveTo>
                    <a:pt x="296" y="229"/>
                  </a:moveTo>
                  <a:cubicBezTo>
                    <a:pt x="270" y="255"/>
                    <a:pt x="228" y="255"/>
                    <a:pt x="202" y="229"/>
                  </a:cubicBezTo>
                  <a:cubicBezTo>
                    <a:pt x="176" y="203"/>
                    <a:pt x="176" y="161"/>
                    <a:pt x="202" y="135"/>
                  </a:cubicBezTo>
                  <a:cubicBezTo>
                    <a:pt x="228" y="109"/>
                    <a:pt x="270" y="109"/>
                    <a:pt x="296" y="135"/>
                  </a:cubicBezTo>
                  <a:cubicBezTo>
                    <a:pt x="322" y="161"/>
                    <a:pt x="322" y="203"/>
                    <a:pt x="296" y="229"/>
                  </a:cubicBezTo>
                  <a:close/>
                  <a:moveTo>
                    <a:pt x="383" y="0"/>
                  </a:moveTo>
                  <a:cubicBezTo>
                    <a:pt x="303" y="0"/>
                    <a:pt x="178" y="39"/>
                    <a:pt x="93" y="124"/>
                  </a:cubicBezTo>
                  <a:cubicBezTo>
                    <a:pt x="22" y="195"/>
                    <a:pt x="3" y="288"/>
                    <a:pt x="0" y="354"/>
                  </a:cubicBezTo>
                  <a:lnTo>
                    <a:pt x="69" y="265"/>
                  </a:lnTo>
                  <a:cubicBezTo>
                    <a:pt x="82" y="252"/>
                    <a:pt x="117" y="243"/>
                    <a:pt x="142" y="243"/>
                  </a:cubicBezTo>
                  <a:cubicBezTo>
                    <a:pt x="157" y="243"/>
                    <a:pt x="168" y="247"/>
                    <a:pt x="175" y="254"/>
                  </a:cubicBezTo>
                  <a:cubicBezTo>
                    <a:pt x="197" y="276"/>
                    <a:pt x="180" y="343"/>
                    <a:pt x="163" y="360"/>
                  </a:cubicBezTo>
                  <a:lnTo>
                    <a:pt x="162" y="361"/>
                  </a:lnTo>
                  <a:lnTo>
                    <a:pt x="74" y="429"/>
                  </a:lnTo>
                  <a:cubicBezTo>
                    <a:pt x="145" y="426"/>
                    <a:pt x="235" y="405"/>
                    <a:pt x="304" y="336"/>
                  </a:cubicBezTo>
                  <a:cubicBezTo>
                    <a:pt x="431" y="210"/>
                    <a:pt x="438" y="26"/>
                    <a:pt x="422" y="6"/>
                  </a:cubicBezTo>
                  <a:cubicBezTo>
                    <a:pt x="421" y="5"/>
                    <a:pt x="410" y="0"/>
                    <a:pt x="383" y="0"/>
                  </a:cubicBezTo>
                </a:path>
              </a:pathLst>
            </a:custGeom>
            <a:grpFill/>
            <a:ln w="9525">
              <a:noFill/>
              <a:round/>
              <a:headEnd/>
              <a:tailEnd/>
            </a:ln>
            <a:extLst/>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grpSp>
      <p:sp>
        <p:nvSpPr>
          <p:cNvPr id="85" name="TextBox 162"/>
          <p:cNvSpPr txBox="1"/>
          <p:nvPr/>
        </p:nvSpPr>
        <p:spPr>
          <a:xfrm>
            <a:off x="7357072" y="4018582"/>
            <a:ext cx="2346396" cy="339452"/>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   Nihai Karar</a:t>
            </a:r>
            <a:endPar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86" name="POWER_USER_ID_ICONS_Gavel"/>
          <p:cNvSpPr>
            <a:spLocks noChangeArrowheads="1"/>
          </p:cNvSpPr>
          <p:nvPr>
            <p:custDataLst>
              <p:tags r:id="rId2"/>
            </p:custDataLst>
          </p:nvPr>
        </p:nvSpPr>
        <p:spPr bwMode="auto">
          <a:xfrm>
            <a:off x="8431337" y="3323227"/>
            <a:ext cx="310827" cy="20869"/>
          </a:xfrm>
          <a:prstGeom prst="rect">
            <a:avLst/>
          </a:prstGeom>
          <a:solidFill>
            <a:schemeClr val="tx2"/>
          </a:solidFill>
          <a:ln w="9525">
            <a:noFill/>
            <a:miter lim="800000"/>
            <a:headEnd/>
            <a:tailEnd/>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87" name="POWER_USER_ID_ICONS_Gavel"/>
          <p:cNvSpPr>
            <a:spLocks/>
          </p:cNvSpPr>
          <p:nvPr>
            <p:custDataLst>
              <p:tags r:id="rId3"/>
            </p:custDataLst>
          </p:nvPr>
        </p:nvSpPr>
        <p:spPr bwMode="auto">
          <a:xfrm>
            <a:off x="8470651" y="3116991"/>
            <a:ext cx="117942" cy="112029"/>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solidFill>
            <a:schemeClr val="tx2"/>
          </a:solidFill>
          <a:ln w="9525">
            <a:noFill/>
            <a:round/>
            <a:headEnd/>
            <a:tailEnd/>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88" name="POWER_USER_ID_ICONS_Gavel"/>
          <p:cNvSpPr>
            <a:spLocks/>
          </p:cNvSpPr>
          <p:nvPr>
            <p:custDataLst>
              <p:tags r:id="rId4"/>
            </p:custDataLst>
          </p:nvPr>
        </p:nvSpPr>
        <p:spPr bwMode="auto">
          <a:xfrm>
            <a:off x="8188082" y="3180694"/>
            <a:ext cx="307141" cy="160356"/>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solidFill>
            <a:schemeClr val="tx2"/>
          </a:solidFill>
          <a:ln w="9525">
            <a:noFill/>
            <a:round/>
            <a:headEnd/>
            <a:tailEnd/>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89" name="POWER_USER_ID_ICONS_Gavel"/>
          <p:cNvSpPr>
            <a:spLocks/>
          </p:cNvSpPr>
          <p:nvPr>
            <p:custDataLst>
              <p:tags r:id="rId5"/>
            </p:custDataLst>
          </p:nvPr>
        </p:nvSpPr>
        <p:spPr bwMode="auto">
          <a:xfrm>
            <a:off x="8472878" y="3172699"/>
            <a:ext cx="179370" cy="127406"/>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solidFill>
            <a:schemeClr val="tx2"/>
          </a:solidFill>
          <a:ln w="9525">
            <a:noFill/>
            <a:round/>
            <a:headEnd/>
            <a:tailEnd/>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90" name="POWER_USER_ID_ICONS_Gavel"/>
          <p:cNvSpPr>
            <a:spLocks/>
          </p:cNvSpPr>
          <p:nvPr>
            <p:custDataLst>
              <p:tags r:id="rId6"/>
            </p:custDataLst>
          </p:nvPr>
        </p:nvSpPr>
        <p:spPr bwMode="auto">
          <a:xfrm>
            <a:off x="8481941" y="3275035"/>
            <a:ext cx="225280" cy="104094"/>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solidFill>
            <a:schemeClr val="tx2"/>
          </a:solidFill>
          <a:ln w="9525">
            <a:noFill/>
            <a:round/>
            <a:headEnd/>
            <a:tailEnd/>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91" name="POWER_USER_ID_ICONS_Gavel"/>
          <p:cNvSpPr>
            <a:spLocks/>
          </p:cNvSpPr>
          <p:nvPr>
            <p:custDataLst>
              <p:tags r:id="rId7"/>
            </p:custDataLst>
          </p:nvPr>
        </p:nvSpPr>
        <p:spPr bwMode="auto">
          <a:xfrm>
            <a:off x="8388209" y="3020296"/>
            <a:ext cx="179370" cy="127406"/>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solidFill>
            <a:schemeClr val="tx2"/>
          </a:solidFill>
          <a:ln w="9525">
            <a:noFill/>
            <a:round/>
            <a:headEnd/>
            <a:tailEnd/>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nvGrpSpPr>
          <p:cNvPr id="92" name="Clipboard3"/>
          <p:cNvGrpSpPr>
            <a:grpSpLocks noChangeAspect="1"/>
          </p:cNvGrpSpPr>
          <p:nvPr>
            <p:custDataLst>
              <p:tags r:id="rId8"/>
            </p:custDataLst>
          </p:nvPr>
        </p:nvGrpSpPr>
        <p:grpSpPr bwMode="auto">
          <a:xfrm>
            <a:off x="8354064" y="1014251"/>
            <a:ext cx="408370" cy="544912"/>
            <a:chOff x="63" y="9"/>
            <a:chExt cx="326" cy="435"/>
          </a:xfrm>
          <a:solidFill>
            <a:srgbClr val="1F497D"/>
          </a:solidFill>
        </p:grpSpPr>
        <p:sp>
          <p:nvSpPr>
            <p:cNvPr id="93" name="Clipboard3"/>
            <p:cNvSpPr>
              <a:spLocks noEditPoints="1"/>
            </p:cNvSpPr>
            <p:nvPr>
              <p:custDataLst>
                <p:tags r:id="rId9"/>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grpFill/>
            <a:ln w="0">
              <a:solidFill>
                <a:schemeClr val="accent1"/>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94" name="Clipboard3"/>
            <p:cNvSpPr>
              <a:spLocks/>
            </p:cNvSpPr>
            <p:nvPr>
              <p:custDataLst>
                <p:tags r:id="rId10"/>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chemeClr val="accent1"/>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95" name="Clipboard3"/>
            <p:cNvSpPr>
              <a:spLocks/>
            </p:cNvSpPr>
            <p:nvPr>
              <p:custDataLst>
                <p:tags r:id="rId11"/>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chemeClr val="accent1"/>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96" name="Clipboard3"/>
            <p:cNvSpPr>
              <a:spLocks/>
            </p:cNvSpPr>
            <p:nvPr>
              <p:custDataLst>
                <p:tags r:id="rId12"/>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chemeClr val="accent1"/>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grpSp>
      <p:sp>
        <p:nvSpPr>
          <p:cNvPr id="97" name="TextBox 91"/>
          <p:cNvSpPr txBox="1"/>
          <p:nvPr/>
        </p:nvSpPr>
        <p:spPr>
          <a:xfrm>
            <a:off x="-75790" y="1895167"/>
            <a:ext cx="1417376" cy="401200"/>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Ön Başvuru</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1179235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Resim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8717548" cy="4741817"/>
          </a:xfrm>
          <a:prstGeom prst="rect">
            <a:avLst/>
          </a:prstGeom>
        </p:spPr>
      </p:pic>
      <p:sp>
        <p:nvSpPr>
          <p:cNvPr id="4" name="Dikdörtgen 3"/>
          <p:cNvSpPr/>
          <p:nvPr/>
        </p:nvSpPr>
        <p:spPr>
          <a:xfrm>
            <a:off x="4231532" y="3842426"/>
            <a:ext cx="7960468" cy="3015574"/>
          </a:xfrm>
          <a:prstGeom prst="rect">
            <a:avLst/>
          </a:prstGeom>
          <a:solidFill>
            <a:schemeClr val="tx2">
              <a:lumMod val="50000"/>
              <a:alpha val="9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0" b="0" i="0" u="none" strike="noStrike" kern="1200" cap="none" spc="0" normalizeH="0" baseline="0" noProof="0" dirty="0">
              <a:ln>
                <a:noFill/>
              </a:ln>
              <a:solidFill>
                <a:srgbClr val="F6F8F8"/>
              </a:solidFill>
              <a:effectLst/>
              <a:uLnTx/>
              <a:uFillTx/>
              <a:latin typeface="Roboto Light"/>
              <a:ea typeface="+mn-ea"/>
              <a:cs typeface="+mn-cs"/>
            </a:endParaRPr>
          </a:p>
        </p:txBody>
      </p:sp>
      <p:sp>
        <p:nvSpPr>
          <p:cNvPr id="5" name="Dikdörtgen 4"/>
          <p:cNvSpPr/>
          <p:nvPr/>
        </p:nvSpPr>
        <p:spPr>
          <a:xfrm>
            <a:off x="4989315" y="4526719"/>
            <a:ext cx="6444902" cy="144655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4400" b="1" i="0" u="none" strike="noStrike" kern="1200" cap="none" spc="0" normalizeH="0" baseline="0" noProof="0" dirty="0" smtClean="0">
                <a:ln>
                  <a:noFill/>
                </a:ln>
                <a:solidFill>
                  <a:srgbClr val="F6F8F8"/>
                </a:solidFill>
                <a:effectLst/>
                <a:uLnTx/>
                <a:uFillTx/>
                <a:latin typeface="Roboto Black"/>
                <a:ea typeface="+mn-ea"/>
                <a:cs typeface="Times New Roman" panose="02020603050405020304" pitchFamily="18" charset="0"/>
              </a:rPr>
              <a:t>KOBİ TEKNOYATIRIM</a:t>
            </a:r>
            <a:r>
              <a:rPr kumimoji="0" lang="sv-SE" sz="4400" b="1" i="0" u="none" strike="noStrike" kern="1200" cap="none" spc="0" normalizeH="0" baseline="0" noProof="0" dirty="0" smtClean="0">
                <a:ln>
                  <a:noFill/>
                </a:ln>
                <a:solidFill>
                  <a:srgbClr val="F6F8F8"/>
                </a:solidFill>
                <a:effectLst/>
                <a:uLnTx/>
                <a:uFillTx/>
                <a:latin typeface="Roboto Black"/>
                <a:ea typeface="+mn-ea"/>
                <a:cs typeface="Times New Roman" panose="02020603050405020304" pitchFamily="18" charset="0"/>
              </a:rPr>
              <a:t> </a:t>
            </a:r>
            <a:r>
              <a:rPr kumimoji="0" lang="sv-SE" sz="4400" b="1" i="0" u="none" strike="noStrike" kern="1200" cap="none" spc="0" normalizeH="0" baseline="0" noProof="0" dirty="0">
                <a:ln>
                  <a:noFill/>
                </a:ln>
                <a:solidFill>
                  <a:srgbClr val="F6F8F8"/>
                </a:solidFill>
                <a:effectLst/>
                <a:uLnTx/>
                <a:uFillTx/>
                <a:latin typeface="Roboto Black"/>
                <a:ea typeface="+mn-ea"/>
                <a:cs typeface="Times New Roman" panose="02020603050405020304" pitchFamily="18" charset="0"/>
              </a:rPr>
              <a:t>DESTEK PROGRAMI</a:t>
            </a:r>
          </a:p>
        </p:txBody>
      </p:sp>
      <p:pic>
        <p:nvPicPr>
          <p:cNvPr id="7" name="Picture 3"/>
          <p:cNvPicPr>
            <a:picLocks noChangeAspect="1" noChangeArrowheads="1"/>
          </p:cNvPicPr>
          <p:nvPr/>
        </p:nvPicPr>
        <p:blipFill>
          <a:blip r:embed="rId4" cstate="print"/>
          <a:srcRect/>
          <a:stretch>
            <a:fillRect/>
          </a:stretch>
        </p:blipFill>
        <p:spPr bwMode="auto">
          <a:xfrm>
            <a:off x="10938190" y="332996"/>
            <a:ext cx="960106" cy="677217"/>
          </a:xfrm>
          <a:prstGeom prst="rect">
            <a:avLst/>
          </a:prstGeom>
          <a:noFill/>
          <a:ln w="9525">
            <a:noFill/>
            <a:miter lim="800000"/>
            <a:headEnd/>
            <a:tailEnd/>
          </a:ln>
        </p:spPr>
      </p:pic>
      <p:sp>
        <p:nvSpPr>
          <p:cNvPr id="3" name="Slayt Numarası Yer Tutucusu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17BAC-AD27-4367-93BC-03BF7B01E6B3}" type="slidenum">
              <a:rPr kumimoji="0" lang="en-US" sz="1200" b="0" i="0" u="none" strike="noStrike" kern="1200" cap="none" spc="0" normalizeH="0" baseline="0" noProof="0" smtClean="0">
                <a:ln>
                  <a:noFill/>
                </a:ln>
                <a:solidFill>
                  <a:srgbClr val="445469">
                    <a:tint val="75000"/>
                  </a:srgb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Tree>
    <p:extLst>
      <p:ext uri="{BB962C8B-B14F-4D97-AF65-F5344CB8AC3E}">
        <p14:creationId xmlns:p14="http://schemas.microsoft.com/office/powerpoint/2010/main" val="27060495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5 Metin kutusu"/>
          <p:cNvSpPr txBox="1"/>
          <p:nvPr/>
        </p:nvSpPr>
        <p:spPr>
          <a:xfrm>
            <a:off x="1784848" y="963083"/>
            <a:ext cx="3298275" cy="46307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9" b="1" i="0" u="none" strike="noStrike" kern="1200" cap="none" spc="0" normalizeH="0" baseline="0" noProof="0" dirty="0">
                <a:ln>
                  <a:noFill/>
                </a:ln>
                <a:solidFill>
                  <a:srgbClr val="51C3CA">
                    <a:lumMod val="75000"/>
                  </a:srgbClr>
                </a:solidFill>
                <a:effectLst/>
                <a:uLnTx/>
                <a:uFillTx/>
                <a:latin typeface="Roboto Black"/>
                <a:ea typeface="ヒラギノ角ゴ Pro W3" pitchFamily="1" charset="-128"/>
                <a:cs typeface="Times New Roman" panose="02020603050405020304" pitchFamily="18" charset="0"/>
              </a:rPr>
              <a:t>PROGRAMIN AMACI</a:t>
            </a:r>
          </a:p>
        </p:txBody>
      </p:sp>
      <p:pic>
        <p:nvPicPr>
          <p:cNvPr id="15" name="Picture 3"/>
          <p:cNvPicPr>
            <a:picLocks noChangeAspect="1" noChangeArrowheads="1"/>
          </p:cNvPicPr>
          <p:nvPr/>
        </p:nvPicPr>
        <p:blipFill>
          <a:blip r:embed="rId3" cstate="print"/>
          <a:srcRect/>
          <a:stretch>
            <a:fillRect/>
          </a:stretch>
        </p:blipFill>
        <p:spPr bwMode="auto">
          <a:xfrm>
            <a:off x="10938190" y="332996"/>
            <a:ext cx="960106" cy="677217"/>
          </a:xfrm>
          <a:prstGeom prst="rect">
            <a:avLst/>
          </a:prstGeom>
          <a:noFill/>
          <a:ln w="9525">
            <a:noFill/>
            <a:miter lim="800000"/>
            <a:headEnd/>
            <a:tailEnd/>
          </a:ln>
        </p:spPr>
      </p:pic>
      <p:sp>
        <p:nvSpPr>
          <p:cNvPr id="12" name="4 Metin kutusu"/>
          <p:cNvSpPr txBox="1"/>
          <p:nvPr/>
        </p:nvSpPr>
        <p:spPr>
          <a:xfrm>
            <a:off x="1784848" y="440771"/>
            <a:ext cx="10849205"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0" b="1" i="0" u="none" strike="noStrike" kern="1200" cap="none" spc="0" normalizeH="0" baseline="0" noProof="0" dirty="0">
                <a:ln>
                  <a:noFill/>
                </a:ln>
                <a:solidFill>
                  <a:srgbClr val="445469"/>
                </a:solidFill>
                <a:effectLst/>
                <a:uLnTx/>
                <a:uFillTx/>
                <a:latin typeface="Roboto Black"/>
                <a:ea typeface="ヒラギノ角ゴ Pro W3" pitchFamily="1" charset="-128"/>
                <a:cs typeface="Times New Roman" panose="02020603050405020304" pitchFamily="18" charset="0"/>
              </a:rPr>
              <a:t>KOBİ TEKNOYATIRIM DESTEK PROGRAMI</a:t>
            </a:r>
          </a:p>
        </p:txBody>
      </p:sp>
      <p:sp>
        <p:nvSpPr>
          <p:cNvPr id="3" name="Slayt Numarası Yer Tutucusu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17BAC-AD27-4367-93BC-03BF7B01E6B3}" type="slidenum">
              <a:rPr kumimoji="0" lang="en-US" sz="1200" b="0" i="0" u="none" strike="noStrike" kern="1200" cap="none" spc="0" normalizeH="0" baseline="0" noProof="0" smtClean="0">
                <a:ln>
                  <a:noFill/>
                </a:ln>
                <a:solidFill>
                  <a:srgbClr val="445469">
                    <a:tint val="75000"/>
                  </a:srgbClr>
                </a:solidFill>
                <a:effectLst/>
                <a:uLnTx/>
                <a:uFillTx/>
                <a:latin typeface="Roboto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srgbClr val="445469">
                  <a:tint val="75000"/>
                </a:srgbClr>
              </a:solidFill>
              <a:effectLst/>
              <a:uLnTx/>
              <a:uFillTx/>
              <a:latin typeface="Roboto Black"/>
              <a:ea typeface="+mn-ea"/>
              <a:cs typeface="+mn-cs"/>
            </a:endParaRPr>
          </a:p>
        </p:txBody>
      </p:sp>
      <p:graphicFrame>
        <p:nvGraphicFramePr>
          <p:cNvPr id="8" name="Diyagram 7">
            <a:extLst>
              <a:ext uri="{FF2B5EF4-FFF2-40B4-BE49-F238E27FC236}">
                <a16:creationId xmlns:a16="http://schemas.microsoft.com/office/drawing/2014/main" id="{A2078A89-3B2C-40A1-A6E9-17E711D2F647}"/>
              </a:ext>
            </a:extLst>
          </p:cNvPr>
          <p:cNvGraphicFramePr/>
          <p:nvPr>
            <p:extLst/>
          </p:nvPr>
        </p:nvGraphicFramePr>
        <p:xfrm>
          <a:off x="-238597" y="1851770"/>
          <a:ext cx="7874810" cy="44449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6" name="Metin kutusu 15">
            <a:extLst>
              <a:ext uri="{FF2B5EF4-FFF2-40B4-BE49-F238E27FC236}">
                <a16:creationId xmlns:a16="http://schemas.microsoft.com/office/drawing/2014/main" id="{0BBFBC36-AC56-4B7F-83AB-7D4E3827574A}"/>
              </a:ext>
            </a:extLst>
          </p:cNvPr>
          <p:cNvSpPr txBox="1"/>
          <p:nvPr/>
        </p:nvSpPr>
        <p:spPr>
          <a:xfrm>
            <a:off x="7091464" y="3595006"/>
            <a:ext cx="5204297"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800" b="1" i="0" u="none" strike="noStrike" kern="1200" cap="none" spc="0" normalizeH="0" baseline="0" noProof="0" dirty="0">
                <a:ln>
                  <a:noFill/>
                </a:ln>
                <a:solidFill>
                  <a:srgbClr val="445469"/>
                </a:solidFill>
                <a:effectLst/>
                <a:uLnTx/>
                <a:uFillTx/>
                <a:latin typeface="Roboto Black"/>
                <a:ea typeface="+mn-ea"/>
                <a:cs typeface="+mn-cs"/>
              </a:rPr>
              <a:t>Üretim ve Ticarileştirilmesine İlişkin Yatırımların Desteklenmesi</a:t>
            </a:r>
            <a:endParaRPr kumimoji="0" lang="tr-TR" sz="2800" b="0" i="0" u="none" strike="noStrike" kern="1200" cap="none" spc="0" normalizeH="0" baseline="0" noProof="0" dirty="0">
              <a:ln>
                <a:noFill/>
              </a:ln>
              <a:solidFill>
                <a:srgbClr val="445469"/>
              </a:solidFill>
              <a:effectLst/>
              <a:uLnTx/>
              <a:uFillTx/>
              <a:latin typeface="Roboto Black"/>
              <a:ea typeface="+mn-ea"/>
              <a:cs typeface="+mn-cs"/>
            </a:endParaRPr>
          </a:p>
        </p:txBody>
      </p:sp>
      <p:pic>
        <p:nvPicPr>
          <p:cNvPr id="17" name="Grafik 16" descr="Hedef Merkezi">
            <a:extLst>
              <a:ext uri="{FF2B5EF4-FFF2-40B4-BE49-F238E27FC236}">
                <a16:creationId xmlns:a16="http://schemas.microsoft.com/office/drawing/2014/main" id="{AF09622B-B564-4999-A675-5432055F772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7091464" y="2746026"/>
            <a:ext cx="914400" cy="914400"/>
          </a:xfrm>
          <a:prstGeom prst="rect">
            <a:avLst/>
          </a:prstGeom>
        </p:spPr>
      </p:pic>
      <p:pic>
        <p:nvPicPr>
          <p:cNvPr id="19" name="Resim 18">
            <a:extLst>
              <a:ext uri="{FF2B5EF4-FFF2-40B4-BE49-F238E27FC236}">
                <a16:creationId xmlns:a16="http://schemas.microsoft.com/office/drawing/2014/main" id="{6FDE5E03-9979-4A96-B1A5-6EFB5EE92BF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46776" y="260382"/>
            <a:ext cx="1204630" cy="702701"/>
          </a:xfrm>
          <a:prstGeom prst="rect">
            <a:avLst/>
          </a:prstGeom>
        </p:spPr>
      </p:pic>
    </p:spTree>
    <p:extLst>
      <p:ext uri="{BB962C8B-B14F-4D97-AF65-F5344CB8AC3E}">
        <p14:creationId xmlns:p14="http://schemas.microsoft.com/office/powerpoint/2010/main" val="1074224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ayt Numarası Yer Tutucusu 5"/>
          <p:cNvSpPr txBox="1">
            <a:spLocks/>
          </p:cNvSpPr>
          <p:nvPr/>
        </p:nvSpPr>
        <p:spPr>
          <a:xfrm>
            <a:off x="2219480" y="7355187"/>
            <a:ext cx="1075483" cy="571466"/>
          </a:xfrm>
          <a:prstGeom prst="rect">
            <a:avLst/>
          </a:prstGeom>
          <a:noFill/>
          <a:ln>
            <a:miter lim="800000"/>
            <a:headEnd/>
            <a:tailEnd/>
          </a:ln>
        </p:spPr>
        <p:txBody>
          <a:bodyPr anchor="ctr"/>
          <a:lstStyle/>
          <a:p>
            <a:pPr marL="0" marR="0" lvl="0" indent="0" algn="r" defTabSz="917783" rtl="0" eaLnBrk="1" fontAlgn="auto" latinLnBrk="0" hangingPunct="1">
              <a:lnSpc>
                <a:spcPct val="100000"/>
              </a:lnSpc>
              <a:spcBef>
                <a:spcPts val="0"/>
              </a:spcBef>
              <a:spcAft>
                <a:spcPts val="0"/>
              </a:spcAft>
              <a:buClrTx/>
              <a:buSzTx/>
              <a:buFontTx/>
              <a:buNone/>
              <a:tabLst/>
              <a:defRPr/>
            </a:pPr>
            <a:fld id="{E3B29AA5-3A34-4A67-9DD6-75C837EE9A54}" type="slidenum">
              <a:rPr kumimoji="0" lang="tr-TR" sz="1204" b="0" i="0" u="none" strike="noStrike" kern="1200" cap="none" spc="0" normalizeH="0" baseline="0" noProof="0">
                <a:ln>
                  <a:noFill/>
                </a:ln>
                <a:solidFill>
                  <a:prstClr val="black">
                    <a:tint val="75000"/>
                  </a:prstClr>
                </a:solidFill>
                <a:effectLst/>
                <a:uLnTx/>
                <a:uFillTx/>
                <a:latin typeface="Roboto Black"/>
                <a:ea typeface="ヒラギノ角ゴ Pro W3" pitchFamily="1" charset="-128"/>
                <a:cs typeface="+mn-cs"/>
              </a:rPr>
              <a:pPr marL="0" marR="0" lvl="0" indent="0" algn="r" defTabSz="917783" rtl="0" eaLnBrk="1" fontAlgn="auto" latinLnBrk="0" hangingPunct="1">
                <a:lnSpc>
                  <a:spcPct val="100000"/>
                </a:lnSpc>
                <a:spcBef>
                  <a:spcPts val="0"/>
                </a:spcBef>
                <a:spcAft>
                  <a:spcPts val="0"/>
                </a:spcAft>
                <a:buClrTx/>
                <a:buSzTx/>
                <a:buFontTx/>
                <a:buNone/>
                <a:tabLst/>
                <a:defRPr/>
              </a:pPr>
              <a:t>37</a:t>
            </a:fld>
            <a:endParaRPr kumimoji="0" lang="tr-TR" sz="1204" b="0" i="0" u="none" strike="noStrike" kern="1200" cap="none" spc="0" normalizeH="0" baseline="0" noProof="0" dirty="0">
              <a:ln>
                <a:noFill/>
              </a:ln>
              <a:solidFill>
                <a:prstClr val="black">
                  <a:tint val="75000"/>
                </a:prstClr>
              </a:solidFill>
              <a:effectLst/>
              <a:uLnTx/>
              <a:uFillTx/>
              <a:latin typeface="Roboto Black"/>
              <a:ea typeface="ヒラギノ角ゴ Pro W3" pitchFamily="1" charset="-128"/>
              <a:cs typeface="+mn-cs"/>
            </a:endParaRPr>
          </a:p>
        </p:txBody>
      </p:sp>
      <p:pic>
        <p:nvPicPr>
          <p:cNvPr id="8" name="Picture 3"/>
          <p:cNvPicPr>
            <a:picLocks noChangeAspect="1" noChangeArrowheads="1"/>
          </p:cNvPicPr>
          <p:nvPr/>
        </p:nvPicPr>
        <p:blipFill>
          <a:blip r:embed="rId3" cstate="print"/>
          <a:srcRect/>
          <a:stretch>
            <a:fillRect/>
          </a:stretch>
        </p:blipFill>
        <p:spPr bwMode="auto">
          <a:xfrm>
            <a:off x="11299547" y="130154"/>
            <a:ext cx="722715" cy="509772"/>
          </a:xfrm>
          <a:prstGeom prst="rect">
            <a:avLst/>
          </a:prstGeom>
          <a:noFill/>
          <a:ln w="9525">
            <a:noFill/>
            <a:miter lim="800000"/>
            <a:headEnd/>
            <a:tailEnd/>
          </a:ln>
        </p:spPr>
      </p:pic>
      <p:sp>
        <p:nvSpPr>
          <p:cNvPr id="12" name="5 Metin kutusu"/>
          <p:cNvSpPr txBox="1"/>
          <p:nvPr/>
        </p:nvSpPr>
        <p:spPr>
          <a:xfrm>
            <a:off x="1831603" y="824713"/>
            <a:ext cx="3308919" cy="43088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200" b="1" i="0" u="none" strike="noStrike" kern="1200" cap="none" spc="0" normalizeH="0" baseline="0" noProof="0" dirty="0">
                <a:ln>
                  <a:noFill/>
                </a:ln>
                <a:solidFill>
                  <a:srgbClr val="51C3CA">
                    <a:lumMod val="75000"/>
                  </a:srgbClr>
                </a:solidFill>
                <a:effectLst/>
                <a:uLnTx/>
                <a:uFillTx/>
                <a:latin typeface="Roboto Black"/>
                <a:ea typeface="ヒラギノ角ゴ Pro W3" pitchFamily="1" charset="-128"/>
                <a:cs typeface="Times New Roman" panose="02020603050405020304" pitchFamily="18" charset="0"/>
              </a:rPr>
              <a:t>BAŞVURU KOŞULLARI</a:t>
            </a:r>
          </a:p>
        </p:txBody>
      </p:sp>
      <p:sp>
        <p:nvSpPr>
          <p:cNvPr id="4" name="Slayt Numarası Yer Tutucusu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17BAC-AD27-4367-93BC-03BF7B01E6B3}" type="slidenum">
              <a:rPr kumimoji="0" lang="en-US" sz="1200" b="0" i="0" u="none" strike="noStrike" kern="1200" cap="none" spc="0" normalizeH="0" baseline="0" noProof="0" smtClean="0">
                <a:ln>
                  <a:noFill/>
                </a:ln>
                <a:solidFill>
                  <a:srgbClr val="445469">
                    <a:tint val="75000"/>
                  </a:srgbClr>
                </a:solidFill>
                <a:effectLst/>
                <a:uLnTx/>
                <a:uFillTx/>
                <a:latin typeface="Roboto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445469">
                  <a:tint val="75000"/>
                </a:srgbClr>
              </a:solidFill>
              <a:effectLst/>
              <a:uLnTx/>
              <a:uFillTx/>
              <a:latin typeface="Roboto Black"/>
              <a:ea typeface="+mn-ea"/>
              <a:cs typeface="+mn-cs"/>
            </a:endParaRPr>
          </a:p>
        </p:txBody>
      </p:sp>
      <p:grpSp>
        <p:nvGrpSpPr>
          <p:cNvPr id="10" name="Grup 9">
            <a:extLst>
              <a:ext uri="{FF2B5EF4-FFF2-40B4-BE49-F238E27FC236}">
                <a16:creationId xmlns:a16="http://schemas.microsoft.com/office/drawing/2014/main" id="{A0640666-DC28-4C9D-B3CB-3C9CD1060459}"/>
              </a:ext>
            </a:extLst>
          </p:cNvPr>
          <p:cNvGrpSpPr/>
          <p:nvPr/>
        </p:nvGrpSpPr>
        <p:grpSpPr>
          <a:xfrm>
            <a:off x="-361275" y="1409061"/>
            <a:ext cx="11715074" cy="336594"/>
            <a:chOff x="1268091" y="203804"/>
            <a:chExt cx="9450088" cy="1263192"/>
          </a:xfrm>
        </p:grpSpPr>
        <p:sp>
          <p:nvSpPr>
            <p:cNvPr id="14" name="Ok: Beşgen 13">
              <a:extLst>
                <a:ext uri="{FF2B5EF4-FFF2-40B4-BE49-F238E27FC236}">
                  <a16:creationId xmlns:a16="http://schemas.microsoft.com/office/drawing/2014/main" id="{8C941203-37C2-43A9-926F-2CB524B71D9B}"/>
                </a:ext>
              </a:extLst>
            </p:cNvPr>
            <p:cNvSpPr/>
            <p:nvPr/>
          </p:nvSpPr>
          <p:spPr>
            <a:xfrm rot="10800000">
              <a:off x="1893575" y="203804"/>
              <a:ext cx="8824604" cy="1237560"/>
            </a:xfrm>
            <a:prstGeom prst="homePlate">
              <a:avLst/>
            </a:prstGeom>
            <a:solidFill>
              <a:srgbClr val="FFC000"/>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5" name="Ok: Beşgen 4">
              <a:extLst>
                <a:ext uri="{FF2B5EF4-FFF2-40B4-BE49-F238E27FC236}">
                  <a16:creationId xmlns:a16="http://schemas.microsoft.com/office/drawing/2014/main" id="{96FB9F4C-4CD1-43E4-AD72-47D9722354D8}"/>
                </a:ext>
              </a:extLst>
            </p:cNvPr>
            <p:cNvSpPr txBox="1"/>
            <p:nvPr/>
          </p:nvSpPr>
          <p:spPr>
            <a:xfrm>
              <a:off x="1268091" y="309079"/>
              <a:ext cx="8337647" cy="115791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8941" tIns="106680" rIns="199136" bIns="106680"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tr-TR" sz="2000" b="1" i="0" u="none" strike="noStrike" kern="1200" cap="none" spc="0" normalizeH="0" baseline="0" noProof="0" dirty="0">
                  <a:ln>
                    <a:noFill/>
                  </a:ln>
                  <a:solidFill>
                    <a:srgbClr val="F6F8F8"/>
                  </a:solidFill>
                  <a:effectLst/>
                  <a:uLnTx/>
                  <a:uFillTx/>
                  <a:latin typeface="Roboto Black"/>
                  <a:ea typeface="+mn-ea"/>
                  <a:cs typeface="+mn-cs"/>
                </a:rPr>
                <a:t>Ar-Ge/Yenilik Faaliyetleri Sonucu Ortaya Çıkan Ürünler</a:t>
              </a:r>
              <a:endParaRPr kumimoji="0" lang="tr-TR" sz="2000" b="0" i="0" u="none" strike="noStrike" kern="1200" cap="none" spc="0" normalizeH="0" baseline="0" noProof="0" dirty="0">
                <a:ln>
                  <a:noFill/>
                </a:ln>
                <a:solidFill>
                  <a:srgbClr val="F6F8F8"/>
                </a:solidFill>
                <a:effectLst/>
                <a:uLnTx/>
                <a:uFillTx/>
                <a:latin typeface="Roboto Black"/>
                <a:ea typeface="+mn-ea"/>
                <a:cs typeface="+mn-cs"/>
              </a:endParaRPr>
            </a:p>
          </p:txBody>
        </p:sp>
      </p:grpSp>
      <p:sp>
        <p:nvSpPr>
          <p:cNvPr id="13" name="Oval 12">
            <a:extLst>
              <a:ext uri="{FF2B5EF4-FFF2-40B4-BE49-F238E27FC236}">
                <a16:creationId xmlns:a16="http://schemas.microsoft.com/office/drawing/2014/main" id="{1C7F8297-A1D3-43E6-B9B1-12BEB2AA9EE9}"/>
              </a:ext>
            </a:extLst>
          </p:cNvPr>
          <p:cNvSpPr/>
          <p:nvPr/>
        </p:nvSpPr>
        <p:spPr>
          <a:xfrm>
            <a:off x="414124" y="1111463"/>
            <a:ext cx="1042307" cy="959842"/>
          </a:xfrm>
          <a:prstGeom prst="ellipse">
            <a:avLst/>
          </a:prstGeom>
          <a:blipFill>
            <a:blip r:embed="rId4">
              <a:extLst>
                <a:ext uri="{28A0092B-C50C-407E-A947-70E740481C1C}">
                  <a14:useLocalDpi xmlns:a14="http://schemas.microsoft.com/office/drawing/2010/main" val="0"/>
                </a:ext>
              </a:extLst>
            </a:blip>
            <a:srcRect/>
            <a:stretch>
              <a:fillRect l="-17000" r="-17000"/>
            </a:stretch>
          </a:blipFill>
        </p:spPr>
        <p:style>
          <a:lnRef idx="2">
            <a:schemeClr val="lt1">
              <a:hueOff val="0"/>
              <a:satOff val="0"/>
              <a:lumOff val="0"/>
              <a:alphaOff val="0"/>
            </a:schemeClr>
          </a:lnRef>
          <a:fillRef idx="1">
            <a:scrgbClr r="0" g="0" b="0"/>
          </a:fillRef>
          <a:effectRef idx="0">
            <a:schemeClr val="accent4">
              <a:tint val="50000"/>
              <a:hueOff val="0"/>
              <a:satOff val="0"/>
              <a:lumOff val="0"/>
              <a:alphaOff val="0"/>
            </a:schemeClr>
          </a:effectRef>
          <a:fontRef idx="minor">
            <a:schemeClr val="lt1">
              <a:hueOff val="0"/>
              <a:satOff val="0"/>
              <a:lumOff val="0"/>
              <a:alphaOff val="0"/>
            </a:schemeClr>
          </a:fontRef>
        </p:style>
      </p:sp>
      <p:sp>
        <p:nvSpPr>
          <p:cNvPr id="16" name="4 Metin kutusu">
            <a:extLst>
              <a:ext uri="{FF2B5EF4-FFF2-40B4-BE49-F238E27FC236}">
                <a16:creationId xmlns:a16="http://schemas.microsoft.com/office/drawing/2014/main" id="{5A58B7D6-DC56-40B1-8BC9-108F31D2F888}"/>
              </a:ext>
            </a:extLst>
          </p:cNvPr>
          <p:cNvSpPr txBox="1"/>
          <p:nvPr/>
        </p:nvSpPr>
        <p:spPr>
          <a:xfrm>
            <a:off x="1831603" y="402849"/>
            <a:ext cx="10849205"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0" b="1" i="0" u="none" strike="noStrike" kern="1200" cap="none" spc="0" normalizeH="0" baseline="0" noProof="0" dirty="0">
                <a:ln>
                  <a:noFill/>
                </a:ln>
                <a:solidFill>
                  <a:srgbClr val="445469"/>
                </a:solidFill>
                <a:effectLst/>
                <a:uLnTx/>
                <a:uFillTx/>
                <a:latin typeface="Roboto Black"/>
                <a:ea typeface="ヒラギノ角ゴ Pro W3" pitchFamily="1" charset="-128"/>
                <a:cs typeface="Times New Roman" panose="02020603050405020304" pitchFamily="18" charset="0"/>
              </a:rPr>
              <a:t>KOBİ TEKNOYATIRIM DESTEK PROGRAMI</a:t>
            </a:r>
          </a:p>
        </p:txBody>
      </p:sp>
      <p:sp>
        <p:nvSpPr>
          <p:cNvPr id="21" name="Metin kutusu 20">
            <a:extLst>
              <a:ext uri="{FF2B5EF4-FFF2-40B4-BE49-F238E27FC236}">
                <a16:creationId xmlns:a16="http://schemas.microsoft.com/office/drawing/2014/main" id="{13E6632C-C560-4C33-BDDE-5217AC2A1AEE}"/>
              </a:ext>
            </a:extLst>
          </p:cNvPr>
          <p:cNvSpPr txBox="1"/>
          <p:nvPr/>
        </p:nvSpPr>
        <p:spPr>
          <a:xfrm>
            <a:off x="191545" y="3108461"/>
            <a:ext cx="3682365" cy="175432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2060"/>
                </a:solidFill>
                <a:effectLst/>
                <a:uLnTx/>
                <a:uFillTx/>
                <a:latin typeface="Roboto Black"/>
                <a:ea typeface="ヒラギノ角ゴ Pro W3" pitchFamily="1" charset="-128"/>
                <a:cs typeface="+mn-cs"/>
              </a:rPr>
              <a:t>KOSGEB ve diğer kamu kurum ve kuruluşları, kanunla kurulan vakıflar veya uluslararası fonlar tarafından desteklenen Ar-Ge ve yenilik projeleri sonucu ortaya çıkan ürünler</a:t>
            </a:r>
            <a:endParaRPr kumimoji="0" lang="tr-TR" sz="1800" b="0" i="0" u="none" strike="noStrike" kern="1200" cap="none" spc="0" normalizeH="0" baseline="0" noProof="0" dirty="0">
              <a:ln>
                <a:noFill/>
              </a:ln>
              <a:solidFill>
                <a:srgbClr val="445469"/>
              </a:solidFill>
              <a:effectLst/>
              <a:uLnTx/>
              <a:uFillTx/>
              <a:latin typeface="Roboto Black"/>
              <a:ea typeface="+mn-ea"/>
              <a:cs typeface="+mn-cs"/>
            </a:endParaRPr>
          </a:p>
        </p:txBody>
      </p:sp>
      <p:sp>
        <p:nvSpPr>
          <p:cNvPr id="23" name="Metin kutusu 22">
            <a:extLst>
              <a:ext uri="{FF2B5EF4-FFF2-40B4-BE49-F238E27FC236}">
                <a16:creationId xmlns:a16="http://schemas.microsoft.com/office/drawing/2014/main" id="{7C88146E-F6A8-4AC2-94CE-9ACC6FD00C20}"/>
              </a:ext>
            </a:extLst>
          </p:cNvPr>
          <p:cNvSpPr txBox="1"/>
          <p:nvPr/>
        </p:nvSpPr>
        <p:spPr>
          <a:xfrm>
            <a:off x="4481508" y="5487378"/>
            <a:ext cx="2989880"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2060"/>
                </a:solidFill>
                <a:effectLst/>
                <a:uLnTx/>
                <a:uFillTx/>
                <a:latin typeface="Roboto Black"/>
                <a:ea typeface="ヒラギノ角ゴ Pro W3" pitchFamily="1" charset="-128"/>
                <a:cs typeface="+mn-cs"/>
              </a:rPr>
              <a:t>Doktora çalışması neticesinde ortaya çıkan ürünler</a:t>
            </a:r>
            <a:endParaRPr kumimoji="0" lang="tr-TR" sz="1800" b="0" i="0" u="none" strike="noStrike" kern="1200" cap="none" spc="0" normalizeH="0" baseline="0" noProof="0" dirty="0">
              <a:ln>
                <a:noFill/>
              </a:ln>
              <a:solidFill>
                <a:srgbClr val="445469"/>
              </a:solidFill>
              <a:effectLst/>
              <a:uLnTx/>
              <a:uFillTx/>
              <a:latin typeface="Roboto Black"/>
              <a:ea typeface="+mn-ea"/>
              <a:cs typeface="+mn-cs"/>
            </a:endParaRPr>
          </a:p>
        </p:txBody>
      </p:sp>
      <p:sp>
        <p:nvSpPr>
          <p:cNvPr id="27" name="Metin kutusu 26">
            <a:extLst>
              <a:ext uri="{FF2B5EF4-FFF2-40B4-BE49-F238E27FC236}">
                <a16:creationId xmlns:a16="http://schemas.microsoft.com/office/drawing/2014/main" id="{8BCB0D1E-220B-48F0-A2AB-AA1625B3F47C}"/>
              </a:ext>
            </a:extLst>
          </p:cNvPr>
          <p:cNvSpPr txBox="1"/>
          <p:nvPr/>
        </p:nvSpPr>
        <p:spPr>
          <a:xfrm>
            <a:off x="8230890" y="5525155"/>
            <a:ext cx="3011686"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2060"/>
                </a:solidFill>
                <a:effectLst/>
                <a:uLnTx/>
                <a:uFillTx/>
                <a:latin typeface="Roboto Black"/>
                <a:ea typeface="ヒラギノ角ゴ Pro W3" pitchFamily="1" charset="-128"/>
                <a:cs typeface="+mn-cs"/>
              </a:rPr>
              <a:t>Teknolojik Ürün (TÜR) Deneyim Belgesi olan ürünler</a:t>
            </a:r>
          </a:p>
        </p:txBody>
      </p:sp>
      <p:sp>
        <p:nvSpPr>
          <p:cNvPr id="29" name="Metin kutusu 28">
            <a:extLst>
              <a:ext uri="{FF2B5EF4-FFF2-40B4-BE49-F238E27FC236}">
                <a16:creationId xmlns:a16="http://schemas.microsoft.com/office/drawing/2014/main" id="{0E7912E4-273C-425E-AF66-AC856803242A}"/>
              </a:ext>
            </a:extLst>
          </p:cNvPr>
          <p:cNvSpPr txBox="1"/>
          <p:nvPr/>
        </p:nvSpPr>
        <p:spPr>
          <a:xfrm>
            <a:off x="1319280" y="5530798"/>
            <a:ext cx="2267328"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2060"/>
                </a:solidFill>
                <a:effectLst/>
                <a:uLnTx/>
                <a:uFillTx/>
                <a:latin typeface="Roboto Black"/>
                <a:ea typeface="ヒラギノ角ゴ Pro W3" pitchFamily="1" charset="-128"/>
                <a:cs typeface="+mn-cs"/>
              </a:rPr>
              <a:t>Patent ile koruma altına alınan ürünler</a:t>
            </a:r>
          </a:p>
        </p:txBody>
      </p:sp>
      <p:sp>
        <p:nvSpPr>
          <p:cNvPr id="34" name="Metin kutusu 33">
            <a:extLst>
              <a:ext uri="{FF2B5EF4-FFF2-40B4-BE49-F238E27FC236}">
                <a16:creationId xmlns:a16="http://schemas.microsoft.com/office/drawing/2014/main" id="{EA8ED7D2-89C7-46FB-A414-303D17B38FB4}"/>
              </a:ext>
            </a:extLst>
          </p:cNvPr>
          <p:cNvSpPr txBox="1"/>
          <p:nvPr/>
        </p:nvSpPr>
        <p:spPr>
          <a:xfrm>
            <a:off x="3729825" y="3128785"/>
            <a:ext cx="2505810" cy="175432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2060"/>
                </a:solidFill>
                <a:effectLst/>
                <a:uLnTx/>
                <a:uFillTx/>
                <a:latin typeface="Roboto Black"/>
                <a:ea typeface="ヒラギノ角ゴ Pro W3" pitchFamily="1" charset="-128"/>
                <a:cs typeface="+mn-cs"/>
              </a:rPr>
              <a:t>Kamu Ar-Ge Merkezleri/ Enstitülerinde yürütülen Ar-Ge faaliyeti sonucu ortaya çıkan ürünler</a:t>
            </a:r>
          </a:p>
        </p:txBody>
      </p:sp>
      <p:sp>
        <p:nvSpPr>
          <p:cNvPr id="39" name="Metin kutusu 38">
            <a:extLst>
              <a:ext uri="{FF2B5EF4-FFF2-40B4-BE49-F238E27FC236}">
                <a16:creationId xmlns:a16="http://schemas.microsoft.com/office/drawing/2014/main" id="{0C9AD3F0-771E-4F06-9DDE-46419F85A4C4}"/>
              </a:ext>
            </a:extLst>
          </p:cNvPr>
          <p:cNvSpPr txBox="1"/>
          <p:nvPr/>
        </p:nvSpPr>
        <p:spPr>
          <a:xfrm>
            <a:off x="6210365" y="3099124"/>
            <a:ext cx="2989880" cy="147732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2060"/>
                </a:solidFill>
                <a:effectLst/>
                <a:uLnTx/>
                <a:uFillTx/>
                <a:latin typeface="Roboto Black"/>
                <a:ea typeface="ヒラギノ角ゴ Pro W3" pitchFamily="1" charset="-128"/>
                <a:cs typeface="+mn-cs"/>
              </a:rPr>
              <a:t>Yurtiçi Teknoloji Geliştirme Bölgelerinde tamamlanmış Ar-Ge faaliyeti sonucu ortaya çıkan ürünler</a:t>
            </a:r>
          </a:p>
        </p:txBody>
      </p:sp>
      <p:pic>
        <p:nvPicPr>
          <p:cNvPr id="41" name="Grafik 40" descr="Mikroskop">
            <a:extLst>
              <a:ext uri="{FF2B5EF4-FFF2-40B4-BE49-F238E27FC236}">
                <a16:creationId xmlns:a16="http://schemas.microsoft.com/office/drawing/2014/main" id="{4BB71058-6268-4601-B785-25BBBF1C39D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4525530" y="2158376"/>
            <a:ext cx="914400" cy="914400"/>
          </a:xfrm>
          <a:prstGeom prst="rect">
            <a:avLst/>
          </a:prstGeom>
        </p:spPr>
      </p:pic>
      <p:pic>
        <p:nvPicPr>
          <p:cNvPr id="51" name="Grafik 50" descr="Sınıf">
            <a:extLst>
              <a:ext uri="{FF2B5EF4-FFF2-40B4-BE49-F238E27FC236}">
                <a16:creationId xmlns:a16="http://schemas.microsoft.com/office/drawing/2014/main" id="{0210C756-2BE7-48C2-8DA6-4010AC7A308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570007" y="2232791"/>
            <a:ext cx="914400" cy="914400"/>
          </a:xfrm>
          <a:prstGeom prst="rect">
            <a:avLst/>
          </a:prstGeom>
        </p:spPr>
      </p:pic>
      <p:pic>
        <p:nvPicPr>
          <p:cNvPr id="71" name="Grafik 70" descr="Ampul ve dişli">
            <a:extLst>
              <a:ext uri="{FF2B5EF4-FFF2-40B4-BE49-F238E27FC236}">
                <a16:creationId xmlns:a16="http://schemas.microsoft.com/office/drawing/2014/main" id="{C85A7747-1137-4A3B-A5C4-E0F977F7848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2027207" y="4656441"/>
            <a:ext cx="914400" cy="914400"/>
          </a:xfrm>
          <a:prstGeom prst="rect">
            <a:avLst/>
          </a:prstGeom>
        </p:spPr>
      </p:pic>
      <p:pic>
        <p:nvPicPr>
          <p:cNvPr id="73" name="Grafik 72" descr="Dişlileri olan kafa">
            <a:extLst>
              <a:ext uri="{FF2B5EF4-FFF2-40B4-BE49-F238E27FC236}">
                <a16:creationId xmlns:a16="http://schemas.microsoft.com/office/drawing/2014/main" id="{E7E2BC8D-2720-4D3F-8B51-9A760A22808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5528399" y="4656441"/>
            <a:ext cx="914400" cy="914400"/>
          </a:xfrm>
          <a:prstGeom prst="rect">
            <a:avLst/>
          </a:prstGeom>
        </p:spPr>
      </p:pic>
      <p:pic>
        <p:nvPicPr>
          <p:cNvPr id="75" name="Grafik 74" descr="Dişliler">
            <a:extLst>
              <a:ext uri="{FF2B5EF4-FFF2-40B4-BE49-F238E27FC236}">
                <a16:creationId xmlns:a16="http://schemas.microsoft.com/office/drawing/2014/main" id="{29A3BE8C-43E3-4C28-B388-AF76D0BDA2C2}"/>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 xmlns:asvg="http://schemas.microsoft.com/office/drawing/2016/SVG/main" r:embed="rId14"/>
              </a:ext>
            </a:extLst>
          </a:blip>
          <a:stretch>
            <a:fillRect/>
          </a:stretch>
        </p:blipFill>
        <p:spPr>
          <a:xfrm>
            <a:off x="9250393" y="4656441"/>
            <a:ext cx="914400" cy="914400"/>
          </a:xfrm>
          <a:prstGeom prst="rect">
            <a:avLst/>
          </a:prstGeom>
        </p:spPr>
      </p:pic>
      <p:pic>
        <p:nvPicPr>
          <p:cNvPr id="76" name="Resim 75">
            <a:extLst>
              <a:ext uri="{FF2B5EF4-FFF2-40B4-BE49-F238E27FC236}">
                <a16:creationId xmlns:a16="http://schemas.microsoft.com/office/drawing/2014/main" id="{25848E66-EDBD-4DFE-BE84-7AA1440705F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46776" y="260382"/>
            <a:ext cx="1204630" cy="702701"/>
          </a:xfrm>
          <a:prstGeom prst="rect">
            <a:avLst/>
          </a:prstGeom>
        </p:spPr>
      </p:pic>
      <p:sp>
        <p:nvSpPr>
          <p:cNvPr id="77" name="Metin kutusu 76">
            <a:extLst>
              <a:ext uri="{FF2B5EF4-FFF2-40B4-BE49-F238E27FC236}">
                <a16:creationId xmlns:a16="http://schemas.microsoft.com/office/drawing/2014/main" id="{7A780D03-77E9-417D-B51E-0FE2A50FF31D}"/>
              </a:ext>
            </a:extLst>
          </p:cNvPr>
          <p:cNvSpPr txBox="1"/>
          <p:nvPr/>
        </p:nvSpPr>
        <p:spPr>
          <a:xfrm>
            <a:off x="9010574" y="3070695"/>
            <a:ext cx="3011687" cy="175432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2060"/>
                </a:solidFill>
                <a:effectLst/>
                <a:uLnTx/>
                <a:uFillTx/>
                <a:latin typeface="Roboto Black"/>
                <a:ea typeface="ヒラギノ角ゴ Pro W3" pitchFamily="1" charset="-128"/>
                <a:cs typeface="+mn-cs"/>
              </a:rPr>
              <a:t>5746 sayılı Kanun kapsamında kurulan Ar-Ge merkezlerinde yürütülen Ar-Ge faaliyeti sonucu ortaya çıkan ürünler</a:t>
            </a:r>
          </a:p>
        </p:txBody>
      </p:sp>
      <p:pic>
        <p:nvPicPr>
          <p:cNvPr id="79" name="Grafik 78" descr="Bilim insanı">
            <a:extLst>
              <a:ext uri="{FF2B5EF4-FFF2-40B4-BE49-F238E27FC236}">
                <a16:creationId xmlns:a16="http://schemas.microsoft.com/office/drawing/2014/main" id="{775AEB7E-FB25-487F-A7F9-52AC3F327C75}"/>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10048315" y="2156295"/>
            <a:ext cx="914400" cy="914400"/>
          </a:xfrm>
          <a:prstGeom prst="rect">
            <a:avLst/>
          </a:prstGeom>
        </p:spPr>
      </p:pic>
      <p:pic>
        <p:nvPicPr>
          <p:cNvPr id="81" name="Grafik 80" descr="Atom">
            <a:extLst>
              <a:ext uri="{FF2B5EF4-FFF2-40B4-BE49-F238E27FC236}">
                <a16:creationId xmlns:a16="http://schemas.microsoft.com/office/drawing/2014/main" id="{4106C894-0B19-44EC-84CD-C7B1A215D02C}"/>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 xmlns:asvg="http://schemas.microsoft.com/office/drawing/2016/SVG/main" r:embed="rId19"/>
              </a:ext>
            </a:extLst>
          </a:blip>
          <a:stretch>
            <a:fillRect/>
          </a:stretch>
        </p:blipFill>
        <p:spPr>
          <a:xfrm>
            <a:off x="7316490" y="2156295"/>
            <a:ext cx="914400" cy="914400"/>
          </a:xfrm>
          <a:prstGeom prst="rect">
            <a:avLst/>
          </a:prstGeom>
        </p:spPr>
      </p:pic>
    </p:spTree>
    <p:extLst>
      <p:ext uri="{BB962C8B-B14F-4D97-AF65-F5344CB8AC3E}">
        <p14:creationId xmlns:p14="http://schemas.microsoft.com/office/powerpoint/2010/main" val="189012950"/>
      </p:ext>
    </p:extLst>
  </p:cSld>
  <p:clrMapOvr>
    <a:masterClrMapping/>
  </p:clrMapOvr>
  <mc:AlternateContent xmlns:mc="http://schemas.openxmlformats.org/markup-compatibility/2006" xmlns:p14="http://schemas.microsoft.com/office/powerpoint/2010/main">
    <mc:Choice Requires="p14">
      <p:transition p14:dur="0" advTm="96917"/>
    </mc:Choice>
    <mc:Fallback xmlns="">
      <p:transition advTm="96917"/>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ayt Numarası Yer Tutucusu 5"/>
          <p:cNvSpPr txBox="1">
            <a:spLocks/>
          </p:cNvSpPr>
          <p:nvPr/>
        </p:nvSpPr>
        <p:spPr>
          <a:xfrm>
            <a:off x="2219480" y="7355187"/>
            <a:ext cx="1075483" cy="571466"/>
          </a:xfrm>
          <a:prstGeom prst="rect">
            <a:avLst/>
          </a:prstGeom>
          <a:noFill/>
          <a:ln>
            <a:miter lim="800000"/>
            <a:headEnd/>
            <a:tailEnd/>
          </a:ln>
        </p:spPr>
        <p:txBody>
          <a:bodyPr anchor="ctr"/>
          <a:lstStyle/>
          <a:p>
            <a:pPr marL="0" marR="0" lvl="0" indent="0" algn="r" defTabSz="917783" rtl="0" eaLnBrk="1" fontAlgn="auto" latinLnBrk="0" hangingPunct="1">
              <a:lnSpc>
                <a:spcPct val="100000"/>
              </a:lnSpc>
              <a:spcBef>
                <a:spcPts val="0"/>
              </a:spcBef>
              <a:spcAft>
                <a:spcPts val="0"/>
              </a:spcAft>
              <a:buClrTx/>
              <a:buSzTx/>
              <a:buFontTx/>
              <a:buNone/>
              <a:tabLst/>
              <a:defRPr/>
            </a:pPr>
            <a:fld id="{E3B29AA5-3A34-4A67-9DD6-75C837EE9A54}" type="slidenum">
              <a:rPr kumimoji="0" lang="tr-TR" sz="1204" b="0" i="0" u="none" strike="noStrike" kern="1200" cap="none" spc="0" normalizeH="0" baseline="0" noProof="0">
                <a:ln>
                  <a:noFill/>
                </a:ln>
                <a:solidFill>
                  <a:prstClr val="black">
                    <a:tint val="75000"/>
                  </a:prstClr>
                </a:solidFill>
                <a:effectLst/>
                <a:uLnTx/>
                <a:uFillTx/>
                <a:latin typeface="Roboto Black"/>
                <a:ea typeface="ヒラギノ角ゴ Pro W3" pitchFamily="1" charset="-128"/>
                <a:cs typeface="+mn-cs"/>
              </a:rPr>
              <a:pPr marL="0" marR="0" lvl="0" indent="0" algn="r" defTabSz="917783" rtl="0" eaLnBrk="1" fontAlgn="auto" latinLnBrk="0" hangingPunct="1">
                <a:lnSpc>
                  <a:spcPct val="100000"/>
                </a:lnSpc>
                <a:spcBef>
                  <a:spcPts val="0"/>
                </a:spcBef>
                <a:spcAft>
                  <a:spcPts val="0"/>
                </a:spcAft>
                <a:buClrTx/>
                <a:buSzTx/>
                <a:buFontTx/>
                <a:buNone/>
                <a:tabLst/>
                <a:defRPr/>
              </a:pPr>
              <a:t>38</a:t>
            </a:fld>
            <a:endParaRPr kumimoji="0" lang="tr-TR" sz="1204" b="0" i="0" u="none" strike="noStrike" kern="1200" cap="none" spc="0" normalizeH="0" baseline="0" noProof="0" dirty="0">
              <a:ln>
                <a:noFill/>
              </a:ln>
              <a:solidFill>
                <a:prstClr val="black">
                  <a:tint val="75000"/>
                </a:prstClr>
              </a:solidFill>
              <a:effectLst/>
              <a:uLnTx/>
              <a:uFillTx/>
              <a:latin typeface="Roboto Black"/>
              <a:ea typeface="ヒラギノ角ゴ Pro W3" pitchFamily="1" charset="-128"/>
              <a:cs typeface="+mn-cs"/>
            </a:endParaRPr>
          </a:p>
        </p:txBody>
      </p:sp>
      <p:pic>
        <p:nvPicPr>
          <p:cNvPr id="8" name="Picture 3"/>
          <p:cNvPicPr>
            <a:picLocks noChangeAspect="1" noChangeArrowheads="1"/>
          </p:cNvPicPr>
          <p:nvPr/>
        </p:nvPicPr>
        <p:blipFill>
          <a:blip r:embed="rId3" cstate="print"/>
          <a:srcRect/>
          <a:stretch>
            <a:fillRect/>
          </a:stretch>
        </p:blipFill>
        <p:spPr bwMode="auto">
          <a:xfrm>
            <a:off x="11299547" y="130154"/>
            <a:ext cx="722715" cy="509772"/>
          </a:xfrm>
          <a:prstGeom prst="rect">
            <a:avLst/>
          </a:prstGeom>
          <a:noFill/>
          <a:ln w="9525">
            <a:noFill/>
            <a:miter lim="800000"/>
            <a:headEnd/>
            <a:tailEnd/>
          </a:ln>
        </p:spPr>
      </p:pic>
      <p:sp>
        <p:nvSpPr>
          <p:cNvPr id="12" name="5 Metin kutusu"/>
          <p:cNvSpPr txBox="1"/>
          <p:nvPr/>
        </p:nvSpPr>
        <p:spPr>
          <a:xfrm>
            <a:off x="1812337" y="827836"/>
            <a:ext cx="3308919" cy="43088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200" b="1" i="0" u="none" strike="noStrike" kern="1200" cap="none" spc="0" normalizeH="0" baseline="0" noProof="0" dirty="0">
                <a:ln>
                  <a:noFill/>
                </a:ln>
                <a:solidFill>
                  <a:srgbClr val="51C3CA">
                    <a:lumMod val="75000"/>
                  </a:srgbClr>
                </a:solidFill>
                <a:effectLst/>
                <a:uLnTx/>
                <a:uFillTx/>
                <a:latin typeface="Roboto Black"/>
                <a:ea typeface="ヒラギノ角ゴ Pro W3" pitchFamily="1" charset="-128"/>
                <a:cs typeface="Times New Roman" panose="02020603050405020304" pitchFamily="18" charset="0"/>
              </a:rPr>
              <a:t>BAŞVURU KOŞULLARI</a:t>
            </a:r>
          </a:p>
        </p:txBody>
      </p:sp>
      <p:sp>
        <p:nvSpPr>
          <p:cNvPr id="4" name="Slayt Numarası Yer Tutucusu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17BAC-AD27-4367-93BC-03BF7B01E6B3}" type="slidenum">
              <a:rPr kumimoji="0" lang="en-US" sz="1200" b="0" i="0" u="none" strike="noStrike" kern="1200" cap="none" spc="0" normalizeH="0" baseline="0" noProof="0" smtClean="0">
                <a:ln>
                  <a:noFill/>
                </a:ln>
                <a:solidFill>
                  <a:srgbClr val="445469">
                    <a:tint val="75000"/>
                  </a:srgbClr>
                </a:solidFill>
                <a:effectLst/>
                <a:uLnTx/>
                <a:uFillTx/>
                <a:latin typeface="Roboto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445469">
                  <a:tint val="75000"/>
                </a:srgbClr>
              </a:solidFill>
              <a:effectLst/>
              <a:uLnTx/>
              <a:uFillTx/>
              <a:latin typeface="Roboto Black"/>
              <a:ea typeface="+mn-ea"/>
              <a:cs typeface="+mn-cs"/>
            </a:endParaRPr>
          </a:p>
        </p:txBody>
      </p:sp>
      <p:grpSp>
        <p:nvGrpSpPr>
          <p:cNvPr id="10" name="Grup 9">
            <a:extLst>
              <a:ext uri="{FF2B5EF4-FFF2-40B4-BE49-F238E27FC236}">
                <a16:creationId xmlns:a16="http://schemas.microsoft.com/office/drawing/2014/main" id="{A0640666-DC28-4C9D-B3CB-3C9CD1060459}"/>
              </a:ext>
            </a:extLst>
          </p:cNvPr>
          <p:cNvGrpSpPr/>
          <p:nvPr/>
        </p:nvGrpSpPr>
        <p:grpSpPr>
          <a:xfrm>
            <a:off x="950916" y="1564552"/>
            <a:ext cx="10012051" cy="314220"/>
            <a:chOff x="1609279" y="195425"/>
            <a:chExt cx="9108900" cy="1245939"/>
          </a:xfrm>
        </p:grpSpPr>
        <p:sp>
          <p:nvSpPr>
            <p:cNvPr id="14" name="Ok: Beşgen 13">
              <a:extLst>
                <a:ext uri="{FF2B5EF4-FFF2-40B4-BE49-F238E27FC236}">
                  <a16:creationId xmlns:a16="http://schemas.microsoft.com/office/drawing/2014/main" id="{8C941203-37C2-43A9-926F-2CB524B71D9B}"/>
                </a:ext>
              </a:extLst>
            </p:cNvPr>
            <p:cNvSpPr/>
            <p:nvPr/>
          </p:nvSpPr>
          <p:spPr>
            <a:xfrm rot="10800000">
              <a:off x="1893575" y="203804"/>
              <a:ext cx="8824604" cy="1237560"/>
            </a:xfrm>
            <a:prstGeom prst="homePlate">
              <a:avLst/>
            </a:prstGeom>
            <a:solidFill>
              <a:srgbClr val="FFC000"/>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5" name="Ok: Beşgen 4">
              <a:extLst>
                <a:ext uri="{FF2B5EF4-FFF2-40B4-BE49-F238E27FC236}">
                  <a16:creationId xmlns:a16="http://schemas.microsoft.com/office/drawing/2014/main" id="{96FB9F4C-4CD1-43E4-AD72-47D9722354D8}"/>
                </a:ext>
              </a:extLst>
            </p:cNvPr>
            <p:cNvSpPr txBox="1"/>
            <p:nvPr/>
          </p:nvSpPr>
          <p:spPr>
            <a:xfrm>
              <a:off x="1609279" y="195425"/>
              <a:ext cx="8337647" cy="115791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8941" tIns="106680" rIns="199136" bIns="106680"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tr-TR" sz="2000" b="1" i="0" u="none" strike="noStrike" kern="1200" cap="none" spc="0" normalizeH="0" baseline="0" noProof="0" dirty="0">
                  <a:ln>
                    <a:noFill/>
                  </a:ln>
                  <a:solidFill>
                    <a:srgbClr val="F6F8F8"/>
                  </a:solidFill>
                  <a:effectLst/>
                  <a:uLnTx/>
                  <a:uFillTx/>
                  <a:latin typeface="Roboto Black"/>
                  <a:ea typeface="+mn-ea"/>
                  <a:cs typeface="+mn-cs"/>
                </a:rPr>
                <a:t>Ar-Ge/Yenilik Faaliyetleri Sonucu Ortaya Çıkan Ürünler</a:t>
              </a:r>
              <a:endParaRPr kumimoji="0" lang="tr-TR" sz="2000" b="0" i="0" u="none" strike="noStrike" kern="1200" cap="none" spc="0" normalizeH="0" baseline="0" noProof="0" dirty="0">
                <a:ln>
                  <a:noFill/>
                </a:ln>
                <a:solidFill>
                  <a:srgbClr val="F6F8F8"/>
                </a:solidFill>
                <a:effectLst/>
                <a:uLnTx/>
                <a:uFillTx/>
                <a:latin typeface="Roboto Black"/>
                <a:ea typeface="+mn-ea"/>
                <a:cs typeface="+mn-cs"/>
              </a:endParaRPr>
            </a:p>
          </p:txBody>
        </p:sp>
      </p:grpSp>
      <p:sp>
        <p:nvSpPr>
          <p:cNvPr id="13" name="Oval 12">
            <a:extLst>
              <a:ext uri="{FF2B5EF4-FFF2-40B4-BE49-F238E27FC236}">
                <a16:creationId xmlns:a16="http://schemas.microsoft.com/office/drawing/2014/main" id="{1C7F8297-A1D3-43E6-B9B1-12BEB2AA9EE9}"/>
              </a:ext>
            </a:extLst>
          </p:cNvPr>
          <p:cNvSpPr/>
          <p:nvPr/>
        </p:nvSpPr>
        <p:spPr>
          <a:xfrm>
            <a:off x="1263400" y="1289501"/>
            <a:ext cx="966019" cy="939966"/>
          </a:xfrm>
          <a:prstGeom prst="ellipse">
            <a:avLst/>
          </a:prstGeom>
          <a:blipFill>
            <a:blip r:embed="rId4">
              <a:extLst>
                <a:ext uri="{28A0092B-C50C-407E-A947-70E740481C1C}">
                  <a14:useLocalDpi xmlns:a14="http://schemas.microsoft.com/office/drawing/2010/main" val="0"/>
                </a:ext>
              </a:extLst>
            </a:blip>
            <a:srcRect/>
            <a:stretch>
              <a:fillRect l="-17000" r="-17000"/>
            </a:stretch>
          </a:blipFill>
        </p:spPr>
        <p:style>
          <a:lnRef idx="2">
            <a:schemeClr val="lt1">
              <a:hueOff val="0"/>
              <a:satOff val="0"/>
              <a:lumOff val="0"/>
              <a:alphaOff val="0"/>
            </a:schemeClr>
          </a:lnRef>
          <a:fillRef idx="1">
            <a:scrgbClr r="0" g="0" b="0"/>
          </a:fillRef>
          <a:effectRef idx="0">
            <a:schemeClr val="accent4">
              <a:tint val="50000"/>
              <a:hueOff val="0"/>
              <a:satOff val="0"/>
              <a:lumOff val="0"/>
              <a:alphaOff val="0"/>
            </a:schemeClr>
          </a:effectRef>
          <a:fontRef idx="minor">
            <a:schemeClr val="lt1">
              <a:hueOff val="0"/>
              <a:satOff val="0"/>
              <a:lumOff val="0"/>
              <a:alphaOff val="0"/>
            </a:schemeClr>
          </a:fontRef>
        </p:style>
      </p:sp>
      <p:sp>
        <p:nvSpPr>
          <p:cNvPr id="16" name="4 Metin kutusu">
            <a:extLst>
              <a:ext uri="{FF2B5EF4-FFF2-40B4-BE49-F238E27FC236}">
                <a16:creationId xmlns:a16="http://schemas.microsoft.com/office/drawing/2014/main" id="{5A58B7D6-DC56-40B1-8BC9-108F31D2F888}"/>
              </a:ext>
            </a:extLst>
          </p:cNvPr>
          <p:cNvSpPr txBox="1"/>
          <p:nvPr/>
        </p:nvSpPr>
        <p:spPr>
          <a:xfrm>
            <a:off x="1812337" y="409093"/>
            <a:ext cx="10849205"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0" b="1" i="0" u="none" strike="noStrike" kern="1200" cap="none" spc="0" normalizeH="0" baseline="0" noProof="0" dirty="0">
                <a:ln>
                  <a:noFill/>
                </a:ln>
                <a:solidFill>
                  <a:srgbClr val="445469"/>
                </a:solidFill>
                <a:effectLst/>
                <a:uLnTx/>
                <a:uFillTx/>
                <a:latin typeface="Roboto Black"/>
                <a:ea typeface="ヒラギノ角ゴ Pro W3" pitchFamily="1" charset="-128"/>
                <a:cs typeface="Times New Roman" panose="02020603050405020304" pitchFamily="18" charset="0"/>
              </a:rPr>
              <a:t>KOBİ TEKNOYATIRIM DESTEK PROGRAMI</a:t>
            </a:r>
          </a:p>
        </p:txBody>
      </p:sp>
      <p:pic>
        <p:nvPicPr>
          <p:cNvPr id="25" name="Resim 24">
            <a:extLst>
              <a:ext uri="{FF2B5EF4-FFF2-40B4-BE49-F238E27FC236}">
                <a16:creationId xmlns:a16="http://schemas.microsoft.com/office/drawing/2014/main" id="{C532E54E-94F1-434E-A321-E2C50F3B175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6776" y="260382"/>
            <a:ext cx="1204630" cy="702701"/>
          </a:xfrm>
          <a:prstGeom prst="rect">
            <a:avLst/>
          </a:prstGeom>
        </p:spPr>
      </p:pic>
      <p:sp>
        <p:nvSpPr>
          <p:cNvPr id="21" name="Metin kutusu 20">
            <a:extLst>
              <a:ext uri="{FF2B5EF4-FFF2-40B4-BE49-F238E27FC236}">
                <a16:creationId xmlns:a16="http://schemas.microsoft.com/office/drawing/2014/main" id="{92DC4A6B-1E08-4D44-A58B-5A7AC652B96B}"/>
              </a:ext>
            </a:extLst>
          </p:cNvPr>
          <p:cNvSpPr txBox="1"/>
          <p:nvPr/>
        </p:nvSpPr>
        <p:spPr>
          <a:xfrm>
            <a:off x="6575321" y="2458042"/>
            <a:ext cx="4334798" cy="2585323"/>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tr-TR" sz="1800" b="1" i="0" u="none" strike="noStrike" kern="1200" cap="none" spc="0" normalizeH="0" baseline="0" noProof="0" dirty="0">
                <a:ln>
                  <a:noFill/>
                </a:ln>
                <a:solidFill>
                  <a:srgbClr val="445469"/>
                </a:solidFill>
                <a:effectLst/>
                <a:uLnTx/>
                <a:uFillTx/>
                <a:latin typeface="Roboto Black"/>
                <a:ea typeface="+mn-ea"/>
                <a:cs typeface="+mn-cs"/>
              </a:rPr>
              <a:t>Başvurunun prototip çalışması başarıyla tamamlanmış ürün için yapılması esastır. </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tr-TR" sz="1800" b="1" i="0" u="none" strike="noStrike" kern="1200" cap="none" spc="0" normalizeH="0" baseline="0" noProof="0" dirty="0">
              <a:ln>
                <a:noFill/>
              </a:ln>
              <a:solidFill>
                <a:srgbClr val="445469"/>
              </a:solidFill>
              <a:effectLst/>
              <a:uLnTx/>
              <a:uFillTx/>
              <a:latin typeface="Roboto Black"/>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tr-TR" sz="1800" b="1" i="0" u="none" strike="noStrike" kern="1200" cap="none" spc="0" normalizeH="0" baseline="0" noProof="0" dirty="0">
                <a:ln>
                  <a:noFill/>
                </a:ln>
                <a:solidFill>
                  <a:srgbClr val="445469"/>
                </a:solidFill>
                <a:effectLst/>
                <a:uLnTx/>
                <a:uFillTx/>
                <a:latin typeface="Roboto Black"/>
                <a:ea typeface="+mn-ea"/>
                <a:cs typeface="+mn-cs"/>
              </a:rPr>
              <a:t>Ürün sahibi işletmeler veya ürünün fikri sınai mülkiyet ve telif haklarını sözleşme ile hak sahibinden devralmış işletmeler başvuru yapabilir.</a:t>
            </a:r>
          </a:p>
        </p:txBody>
      </p:sp>
      <p:pic>
        <p:nvPicPr>
          <p:cNvPr id="6" name="Resim 5">
            <a:extLst>
              <a:ext uri="{FF2B5EF4-FFF2-40B4-BE49-F238E27FC236}">
                <a16:creationId xmlns:a16="http://schemas.microsoft.com/office/drawing/2014/main" id="{8D5B8C55-CC10-4EFA-BB63-7606D0AFDCD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38956" y="2458042"/>
            <a:ext cx="4950627" cy="2828929"/>
          </a:xfrm>
          <a:prstGeom prst="rect">
            <a:avLst/>
          </a:prstGeom>
        </p:spPr>
      </p:pic>
    </p:spTree>
    <p:extLst>
      <p:ext uri="{BB962C8B-B14F-4D97-AF65-F5344CB8AC3E}">
        <p14:creationId xmlns:p14="http://schemas.microsoft.com/office/powerpoint/2010/main" val="2697270047"/>
      </p:ext>
    </p:extLst>
  </p:cSld>
  <p:clrMapOvr>
    <a:masterClrMapping/>
  </p:clrMapOvr>
  <mc:AlternateContent xmlns:mc="http://schemas.openxmlformats.org/markup-compatibility/2006" xmlns:p14="http://schemas.microsoft.com/office/powerpoint/2010/main">
    <mc:Choice Requires="p14">
      <p:transition p14:dur="0" advTm="96917"/>
    </mc:Choice>
    <mc:Fallback xmlns="">
      <p:transition advTm="96917"/>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ayt Numarası Yer Tutucusu 5"/>
          <p:cNvSpPr txBox="1">
            <a:spLocks/>
          </p:cNvSpPr>
          <p:nvPr/>
        </p:nvSpPr>
        <p:spPr>
          <a:xfrm>
            <a:off x="2219480" y="7355187"/>
            <a:ext cx="1075483" cy="571466"/>
          </a:xfrm>
          <a:prstGeom prst="rect">
            <a:avLst/>
          </a:prstGeom>
          <a:noFill/>
          <a:ln>
            <a:miter lim="800000"/>
            <a:headEnd/>
            <a:tailEnd/>
          </a:ln>
        </p:spPr>
        <p:txBody>
          <a:bodyPr anchor="ctr"/>
          <a:lstStyle/>
          <a:p>
            <a:pPr marL="0" marR="0" lvl="0" indent="0" algn="r" defTabSz="917783" rtl="0" eaLnBrk="1" fontAlgn="auto" latinLnBrk="0" hangingPunct="1">
              <a:lnSpc>
                <a:spcPct val="100000"/>
              </a:lnSpc>
              <a:spcBef>
                <a:spcPts val="0"/>
              </a:spcBef>
              <a:spcAft>
                <a:spcPts val="0"/>
              </a:spcAft>
              <a:buClrTx/>
              <a:buSzTx/>
              <a:buFontTx/>
              <a:buNone/>
              <a:tabLst/>
              <a:defRPr/>
            </a:pPr>
            <a:fld id="{E3B29AA5-3A34-4A67-9DD6-75C837EE9A54}" type="slidenum">
              <a:rPr kumimoji="0" lang="tr-TR" sz="1204" b="0" i="0" u="none" strike="noStrike" kern="1200" cap="none" spc="0" normalizeH="0" baseline="0" noProof="0">
                <a:ln>
                  <a:noFill/>
                </a:ln>
                <a:solidFill>
                  <a:prstClr val="black">
                    <a:tint val="75000"/>
                  </a:prstClr>
                </a:solidFill>
                <a:effectLst/>
                <a:uLnTx/>
                <a:uFillTx/>
                <a:latin typeface="Roboto Black"/>
                <a:ea typeface="ヒラギノ角ゴ Pro W3" pitchFamily="1" charset="-128"/>
                <a:cs typeface="+mn-cs"/>
              </a:rPr>
              <a:pPr marL="0" marR="0" lvl="0" indent="0" algn="r" defTabSz="917783" rtl="0" eaLnBrk="1" fontAlgn="auto" latinLnBrk="0" hangingPunct="1">
                <a:lnSpc>
                  <a:spcPct val="100000"/>
                </a:lnSpc>
                <a:spcBef>
                  <a:spcPts val="0"/>
                </a:spcBef>
                <a:spcAft>
                  <a:spcPts val="0"/>
                </a:spcAft>
                <a:buClrTx/>
                <a:buSzTx/>
                <a:buFontTx/>
                <a:buNone/>
                <a:tabLst/>
                <a:defRPr/>
              </a:pPr>
              <a:t>39</a:t>
            </a:fld>
            <a:endParaRPr kumimoji="0" lang="tr-TR" sz="1204" b="0" i="0" u="none" strike="noStrike" kern="1200" cap="none" spc="0" normalizeH="0" baseline="0" noProof="0" dirty="0">
              <a:ln>
                <a:noFill/>
              </a:ln>
              <a:solidFill>
                <a:prstClr val="black">
                  <a:tint val="75000"/>
                </a:prstClr>
              </a:solidFill>
              <a:effectLst/>
              <a:uLnTx/>
              <a:uFillTx/>
              <a:latin typeface="Roboto Black"/>
              <a:ea typeface="ヒラギノ角ゴ Pro W3" pitchFamily="1" charset="-128"/>
              <a:cs typeface="+mn-cs"/>
            </a:endParaRPr>
          </a:p>
        </p:txBody>
      </p:sp>
      <p:pic>
        <p:nvPicPr>
          <p:cNvPr id="8" name="Picture 3"/>
          <p:cNvPicPr>
            <a:picLocks noChangeAspect="1" noChangeArrowheads="1"/>
          </p:cNvPicPr>
          <p:nvPr/>
        </p:nvPicPr>
        <p:blipFill>
          <a:blip r:embed="rId3" cstate="print"/>
          <a:srcRect/>
          <a:stretch>
            <a:fillRect/>
          </a:stretch>
        </p:blipFill>
        <p:spPr bwMode="auto">
          <a:xfrm>
            <a:off x="11299547" y="130154"/>
            <a:ext cx="722715" cy="509772"/>
          </a:xfrm>
          <a:prstGeom prst="rect">
            <a:avLst/>
          </a:prstGeom>
          <a:noFill/>
          <a:ln w="9525">
            <a:noFill/>
            <a:miter lim="800000"/>
            <a:headEnd/>
            <a:tailEnd/>
          </a:ln>
        </p:spPr>
      </p:pic>
      <p:sp>
        <p:nvSpPr>
          <p:cNvPr id="12" name="5 Metin kutusu"/>
          <p:cNvSpPr txBox="1"/>
          <p:nvPr/>
        </p:nvSpPr>
        <p:spPr>
          <a:xfrm>
            <a:off x="1953110" y="759607"/>
            <a:ext cx="3308919" cy="43088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200" b="1" i="0" u="none" strike="noStrike" kern="1200" cap="none" spc="0" normalizeH="0" baseline="0" noProof="0" dirty="0">
                <a:ln>
                  <a:noFill/>
                </a:ln>
                <a:solidFill>
                  <a:srgbClr val="5B9BD5">
                    <a:lumMod val="75000"/>
                  </a:srgbClr>
                </a:solidFill>
                <a:effectLst/>
                <a:uLnTx/>
                <a:uFillTx/>
                <a:latin typeface="Roboto Black"/>
                <a:ea typeface="ヒラギノ角ゴ Pro W3" pitchFamily="1" charset="-128"/>
                <a:cs typeface="Times New Roman" panose="02020603050405020304" pitchFamily="18" charset="0"/>
              </a:rPr>
              <a:t>BAŞVURU KOŞULLARI</a:t>
            </a:r>
          </a:p>
        </p:txBody>
      </p:sp>
      <p:sp>
        <p:nvSpPr>
          <p:cNvPr id="4" name="Slayt Numarası Yer Tutucusu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17BAC-AD27-4367-93BC-03BF7B01E6B3}" type="slidenum">
              <a:rPr kumimoji="0" lang="en-US" sz="1200" b="0" i="0" u="none" strike="noStrike" kern="1200" cap="none" spc="0" normalizeH="0" baseline="0" noProof="0" smtClean="0">
                <a:ln>
                  <a:noFill/>
                </a:ln>
                <a:solidFill>
                  <a:prstClr val="black">
                    <a:tint val="75000"/>
                  </a:prstClr>
                </a:solidFill>
                <a:effectLst/>
                <a:uLnTx/>
                <a:uFillTx/>
                <a:latin typeface="Roboto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tint val="75000"/>
                </a:prstClr>
              </a:solidFill>
              <a:effectLst/>
              <a:uLnTx/>
              <a:uFillTx/>
              <a:latin typeface="Roboto Black"/>
              <a:ea typeface="+mn-ea"/>
              <a:cs typeface="+mn-cs"/>
            </a:endParaRPr>
          </a:p>
        </p:txBody>
      </p:sp>
      <p:grpSp>
        <p:nvGrpSpPr>
          <p:cNvPr id="10" name="Grup 9">
            <a:extLst>
              <a:ext uri="{FF2B5EF4-FFF2-40B4-BE49-F238E27FC236}">
                <a16:creationId xmlns:a16="http://schemas.microsoft.com/office/drawing/2014/main" id="{A0640666-DC28-4C9D-B3CB-3C9CD1060459}"/>
              </a:ext>
            </a:extLst>
          </p:cNvPr>
          <p:cNvGrpSpPr/>
          <p:nvPr/>
        </p:nvGrpSpPr>
        <p:grpSpPr>
          <a:xfrm>
            <a:off x="838200" y="1149698"/>
            <a:ext cx="10763864" cy="868564"/>
            <a:chOff x="1893575" y="203804"/>
            <a:chExt cx="8824604" cy="1271852"/>
          </a:xfrm>
        </p:grpSpPr>
        <p:sp>
          <p:nvSpPr>
            <p:cNvPr id="14" name="Ok: Beşgen 13">
              <a:extLst>
                <a:ext uri="{FF2B5EF4-FFF2-40B4-BE49-F238E27FC236}">
                  <a16:creationId xmlns:a16="http://schemas.microsoft.com/office/drawing/2014/main" id="{8C941203-37C2-43A9-926F-2CB524B71D9B}"/>
                </a:ext>
              </a:extLst>
            </p:cNvPr>
            <p:cNvSpPr/>
            <p:nvPr/>
          </p:nvSpPr>
          <p:spPr>
            <a:xfrm rot="10800000">
              <a:off x="1893575" y="203804"/>
              <a:ext cx="8824604" cy="1237560"/>
            </a:xfrm>
            <a:prstGeom prst="homePlate">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5" name="Ok: Beşgen 4">
              <a:extLst>
                <a:ext uri="{FF2B5EF4-FFF2-40B4-BE49-F238E27FC236}">
                  <a16:creationId xmlns:a16="http://schemas.microsoft.com/office/drawing/2014/main" id="{96FB9F4C-4CD1-43E4-AD72-47D9722354D8}"/>
                </a:ext>
              </a:extLst>
            </p:cNvPr>
            <p:cNvSpPr txBox="1"/>
            <p:nvPr/>
          </p:nvSpPr>
          <p:spPr>
            <a:xfrm>
              <a:off x="2284236" y="317741"/>
              <a:ext cx="8337647" cy="11579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8941" tIns="106680" rIns="199136" bIns="106680" numCol="1" spcCol="1270" anchor="ctr" anchorCtr="0">
              <a:noAutofit/>
            </a:bodyPr>
            <a:lstStyle/>
            <a:p>
              <a:pPr marL="452438" marR="0" lvl="0" indent="0" algn="l" defTabSz="1244600" rtl="0" eaLnBrk="1" fontAlgn="auto" latinLnBrk="0" hangingPunct="1">
                <a:lnSpc>
                  <a:spcPct val="90000"/>
                </a:lnSpc>
                <a:spcBef>
                  <a:spcPct val="0"/>
                </a:spcBef>
                <a:spcAft>
                  <a:spcPct val="35000"/>
                </a:spcAft>
                <a:buClrTx/>
                <a:buSzTx/>
                <a:buFontTx/>
                <a:buNone/>
                <a:tabLst/>
                <a:defRPr/>
              </a:pPr>
              <a:r>
                <a:rPr kumimoji="0" lang="tr-TR" sz="2000" b="1" i="0" u="none" strike="noStrike" kern="1200" cap="none" spc="0" normalizeH="0" baseline="0" noProof="0" dirty="0">
                  <a:ln>
                    <a:noFill/>
                  </a:ln>
                  <a:solidFill>
                    <a:prstClr val="white"/>
                  </a:solidFill>
                  <a:effectLst/>
                  <a:uLnTx/>
                  <a:uFillTx/>
                  <a:latin typeface="Roboto Black"/>
                  <a:ea typeface="+mn-ea"/>
                  <a:cs typeface="+mn-cs"/>
                </a:rPr>
                <a:t>Ar-Ge/Yenilik Faaliyetleri Sonucu Ortaya Çıkan Ürünler İçin Başvuru Süreleri</a:t>
              </a:r>
              <a:endParaRPr kumimoji="0" lang="tr-TR" sz="2000" b="0" i="0" u="none" strike="noStrike" kern="1200" cap="none" spc="0" normalizeH="0" baseline="0" noProof="0" dirty="0">
                <a:ln>
                  <a:noFill/>
                </a:ln>
                <a:solidFill>
                  <a:prstClr val="white"/>
                </a:solidFill>
                <a:effectLst/>
                <a:uLnTx/>
                <a:uFillTx/>
                <a:latin typeface="Roboto Black"/>
                <a:ea typeface="+mn-ea"/>
                <a:cs typeface="+mn-cs"/>
              </a:endParaRPr>
            </a:p>
          </p:txBody>
        </p:sp>
      </p:grpSp>
      <p:sp>
        <p:nvSpPr>
          <p:cNvPr id="13" name="Oval 12">
            <a:extLst>
              <a:ext uri="{FF2B5EF4-FFF2-40B4-BE49-F238E27FC236}">
                <a16:creationId xmlns:a16="http://schemas.microsoft.com/office/drawing/2014/main" id="{1C7F8297-A1D3-43E6-B9B1-12BEB2AA9EE9}"/>
              </a:ext>
            </a:extLst>
          </p:cNvPr>
          <p:cNvSpPr/>
          <p:nvPr/>
        </p:nvSpPr>
        <p:spPr>
          <a:xfrm>
            <a:off x="1233529" y="1348816"/>
            <a:ext cx="985951" cy="990070"/>
          </a:xfrm>
          <a:prstGeom prst="ellipse">
            <a:avLst/>
          </a:prstGeom>
          <a:blipFill>
            <a:blip r:embed="rId4">
              <a:extLst>
                <a:ext uri="{28A0092B-C50C-407E-A947-70E740481C1C}">
                  <a14:useLocalDpi xmlns:a14="http://schemas.microsoft.com/office/drawing/2010/main" val="0"/>
                </a:ext>
              </a:extLst>
            </a:blip>
            <a:srcRect/>
            <a:stretch>
              <a:fillRect l="-17000" r="-17000"/>
            </a:stretch>
          </a:blipFill>
        </p:spPr>
        <p:style>
          <a:lnRef idx="2">
            <a:schemeClr val="lt1">
              <a:hueOff val="0"/>
              <a:satOff val="0"/>
              <a:lumOff val="0"/>
              <a:alphaOff val="0"/>
            </a:schemeClr>
          </a:lnRef>
          <a:fillRef idx="1">
            <a:scrgbClr r="0" g="0" b="0"/>
          </a:fillRef>
          <a:effectRef idx="0">
            <a:schemeClr val="accent4">
              <a:tint val="50000"/>
              <a:hueOff val="0"/>
              <a:satOff val="0"/>
              <a:lumOff val="0"/>
              <a:alphaOff val="0"/>
            </a:schemeClr>
          </a:effectRef>
          <a:fontRef idx="minor">
            <a:schemeClr val="lt1">
              <a:hueOff val="0"/>
              <a:satOff val="0"/>
              <a:lumOff val="0"/>
              <a:alphaOff val="0"/>
            </a:schemeClr>
          </a:fontRef>
        </p:style>
      </p:sp>
      <p:sp>
        <p:nvSpPr>
          <p:cNvPr id="16" name="4 Metin kutusu">
            <a:extLst>
              <a:ext uri="{FF2B5EF4-FFF2-40B4-BE49-F238E27FC236}">
                <a16:creationId xmlns:a16="http://schemas.microsoft.com/office/drawing/2014/main" id="{5A58B7D6-DC56-40B1-8BC9-108F31D2F888}"/>
              </a:ext>
            </a:extLst>
          </p:cNvPr>
          <p:cNvSpPr txBox="1"/>
          <p:nvPr/>
        </p:nvSpPr>
        <p:spPr>
          <a:xfrm>
            <a:off x="1953110" y="409093"/>
            <a:ext cx="10849205"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0" b="1" i="0" u="none" strike="noStrike" kern="1200" cap="none" spc="0" normalizeH="0" baseline="0" noProof="0" dirty="0">
                <a:ln>
                  <a:noFill/>
                </a:ln>
                <a:solidFill>
                  <a:prstClr val="black"/>
                </a:solidFill>
                <a:effectLst/>
                <a:uLnTx/>
                <a:uFillTx/>
                <a:latin typeface="Roboto Black"/>
                <a:ea typeface="ヒラギノ角ゴ Pro W3" pitchFamily="1" charset="-128"/>
                <a:cs typeface="Times New Roman" panose="02020603050405020304" pitchFamily="18" charset="0"/>
              </a:rPr>
              <a:t>KOBİ TEKNOYATIRIM DESTEK PROGRAMI</a:t>
            </a:r>
          </a:p>
        </p:txBody>
      </p:sp>
      <p:pic>
        <p:nvPicPr>
          <p:cNvPr id="90" name="Resim 89">
            <a:extLst>
              <a:ext uri="{FF2B5EF4-FFF2-40B4-BE49-F238E27FC236}">
                <a16:creationId xmlns:a16="http://schemas.microsoft.com/office/drawing/2014/main" id="{6448EF62-FE65-453C-9B1F-8D50C691777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6776" y="260382"/>
            <a:ext cx="1204630" cy="702701"/>
          </a:xfrm>
          <a:prstGeom prst="rect">
            <a:avLst/>
          </a:prstGeom>
        </p:spPr>
      </p:pic>
      <p:graphicFrame>
        <p:nvGraphicFramePr>
          <p:cNvPr id="6" name="Diyagram 5">
            <a:extLst>
              <a:ext uri="{FF2B5EF4-FFF2-40B4-BE49-F238E27FC236}">
                <a16:creationId xmlns:a16="http://schemas.microsoft.com/office/drawing/2014/main" id="{3A857145-7A4F-4A22-AEBB-255CB1F6962C}"/>
              </a:ext>
            </a:extLst>
          </p:cNvPr>
          <p:cNvGraphicFramePr/>
          <p:nvPr>
            <p:extLst/>
          </p:nvPr>
        </p:nvGraphicFramePr>
        <p:xfrm>
          <a:off x="838200" y="1736972"/>
          <a:ext cx="10763864" cy="473744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631112429"/>
      </p:ext>
    </p:extLst>
  </p:cSld>
  <p:clrMapOvr>
    <a:masterClrMapping/>
  </p:clrMapOvr>
  <mc:AlternateContent xmlns:mc="http://schemas.openxmlformats.org/markup-compatibility/2006" xmlns:p14="http://schemas.microsoft.com/office/powerpoint/2010/main">
    <mc:Choice Requires="p14">
      <p:transition p14:dur="0" advTm="96917"/>
    </mc:Choice>
    <mc:Fallback xmlns="">
      <p:transition advTm="96917"/>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etin kutusu"/>
          <p:cNvSpPr txBox="1"/>
          <p:nvPr/>
        </p:nvSpPr>
        <p:spPr>
          <a:xfrm>
            <a:off x="1904010" y="248874"/>
            <a:ext cx="8745358" cy="463353"/>
          </a:xfrm>
          <a:prstGeom prst="rect">
            <a:avLst/>
          </a:prstGeom>
          <a:noFill/>
        </p:spPr>
        <p:txBody>
          <a:bodyPr wrap="square" lIns="91751" tIns="45876" rIns="91751" bIns="45876" rtlCol="0">
            <a:spAutoFit/>
          </a:bodyPr>
          <a:lstStyle/>
          <a:p>
            <a:r>
              <a:rPr lang="tr-TR" sz="2409" b="1" dirty="0">
                <a:solidFill>
                  <a:srgbClr val="00BAD5"/>
                </a:solidFill>
              </a:rPr>
              <a:t>KOSGEB Tarafından Desteklenen Sektörler</a:t>
            </a:r>
          </a:p>
        </p:txBody>
      </p:sp>
      <p:sp>
        <p:nvSpPr>
          <p:cNvPr id="4" name="Slayt Numarası Yer Tutucusu 3"/>
          <p:cNvSpPr>
            <a:spLocks noGrp="1"/>
          </p:cNvSpPr>
          <p:nvPr>
            <p:ph type="sldNum" sz="quarter" idx="12"/>
          </p:nvPr>
        </p:nvSpPr>
        <p:spPr>
          <a:xfrm>
            <a:off x="9226598" y="6394555"/>
            <a:ext cx="2141532" cy="365125"/>
          </a:xfrm>
        </p:spPr>
        <p:txBody>
          <a:bodyPr/>
          <a:lstStyle/>
          <a:p>
            <a:pPr>
              <a:defRPr/>
            </a:pPr>
            <a:fld id="{FF16F97C-866D-4F85-A1F6-DDF39F62CB6A}" type="slidenum">
              <a:rPr lang="en-CA" smtClean="0">
                <a:solidFill>
                  <a:prstClr val="black">
                    <a:tint val="75000"/>
                  </a:prstClr>
                </a:solidFill>
              </a:rPr>
              <a:pPr>
                <a:defRPr/>
              </a:pPr>
              <a:t>4</a:t>
            </a:fld>
            <a:endParaRPr lang="en-CA" dirty="0">
              <a:solidFill>
                <a:prstClr val="black">
                  <a:tint val="75000"/>
                </a:prstClr>
              </a:solidFill>
            </a:endParaRPr>
          </a:p>
        </p:txBody>
      </p:sp>
      <p:sp>
        <p:nvSpPr>
          <p:cNvPr id="3" name="Sağ Ok 2"/>
          <p:cNvSpPr/>
          <p:nvPr/>
        </p:nvSpPr>
        <p:spPr>
          <a:xfrm>
            <a:off x="1687183" y="827079"/>
            <a:ext cx="1373288" cy="1445514"/>
          </a:xfrm>
          <a:prstGeom prst="rightArrow">
            <a:avLst/>
          </a:prstGeom>
          <a:solidFill>
            <a:srgbClr val="00BAD5"/>
          </a:solidFill>
        </p:spPr>
        <p:style>
          <a:lnRef idx="2">
            <a:schemeClr val="accent5">
              <a:shade val="50000"/>
            </a:schemeClr>
          </a:lnRef>
          <a:fillRef idx="1">
            <a:schemeClr val="accent5"/>
          </a:fillRef>
          <a:effectRef idx="0">
            <a:schemeClr val="accent5"/>
          </a:effectRef>
          <a:fontRef idx="minor">
            <a:schemeClr val="lt1"/>
          </a:fontRef>
        </p:style>
        <p:txBody>
          <a:bodyPr lIns="91751" tIns="45876" rIns="91751" bIns="45876" rtlCol="0" anchor="ctr"/>
          <a:lstStyle/>
          <a:p>
            <a:pPr algn="ctr"/>
            <a:endParaRPr lang="tr-TR" sz="1807">
              <a:solidFill>
                <a:prstClr val="white"/>
              </a:solidFill>
            </a:endParaRPr>
          </a:p>
        </p:txBody>
      </p:sp>
      <p:sp>
        <p:nvSpPr>
          <p:cNvPr id="6" name="Metin kutusu 5"/>
          <p:cNvSpPr txBox="1"/>
          <p:nvPr/>
        </p:nvSpPr>
        <p:spPr>
          <a:xfrm>
            <a:off x="1542633" y="1149403"/>
            <a:ext cx="1445564" cy="834057"/>
          </a:xfrm>
          <a:prstGeom prst="rect">
            <a:avLst/>
          </a:prstGeom>
          <a:noFill/>
        </p:spPr>
        <p:txBody>
          <a:bodyPr wrap="square" lIns="91751" tIns="45876" rIns="91751" bIns="45876" rtlCol="0">
            <a:spAutoFit/>
          </a:bodyPr>
          <a:lstStyle/>
          <a:p>
            <a:pPr algn="ctr"/>
            <a:r>
              <a:rPr lang="tr-TR" sz="2409" b="1" dirty="0">
                <a:solidFill>
                  <a:srgbClr val="FFFFFF"/>
                </a:solidFill>
              </a:rPr>
              <a:t>1990 </a:t>
            </a:r>
            <a:r>
              <a:rPr lang="tr-TR" sz="2409" b="1" dirty="0" smtClean="0">
                <a:solidFill>
                  <a:srgbClr val="FFFFFF"/>
                </a:solidFill>
              </a:rPr>
              <a:t>-2009</a:t>
            </a:r>
            <a:endParaRPr lang="tr-TR" sz="2409" b="1" dirty="0">
              <a:solidFill>
                <a:srgbClr val="FFFFFF"/>
              </a:solidFill>
            </a:endParaRPr>
          </a:p>
        </p:txBody>
      </p:sp>
      <p:graphicFrame>
        <p:nvGraphicFramePr>
          <p:cNvPr id="13" name="Tablo 12"/>
          <p:cNvGraphicFramePr>
            <a:graphicFrameLocks noGrp="1"/>
          </p:cNvGraphicFramePr>
          <p:nvPr>
            <p:extLst/>
          </p:nvPr>
        </p:nvGraphicFramePr>
        <p:xfrm>
          <a:off x="3204973" y="827079"/>
          <a:ext cx="2674201" cy="1445514"/>
        </p:xfrm>
        <a:graphic>
          <a:graphicData uri="http://schemas.openxmlformats.org/drawingml/2006/table">
            <a:tbl>
              <a:tblPr firstRow="1" bandRow="1">
                <a:tableStyleId>{BDBED569-4797-4DF1-A0F4-6AAB3CD982D8}</a:tableStyleId>
              </a:tblPr>
              <a:tblGrid>
                <a:gridCol w="1108815">
                  <a:extLst>
                    <a:ext uri="{9D8B030D-6E8A-4147-A177-3AD203B41FA5}">
                      <a16:colId xmlns:a16="http://schemas.microsoft.com/office/drawing/2014/main" val="20000"/>
                    </a:ext>
                  </a:extLst>
                </a:gridCol>
                <a:gridCol w="1565386">
                  <a:extLst>
                    <a:ext uri="{9D8B030D-6E8A-4147-A177-3AD203B41FA5}">
                      <a16:colId xmlns:a16="http://schemas.microsoft.com/office/drawing/2014/main" val="20001"/>
                    </a:ext>
                  </a:extLst>
                </a:gridCol>
              </a:tblGrid>
              <a:tr h="1445514">
                <a:tc>
                  <a:txBody>
                    <a:bodyPr/>
                    <a:lstStyle/>
                    <a:p>
                      <a:r>
                        <a:rPr lang="tr-TR" sz="1900" dirty="0" smtClean="0"/>
                        <a:t>SANAYİ</a:t>
                      </a:r>
                      <a:endParaRPr lang="tr-TR" sz="1900" dirty="0"/>
                    </a:p>
                  </a:txBody>
                  <a:tcPr marL="91780" marR="91780" marT="45889" marB="45889" anchor="ctr">
                    <a:solidFill>
                      <a:schemeClr val="bg1">
                        <a:lumMod val="95000"/>
                      </a:schemeClr>
                    </a:solidFill>
                  </a:tcPr>
                </a:tc>
                <a:tc>
                  <a:txBody>
                    <a:bodyPr/>
                    <a:lstStyle/>
                    <a:p>
                      <a:pPr marL="285750" indent="-285750">
                        <a:buFont typeface="Wingdings" pitchFamily="2" charset="2"/>
                        <a:buChar char="ü"/>
                      </a:pPr>
                      <a:r>
                        <a:rPr lang="tr-TR" sz="1800" dirty="0" smtClean="0"/>
                        <a:t>Madencilik</a:t>
                      </a:r>
                    </a:p>
                    <a:p>
                      <a:pPr marL="285750" indent="-285750">
                        <a:buFont typeface="Wingdings" pitchFamily="2" charset="2"/>
                        <a:buChar char="ü"/>
                      </a:pPr>
                      <a:r>
                        <a:rPr lang="tr-TR" sz="1800" dirty="0" smtClean="0"/>
                        <a:t>İmalat</a:t>
                      </a:r>
                    </a:p>
                    <a:p>
                      <a:pPr marL="285750" indent="-285750">
                        <a:buFont typeface="Wingdings" pitchFamily="2" charset="2"/>
                        <a:buChar char="ü"/>
                      </a:pPr>
                      <a:r>
                        <a:rPr lang="tr-TR" sz="1800" dirty="0" smtClean="0"/>
                        <a:t>Enerji</a:t>
                      </a:r>
                      <a:endParaRPr lang="tr-TR" sz="1800" dirty="0"/>
                    </a:p>
                  </a:txBody>
                  <a:tcPr marL="91780" marR="91780" marT="45889" marB="45889" anchor="ctr">
                    <a:solidFill>
                      <a:schemeClr val="bg1">
                        <a:lumMod val="95000"/>
                      </a:schemeClr>
                    </a:solidFill>
                  </a:tcPr>
                </a:tc>
                <a:extLst>
                  <a:ext uri="{0D108BD9-81ED-4DB2-BD59-A6C34878D82A}">
                    <a16:rowId xmlns:a16="http://schemas.microsoft.com/office/drawing/2014/main" val="10000"/>
                  </a:ext>
                </a:extLst>
              </a:tr>
            </a:tbl>
          </a:graphicData>
        </a:graphic>
      </p:graphicFrame>
      <p:sp>
        <p:nvSpPr>
          <p:cNvPr id="15" name="Sağ Ok 14"/>
          <p:cNvSpPr/>
          <p:nvPr/>
        </p:nvSpPr>
        <p:spPr>
          <a:xfrm>
            <a:off x="1614907" y="3790384"/>
            <a:ext cx="1373238" cy="1445514"/>
          </a:xfrm>
          <a:prstGeom prst="rightArrow">
            <a:avLst/>
          </a:prstGeom>
          <a:solidFill>
            <a:srgbClr val="00BAD5"/>
          </a:solidFill>
        </p:spPr>
        <p:style>
          <a:lnRef idx="2">
            <a:schemeClr val="accent5">
              <a:shade val="50000"/>
            </a:schemeClr>
          </a:lnRef>
          <a:fillRef idx="1">
            <a:schemeClr val="accent5"/>
          </a:fillRef>
          <a:effectRef idx="0">
            <a:schemeClr val="accent5"/>
          </a:effectRef>
          <a:fontRef idx="minor">
            <a:schemeClr val="lt1"/>
          </a:fontRef>
        </p:style>
        <p:txBody>
          <a:bodyPr lIns="91751" tIns="45876" rIns="91751" bIns="45876" rtlCol="0" anchor="ctr"/>
          <a:lstStyle/>
          <a:p>
            <a:pPr algn="ctr"/>
            <a:endParaRPr lang="tr-TR" sz="1807">
              <a:solidFill>
                <a:prstClr val="white"/>
              </a:solidFill>
            </a:endParaRPr>
          </a:p>
        </p:txBody>
      </p:sp>
      <p:sp>
        <p:nvSpPr>
          <p:cNvPr id="16" name="Metin kutusu 15"/>
          <p:cNvSpPr txBox="1"/>
          <p:nvPr/>
        </p:nvSpPr>
        <p:spPr>
          <a:xfrm>
            <a:off x="1398082" y="4163996"/>
            <a:ext cx="1662391" cy="710489"/>
          </a:xfrm>
          <a:prstGeom prst="rect">
            <a:avLst/>
          </a:prstGeom>
          <a:noFill/>
        </p:spPr>
        <p:txBody>
          <a:bodyPr wrap="square" lIns="91751" tIns="45876" rIns="91751" bIns="45876" rtlCol="0">
            <a:spAutoFit/>
          </a:bodyPr>
          <a:lstStyle/>
          <a:p>
            <a:pPr algn="ctr"/>
            <a:r>
              <a:rPr lang="tr-TR" sz="2007" b="1" dirty="0">
                <a:solidFill>
                  <a:srgbClr val="FFFFFF"/>
                </a:solidFill>
              </a:rPr>
              <a:t>2009 -Günümüz</a:t>
            </a:r>
          </a:p>
        </p:txBody>
      </p:sp>
      <p:graphicFrame>
        <p:nvGraphicFramePr>
          <p:cNvPr id="17" name="Tablo 16"/>
          <p:cNvGraphicFramePr>
            <a:graphicFrameLocks noGrp="1"/>
          </p:cNvGraphicFramePr>
          <p:nvPr>
            <p:extLst/>
          </p:nvPr>
        </p:nvGraphicFramePr>
        <p:xfrm>
          <a:off x="3132697" y="3790382"/>
          <a:ext cx="2674201" cy="1662342"/>
        </p:xfrm>
        <a:graphic>
          <a:graphicData uri="http://schemas.openxmlformats.org/drawingml/2006/table">
            <a:tbl>
              <a:tblPr firstRow="1" bandRow="1">
                <a:tableStyleId>{BDBED569-4797-4DF1-A0F4-6AAB3CD982D8}</a:tableStyleId>
              </a:tblPr>
              <a:tblGrid>
                <a:gridCol w="1108815">
                  <a:extLst>
                    <a:ext uri="{9D8B030D-6E8A-4147-A177-3AD203B41FA5}">
                      <a16:colId xmlns:a16="http://schemas.microsoft.com/office/drawing/2014/main" val="20000"/>
                    </a:ext>
                  </a:extLst>
                </a:gridCol>
                <a:gridCol w="1565386">
                  <a:extLst>
                    <a:ext uri="{9D8B030D-6E8A-4147-A177-3AD203B41FA5}">
                      <a16:colId xmlns:a16="http://schemas.microsoft.com/office/drawing/2014/main" val="20001"/>
                    </a:ext>
                  </a:extLst>
                </a:gridCol>
              </a:tblGrid>
              <a:tr h="1662342">
                <a:tc>
                  <a:txBody>
                    <a:bodyPr/>
                    <a:lstStyle/>
                    <a:p>
                      <a:r>
                        <a:rPr lang="tr-TR" sz="1900" dirty="0" smtClean="0"/>
                        <a:t>SANAYİ</a:t>
                      </a:r>
                      <a:endParaRPr lang="tr-TR" sz="1900" dirty="0"/>
                    </a:p>
                  </a:txBody>
                  <a:tcPr marL="91780" marR="91780" marT="45889" marB="45889" anchor="ctr">
                    <a:solidFill>
                      <a:schemeClr val="bg1">
                        <a:lumMod val="95000"/>
                      </a:schemeClr>
                    </a:solidFill>
                  </a:tcPr>
                </a:tc>
                <a:tc>
                  <a:txBody>
                    <a:bodyPr/>
                    <a:lstStyle/>
                    <a:p>
                      <a:pPr marL="285750" indent="-285750">
                        <a:buFont typeface="Wingdings" pitchFamily="2" charset="2"/>
                        <a:buChar char="ü"/>
                      </a:pPr>
                      <a:r>
                        <a:rPr lang="tr-TR" sz="1800" dirty="0" smtClean="0"/>
                        <a:t>Madencilik</a:t>
                      </a:r>
                    </a:p>
                    <a:p>
                      <a:pPr marL="285750" indent="-285750">
                        <a:buFont typeface="Wingdings" pitchFamily="2" charset="2"/>
                        <a:buChar char="ü"/>
                      </a:pPr>
                      <a:r>
                        <a:rPr lang="tr-TR" sz="1800" dirty="0" smtClean="0"/>
                        <a:t>İmalat</a:t>
                      </a:r>
                    </a:p>
                    <a:p>
                      <a:pPr marL="285750" indent="-285750">
                        <a:buFont typeface="Wingdings" pitchFamily="2" charset="2"/>
                        <a:buChar char="ü"/>
                      </a:pPr>
                      <a:r>
                        <a:rPr lang="tr-TR" sz="1800" dirty="0" smtClean="0"/>
                        <a:t>Enerji</a:t>
                      </a:r>
                      <a:endParaRPr lang="tr-TR" sz="1800" dirty="0"/>
                    </a:p>
                  </a:txBody>
                  <a:tcPr marL="91780" marR="91780" marT="45889" marB="45889" anchor="ctr">
                    <a:solidFill>
                      <a:schemeClr val="bg1">
                        <a:lumMod val="95000"/>
                      </a:schemeClr>
                    </a:solidFill>
                  </a:tcPr>
                </a:tc>
                <a:extLst>
                  <a:ext uri="{0D108BD9-81ED-4DB2-BD59-A6C34878D82A}">
                    <a16:rowId xmlns:a16="http://schemas.microsoft.com/office/drawing/2014/main" val="10000"/>
                  </a:ext>
                </a:extLst>
              </a:tr>
            </a:tbl>
          </a:graphicData>
        </a:graphic>
      </p:graphicFrame>
      <p:sp>
        <p:nvSpPr>
          <p:cNvPr id="18" name="Metin kutusu 17"/>
          <p:cNvSpPr txBox="1"/>
          <p:nvPr/>
        </p:nvSpPr>
        <p:spPr>
          <a:xfrm>
            <a:off x="5734622" y="4215292"/>
            <a:ext cx="180689" cy="571475"/>
          </a:xfrm>
          <a:prstGeom prst="rect">
            <a:avLst/>
          </a:prstGeom>
          <a:noFill/>
        </p:spPr>
        <p:txBody>
          <a:bodyPr wrap="square" lIns="91751" tIns="45876" rIns="91751" bIns="45876" rtlCol="0">
            <a:spAutoFit/>
          </a:bodyPr>
          <a:lstStyle/>
          <a:p>
            <a:r>
              <a:rPr lang="tr-TR" sz="3111" dirty="0">
                <a:solidFill>
                  <a:srgbClr val="FF0000"/>
                </a:solidFill>
              </a:rPr>
              <a:t>+</a:t>
            </a:r>
          </a:p>
        </p:txBody>
      </p:sp>
      <p:graphicFrame>
        <p:nvGraphicFramePr>
          <p:cNvPr id="20" name="Tablo 19"/>
          <p:cNvGraphicFramePr>
            <a:graphicFrameLocks noGrp="1"/>
          </p:cNvGraphicFramePr>
          <p:nvPr>
            <p:extLst/>
          </p:nvPr>
        </p:nvGraphicFramePr>
        <p:xfrm>
          <a:off x="6023725" y="2874076"/>
          <a:ext cx="3830612" cy="3520479"/>
        </p:xfrm>
        <a:graphic>
          <a:graphicData uri="http://schemas.openxmlformats.org/drawingml/2006/table">
            <a:tbl>
              <a:tblPr firstRow="1" bandRow="1">
                <a:tableStyleId>{BDBED569-4797-4DF1-A0F4-6AAB3CD982D8}</a:tableStyleId>
              </a:tblPr>
              <a:tblGrid>
                <a:gridCol w="939584">
                  <a:extLst>
                    <a:ext uri="{9D8B030D-6E8A-4147-A177-3AD203B41FA5}">
                      <a16:colId xmlns:a16="http://schemas.microsoft.com/office/drawing/2014/main" val="20000"/>
                    </a:ext>
                  </a:extLst>
                </a:gridCol>
                <a:gridCol w="2891028">
                  <a:extLst>
                    <a:ext uri="{9D8B030D-6E8A-4147-A177-3AD203B41FA5}">
                      <a16:colId xmlns:a16="http://schemas.microsoft.com/office/drawing/2014/main" val="20001"/>
                    </a:ext>
                  </a:extLst>
                </a:gridCol>
              </a:tblGrid>
              <a:tr h="3520479">
                <a:tc>
                  <a:txBody>
                    <a:bodyPr/>
                    <a:lstStyle/>
                    <a:p>
                      <a:pPr algn="ctr"/>
                      <a:r>
                        <a:rPr lang="tr-TR" sz="1600" dirty="0" smtClean="0"/>
                        <a:t>TİCARET VE HİZMET</a:t>
                      </a:r>
                      <a:endParaRPr lang="tr-TR" sz="1600" dirty="0"/>
                    </a:p>
                  </a:txBody>
                  <a:tcPr marL="91780" marR="91780" marT="45889" marB="45889" anchor="ctr">
                    <a:solidFill>
                      <a:schemeClr val="accent6">
                        <a:lumMod val="20000"/>
                        <a:lumOff val="80000"/>
                      </a:schemeClr>
                    </a:solidFill>
                  </a:tcPr>
                </a:tc>
                <a:tc>
                  <a:txBody>
                    <a:bodyPr/>
                    <a:lstStyle/>
                    <a:p>
                      <a:pPr marL="285750" indent="-285750">
                        <a:buFont typeface="Wingdings" pitchFamily="2" charset="2"/>
                        <a:buChar char="ü"/>
                      </a:pPr>
                      <a:r>
                        <a:rPr lang="tr-TR" sz="1600" dirty="0" smtClean="0"/>
                        <a:t>Su</a:t>
                      </a:r>
                      <a:r>
                        <a:rPr lang="tr-TR" sz="1600" baseline="0" dirty="0" smtClean="0"/>
                        <a:t> Temini</a:t>
                      </a:r>
                    </a:p>
                    <a:p>
                      <a:pPr marL="285750" indent="-285750">
                        <a:buFont typeface="Wingdings" pitchFamily="2" charset="2"/>
                        <a:buChar char="ü"/>
                      </a:pPr>
                      <a:r>
                        <a:rPr lang="tr-TR" sz="1600" baseline="0" dirty="0" smtClean="0"/>
                        <a:t>İnşaat</a:t>
                      </a:r>
                    </a:p>
                    <a:p>
                      <a:pPr marL="285750" indent="-285750">
                        <a:buFont typeface="Wingdings" pitchFamily="2" charset="2"/>
                        <a:buChar char="ü"/>
                      </a:pPr>
                      <a:r>
                        <a:rPr lang="tr-TR" sz="1600" baseline="0" dirty="0" smtClean="0"/>
                        <a:t>Ticaret</a:t>
                      </a:r>
                    </a:p>
                    <a:p>
                      <a:pPr marL="285750" indent="-285750">
                        <a:buFont typeface="Wingdings" pitchFamily="2" charset="2"/>
                        <a:buChar char="ü"/>
                      </a:pPr>
                      <a:r>
                        <a:rPr lang="tr-TR" sz="1600" baseline="0" dirty="0" smtClean="0"/>
                        <a:t>Ulaştırma</a:t>
                      </a:r>
                    </a:p>
                    <a:p>
                      <a:pPr marL="285750" indent="-285750">
                        <a:buFont typeface="Wingdings" pitchFamily="2" charset="2"/>
                        <a:buChar char="ü"/>
                      </a:pPr>
                      <a:r>
                        <a:rPr lang="tr-TR" sz="1600" baseline="0" dirty="0" smtClean="0"/>
                        <a:t>Turizm</a:t>
                      </a:r>
                    </a:p>
                    <a:p>
                      <a:pPr marL="285750" indent="-285750">
                        <a:buFont typeface="Wingdings" pitchFamily="2" charset="2"/>
                        <a:buChar char="ü"/>
                      </a:pPr>
                      <a:r>
                        <a:rPr lang="tr-TR" sz="1600" baseline="0" dirty="0" smtClean="0"/>
                        <a:t>Bilgi ve İletişim</a:t>
                      </a:r>
                    </a:p>
                    <a:p>
                      <a:pPr marL="285750" indent="-285750">
                        <a:buFont typeface="Wingdings" pitchFamily="2" charset="2"/>
                        <a:buChar char="ü"/>
                      </a:pPr>
                      <a:r>
                        <a:rPr lang="tr-TR" sz="1600" baseline="0" dirty="0" smtClean="0"/>
                        <a:t>Finans ve sigorta faaliyetleri</a:t>
                      </a:r>
                    </a:p>
                    <a:p>
                      <a:pPr marL="285750" indent="-285750">
                        <a:buFont typeface="Wingdings" pitchFamily="2" charset="2"/>
                        <a:buChar char="ü"/>
                      </a:pPr>
                      <a:r>
                        <a:rPr lang="tr-TR" sz="1600" baseline="0" dirty="0" smtClean="0"/>
                        <a:t>Mesleki, bilimsel ve teknik faaliyetler</a:t>
                      </a:r>
                    </a:p>
                    <a:p>
                      <a:pPr marL="285750" indent="-285750">
                        <a:buFont typeface="Wingdings" pitchFamily="2" charset="2"/>
                        <a:buChar char="ü"/>
                      </a:pPr>
                      <a:r>
                        <a:rPr lang="tr-TR" sz="1600" baseline="0" dirty="0" smtClean="0"/>
                        <a:t>İdari ve destek hizmet faaliyetleri</a:t>
                      </a:r>
                    </a:p>
                    <a:p>
                      <a:pPr marL="285750" indent="-285750">
                        <a:buFont typeface="Wingdings" pitchFamily="2" charset="2"/>
                        <a:buChar char="ü"/>
                      </a:pPr>
                      <a:r>
                        <a:rPr lang="tr-TR" sz="1600" baseline="0" dirty="0" smtClean="0"/>
                        <a:t>Kültür, sanat, eğlence, dinlence ve spor</a:t>
                      </a:r>
                    </a:p>
                    <a:p>
                      <a:pPr marL="285750" indent="-285750">
                        <a:buFont typeface="Wingdings" pitchFamily="2" charset="2"/>
                        <a:buChar char="ü"/>
                      </a:pPr>
                      <a:r>
                        <a:rPr lang="tr-TR" sz="1600" baseline="0" dirty="0" smtClean="0"/>
                        <a:t>Diğer hizmet faaliyetleri</a:t>
                      </a:r>
                      <a:endParaRPr lang="tr-TR" sz="1600" dirty="0"/>
                    </a:p>
                  </a:txBody>
                  <a:tcPr marL="91780" marR="91780" marT="45889" marB="45889" anchor="ctr">
                    <a:solidFill>
                      <a:schemeClr val="accent6">
                        <a:lumMod val="20000"/>
                        <a:lumOff val="80000"/>
                      </a:schemeClr>
                    </a:solidFill>
                  </a:tcPr>
                </a:tc>
                <a:extLst>
                  <a:ext uri="{0D108BD9-81ED-4DB2-BD59-A6C34878D82A}">
                    <a16:rowId xmlns:a16="http://schemas.microsoft.com/office/drawing/2014/main" val="10000"/>
                  </a:ext>
                </a:extLst>
              </a:tr>
            </a:tbl>
          </a:graphicData>
        </a:graphic>
      </p:graphicFrame>
      <p:cxnSp>
        <p:nvCxnSpPr>
          <p:cNvPr id="23" name="Düz Bağlayıcı 22"/>
          <p:cNvCxnSpPr/>
          <p:nvPr/>
        </p:nvCxnSpPr>
        <p:spPr>
          <a:xfrm>
            <a:off x="1507004" y="2443172"/>
            <a:ext cx="9177993"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Sağ Ayraç 4"/>
          <p:cNvSpPr/>
          <p:nvPr/>
        </p:nvSpPr>
        <p:spPr>
          <a:xfrm>
            <a:off x="5879173" y="827079"/>
            <a:ext cx="614343" cy="1445514"/>
          </a:xfrm>
          <a:prstGeom prst="rightBrace">
            <a:avLst/>
          </a:prstGeom>
        </p:spPr>
        <p:style>
          <a:lnRef idx="1">
            <a:schemeClr val="accent1"/>
          </a:lnRef>
          <a:fillRef idx="0">
            <a:schemeClr val="accent1"/>
          </a:fillRef>
          <a:effectRef idx="0">
            <a:schemeClr val="accent1"/>
          </a:effectRef>
          <a:fontRef idx="minor">
            <a:schemeClr val="tx1"/>
          </a:fontRef>
        </p:style>
        <p:txBody>
          <a:bodyPr lIns="91751" tIns="45876" rIns="91751" bIns="45876" rtlCol="0" anchor="ctr"/>
          <a:lstStyle/>
          <a:p>
            <a:pPr algn="ctr"/>
            <a:endParaRPr lang="tr-TR" sz="1807">
              <a:solidFill>
                <a:prstClr val="black"/>
              </a:solidFill>
            </a:endParaRPr>
          </a:p>
        </p:txBody>
      </p:sp>
      <p:sp>
        <p:nvSpPr>
          <p:cNvPr id="7" name="Metin kutusu 6"/>
          <p:cNvSpPr txBox="1"/>
          <p:nvPr/>
        </p:nvSpPr>
        <p:spPr>
          <a:xfrm>
            <a:off x="6601931" y="1323680"/>
            <a:ext cx="2168271" cy="401568"/>
          </a:xfrm>
          <a:prstGeom prst="rect">
            <a:avLst/>
          </a:prstGeom>
          <a:noFill/>
        </p:spPr>
        <p:txBody>
          <a:bodyPr wrap="square" lIns="91751" tIns="45876" rIns="91751" bIns="45876" rtlCol="0">
            <a:spAutoFit/>
          </a:bodyPr>
          <a:lstStyle/>
          <a:p>
            <a:r>
              <a:rPr lang="tr-TR" sz="2007" b="1" dirty="0">
                <a:solidFill>
                  <a:prstClr val="black"/>
                </a:solidFill>
              </a:rPr>
              <a:t>400 Bin KOBİ</a:t>
            </a:r>
          </a:p>
        </p:txBody>
      </p:sp>
      <p:sp>
        <p:nvSpPr>
          <p:cNvPr id="8" name="Sağ Ayraç 7"/>
          <p:cNvSpPr/>
          <p:nvPr/>
        </p:nvSpPr>
        <p:spPr>
          <a:xfrm>
            <a:off x="9926611" y="2850800"/>
            <a:ext cx="216827" cy="3469233"/>
          </a:xfrm>
          <a:prstGeom prst="rightBrace">
            <a:avLst/>
          </a:prstGeom>
        </p:spPr>
        <p:style>
          <a:lnRef idx="1">
            <a:schemeClr val="accent1"/>
          </a:lnRef>
          <a:fillRef idx="0">
            <a:schemeClr val="accent1"/>
          </a:fillRef>
          <a:effectRef idx="0">
            <a:schemeClr val="accent1"/>
          </a:effectRef>
          <a:fontRef idx="minor">
            <a:schemeClr val="tx1"/>
          </a:fontRef>
        </p:style>
        <p:txBody>
          <a:bodyPr lIns="91751" tIns="45876" rIns="91751" bIns="45876" rtlCol="0" anchor="ctr"/>
          <a:lstStyle/>
          <a:p>
            <a:pPr algn="ctr"/>
            <a:endParaRPr lang="tr-TR" sz="1807">
              <a:solidFill>
                <a:prstClr val="black"/>
              </a:solidFill>
            </a:endParaRPr>
          </a:p>
        </p:txBody>
      </p:sp>
      <p:sp>
        <p:nvSpPr>
          <p:cNvPr id="9" name="Metin kutusu 8"/>
          <p:cNvSpPr txBox="1"/>
          <p:nvPr/>
        </p:nvSpPr>
        <p:spPr>
          <a:xfrm>
            <a:off x="10143443" y="3139900"/>
            <a:ext cx="494161" cy="2312823"/>
          </a:xfrm>
          <a:prstGeom prst="rect">
            <a:avLst/>
          </a:prstGeom>
          <a:noFill/>
        </p:spPr>
        <p:txBody>
          <a:bodyPr vert="vert270" wrap="square" lIns="91751" tIns="45876" rIns="91751" bIns="45876" rtlCol="0">
            <a:spAutoFit/>
          </a:bodyPr>
          <a:lstStyle/>
          <a:p>
            <a:r>
              <a:rPr lang="tr-TR" sz="2007" b="1" dirty="0" smtClean="0">
                <a:solidFill>
                  <a:prstClr val="black"/>
                </a:solidFill>
              </a:rPr>
              <a:t>3.9 </a:t>
            </a:r>
            <a:r>
              <a:rPr lang="tr-TR" sz="2007" b="1" dirty="0">
                <a:solidFill>
                  <a:prstClr val="black"/>
                </a:solidFill>
              </a:rPr>
              <a:t>Milyon KOBİ</a:t>
            </a:r>
          </a:p>
        </p:txBody>
      </p:sp>
      <p:pic>
        <p:nvPicPr>
          <p:cNvPr id="21" name="Picture 3"/>
          <p:cNvPicPr>
            <a:picLocks noChangeAspect="1" noChangeArrowheads="1"/>
          </p:cNvPicPr>
          <p:nvPr/>
        </p:nvPicPr>
        <p:blipFill>
          <a:blip r:embed="rId3" cstate="print"/>
          <a:srcRect/>
          <a:stretch>
            <a:fillRect/>
          </a:stretch>
        </p:blipFill>
        <p:spPr bwMode="auto">
          <a:xfrm>
            <a:off x="333632" y="217942"/>
            <a:ext cx="919801" cy="648787"/>
          </a:xfrm>
          <a:prstGeom prst="rect">
            <a:avLst/>
          </a:prstGeom>
          <a:noFill/>
          <a:ln w="9525">
            <a:noFill/>
            <a:miter lim="800000"/>
            <a:headEnd/>
            <a:tailEnd/>
          </a:ln>
        </p:spPr>
      </p:pic>
    </p:spTree>
    <p:extLst>
      <p:ext uri="{BB962C8B-B14F-4D97-AF65-F5344CB8AC3E}">
        <p14:creationId xmlns:p14="http://schemas.microsoft.com/office/powerpoint/2010/main" val="33857776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ayt Numarası Yer Tutucusu 5"/>
          <p:cNvSpPr txBox="1">
            <a:spLocks/>
          </p:cNvSpPr>
          <p:nvPr/>
        </p:nvSpPr>
        <p:spPr>
          <a:xfrm>
            <a:off x="2219480" y="7355187"/>
            <a:ext cx="1075483" cy="571466"/>
          </a:xfrm>
          <a:prstGeom prst="rect">
            <a:avLst/>
          </a:prstGeom>
          <a:noFill/>
          <a:ln>
            <a:miter lim="800000"/>
            <a:headEnd/>
            <a:tailEnd/>
          </a:ln>
        </p:spPr>
        <p:txBody>
          <a:bodyPr anchor="ctr"/>
          <a:lstStyle/>
          <a:p>
            <a:pPr marL="0" marR="0" lvl="0" indent="0" algn="r" defTabSz="917783" rtl="0" eaLnBrk="1" fontAlgn="auto" latinLnBrk="0" hangingPunct="1">
              <a:lnSpc>
                <a:spcPct val="100000"/>
              </a:lnSpc>
              <a:spcBef>
                <a:spcPts val="0"/>
              </a:spcBef>
              <a:spcAft>
                <a:spcPts val="0"/>
              </a:spcAft>
              <a:buClrTx/>
              <a:buSzTx/>
              <a:buFontTx/>
              <a:buNone/>
              <a:tabLst/>
              <a:defRPr/>
            </a:pPr>
            <a:fld id="{E3B29AA5-3A34-4A67-9DD6-75C837EE9A54}" type="slidenum">
              <a:rPr kumimoji="0" lang="tr-TR" sz="1204" b="0" i="0" u="none" strike="noStrike" kern="1200" cap="none" spc="0" normalizeH="0" baseline="0" noProof="0">
                <a:ln>
                  <a:noFill/>
                </a:ln>
                <a:solidFill>
                  <a:prstClr val="black">
                    <a:tint val="75000"/>
                  </a:prstClr>
                </a:solidFill>
                <a:effectLst/>
                <a:uLnTx/>
                <a:uFillTx/>
                <a:latin typeface="Roboto Light"/>
                <a:ea typeface="ヒラギノ角ゴ Pro W3" pitchFamily="1" charset="-128"/>
                <a:cs typeface="+mn-cs"/>
              </a:rPr>
              <a:pPr marL="0" marR="0" lvl="0" indent="0" algn="r" defTabSz="917783" rtl="0" eaLnBrk="1" fontAlgn="auto" latinLnBrk="0" hangingPunct="1">
                <a:lnSpc>
                  <a:spcPct val="100000"/>
                </a:lnSpc>
                <a:spcBef>
                  <a:spcPts val="0"/>
                </a:spcBef>
                <a:spcAft>
                  <a:spcPts val="0"/>
                </a:spcAft>
                <a:buClrTx/>
                <a:buSzTx/>
                <a:buFontTx/>
                <a:buNone/>
                <a:tabLst/>
                <a:defRPr/>
              </a:pPr>
              <a:t>40</a:t>
            </a:fld>
            <a:endParaRPr kumimoji="0" lang="tr-TR" sz="1204" b="0" i="0" u="none" strike="noStrike" kern="1200" cap="none" spc="0" normalizeH="0" baseline="0" noProof="0" dirty="0">
              <a:ln>
                <a:noFill/>
              </a:ln>
              <a:solidFill>
                <a:prstClr val="black">
                  <a:tint val="75000"/>
                </a:prstClr>
              </a:solidFill>
              <a:effectLst/>
              <a:uLnTx/>
              <a:uFillTx/>
              <a:latin typeface="Roboto Light"/>
              <a:ea typeface="ヒラギノ角ゴ Pro W3" pitchFamily="1" charset="-128"/>
              <a:cs typeface="+mn-cs"/>
            </a:endParaRPr>
          </a:p>
        </p:txBody>
      </p:sp>
      <p:pic>
        <p:nvPicPr>
          <p:cNvPr id="8" name="Picture 3"/>
          <p:cNvPicPr>
            <a:picLocks noChangeAspect="1" noChangeArrowheads="1"/>
          </p:cNvPicPr>
          <p:nvPr/>
        </p:nvPicPr>
        <p:blipFill>
          <a:blip r:embed="rId3" cstate="print"/>
          <a:srcRect/>
          <a:stretch>
            <a:fillRect/>
          </a:stretch>
        </p:blipFill>
        <p:spPr bwMode="auto">
          <a:xfrm>
            <a:off x="11299547" y="130154"/>
            <a:ext cx="722715" cy="509772"/>
          </a:xfrm>
          <a:prstGeom prst="rect">
            <a:avLst/>
          </a:prstGeom>
          <a:noFill/>
          <a:ln w="9525">
            <a:noFill/>
            <a:miter lim="800000"/>
            <a:headEnd/>
            <a:tailEnd/>
          </a:ln>
        </p:spPr>
      </p:pic>
      <p:sp>
        <p:nvSpPr>
          <p:cNvPr id="12" name="5 Metin kutusu"/>
          <p:cNvSpPr txBox="1"/>
          <p:nvPr/>
        </p:nvSpPr>
        <p:spPr>
          <a:xfrm>
            <a:off x="1953110" y="867057"/>
            <a:ext cx="3308919" cy="43088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2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ヒラギノ角ゴ Pro W3" pitchFamily="1" charset="-128"/>
                <a:cs typeface="Times New Roman" panose="02020603050405020304" pitchFamily="18" charset="0"/>
              </a:rPr>
              <a:t>BAŞVURU KOŞULLARI</a:t>
            </a:r>
          </a:p>
        </p:txBody>
      </p:sp>
      <p:sp>
        <p:nvSpPr>
          <p:cNvPr id="4" name="Slayt Numarası Yer Tutucusu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17BAC-AD27-4367-93BC-03BF7B01E6B3}" type="slidenum">
              <a:rPr kumimoji="0" lang="en-US" sz="1200" b="0" i="0" u="none" strike="noStrike" kern="1200" cap="none" spc="0" normalizeH="0" baseline="0" noProof="0" smtClean="0">
                <a:ln>
                  <a:noFill/>
                </a:ln>
                <a:solidFill>
                  <a:prstClr val="black">
                    <a:tint val="75000"/>
                  </a:prst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tint val="75000"/>
                </a:prstClr>
              </a:solidFill>
              <a:effectLst/>
              <a:uLnTx/>
              <a:uFillTx/>
              <a:latin typeface="Roboto Light"/>
              <a:ea typeface="+mn-ea"/>
              <a:cs typeface="+mn-cs"/>
            </a:endParaRPr>
          </a:p>
        </p:txBody>
      </p:sp>
      <p:grpSp>
        <p:nvGrpSpPr>
          <p:cNvPr id="23" name="Grup 22">
            <a:extLst>
              <a:ext uri="{FF2B5EF4-FFF2-40B4-BE49-F238E27FC236}">
                <a16:creationId xmlns:a16="http://schemas.microsoft.com/office/drawing/2014/main" id="{31EACC01-F5B2-4A33-815A-7C13A7C4C6ED}"/>
              </a:ext>
            </a:extLst>
          </p:cNvPr>
          <p:cNvGrpSpPr/>
          <p:nvPr/>
        </p:nvGrpSpPr>
        <p:grpSpPr>
          <a:xfrm>
            <a:off x="784287" y="1484430"/>
            <a:ext cx="10355661" cy="592186"/>
            <a:chOff x="1384823" y="2511662"/>
            <a:chExt cx="5873589" cy="1932173"/>
          </a:xfrm>
        </p:grpSpPr>
        <p:sp>
          <p:nvSpPr>
            <p:cNvPr id="26" name="Ok: Beşgen 25">
              <a:extLst>
                <a:ext uri="{FF2B5EF4-FFF2-40B4-BE49-F238E27FC236}">
                  <a16:creationId xmlns:a16="http://schemas.microsoft.com/office/drawing/2014/main" id="{5570D388-1844-42F9-A12E-DDEA2BBE7BC0}"/>
                </a:ext>
              </a:extLst>
            </p:cNvPr>
            <p:cNvSpPr/>
            <p:nvPr/>
          </p:nvSpPr>
          <p:spPr>
            <a:xfrm rot="10800000">
              <a:off x="1384823" y="2511662"/>
              <a:ext cx="5873589" cy="1932173"/>
            </a:xfrm>
            <a:prstGeom prst="homePlate">
              <a:avLst/>
            </a:pr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sp>
        <p:sp>
          <p:nvSpPr>
            <p:cNvPr id="27" name="Ok: Beşgen 4">
              <a:extLst>
                <a:ext uri="{FF2B5EF4-FFF2-40B4-BE49-F238E27FC236}">
                  <a16:creationId xmlns:a16="http://schemas.microsoft.com/office/drawing/2014/main" id="{779809F0-7CE7-40E7-8575-D137C7FE3052}"/>
                </a:ext>
              </a:extLst>
            </p:cNvPr>
            <p:cNvSpPr txBox="1"/>
            <p:nvPr/>
          </p:nvSpPr>
          <p:spPr>
            <a:xfrm>
              <a:off x="1867866" y="2511662"/>
              <a:ext cx="5390546" cy="193217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2035" tIns="91440" rIns="170688" bIns="91440" numCol="1" spcCol="1270" anchor="ctr" anchorCtr="0">
              <a:noAutofit/>
            </a:bodyPr>
            <a:lstStyle/>
            <a:p>
              <a:pPr marL="0" marR="0" lvl="0" indent="0" algn="l" defTabSz="1066800" rtl="0" eaLnBrk="1" fontAlgn="auto" latinLnBrk="0" hangingPunct="1">
                <a:lnSpc>
                  <a:spcPct val="100000"/>
                </a:lnSpc>
                <a:spcBef>
                  <a:spcPct val="0"/>
                </a:spcBef>
                <a:spcAft>
                  <a:spcPts val="0"/>
                </a:spcAft>
                <a:buClrTx/>
                <a:buSzTx/>
                <a:buFontTx/>
                <a:buNone/>
                <a:tabLst/>
                <a:defRPr/>
              </a:pPr>
              <a:r>
                <a:rPr kumimoji="0" lang="tr-TR" sz="1800" b="1" i="0" u="none" strike="noStrike" kern="1200" cap="none" spc="0" normalizeH="0" baseline="0" noProof="0" dirty="0">
                  <a:ln>
                    <a:noFill/>
                  </a:ln>
                  <a:solidFill>
                    <a:prstClr val="white"/>
                  </a:solidFill>
                  <a:effectLst/>
                  <a:uLnTx/>
                  <a:uFillTx/>
                  <a:latin typeface="Roboto Light"/>
                  <a:ea typeface="+mn-ea"/>
                  <a:cs typeface="+mn-cs"/>
                </a:rPr>
                <a:t>Orta - Yüksek veya Yüksek Teknoloji Alanında Yer Alan ve </a:t>
              </a:r>
            </a:p>
            <a:p>
              <a:pPr marL="0" marR="0" lvl="0" indent="0" algn="l" defTabSz="1066800" rtl="0" eaLnBrk="1" fontAlgn="auto" latinLnBrk="0" hangingPunct="1">
                <a:lnSpc>
                  <a:spcPct val="100000"/>
                </a:lnSpc>
                <a:spcBef>
                  <a:spcPct val="0"/>
                </a:spcBef>
                <a:spcAft>
                  <a:spcPts val="0"/>
                </a:spcAft>
                <a:buClrTx/>
                <a:buSzTx/>
                <a:buFontTx/>
                <a:buNone/>
                <a:tabLst/>
                <a:defRPr/>
              </a:pPr>
              <a:r>
                <a:rPr kumimoji="0" lang="tr-TR" sz="1800" b="1" i="0" u="none" strike="noStrike" kern="1200" cap="none" spc="0" normalizeH="0" baseline="0" noProof="0" dirty="0">
                  <a:ln>
                    <a:noFill/>
                  </a:ln>
                  <a:solidFill>
                    <a:prstClr val="white"/>
                  </a:solidFill>
                  <a:effectLst/>
                  <a:uLnTx/>
                  <a:uFillTx/>
                  <a:latin typeface="Roboto Light"/>
                  <a:ea typeface="+mn-ea"/>
                  <a:cs typeface="+mn-cs"/>
                </a:rPr>
                <a:t>Cari İşlemler Hesabına Katkı Sağlayacak Ürünler</a:t>
              </a:r>
            </a:p>
          </p:txBody>
        </p:sp>
      </p:grpSp>
      <p:sp>
        <p:nvSpPr>
          <p:cNvPr id="25" name="Oval 24">
            <a:extLst>
              <a:ext uri="{FF2B5EF4-FFF2-40B4-BE49-F238E27FC236}">
                <a16:creationId xmlns:a16="http://schemas.microsoft.com/office/drawing/2014/main" id="{7510B56B-1132-4272-8F44-DF46A1355A7B}"/>
              </a:ext>
            </a:extLst>
          </p:cNvPr>
          <p:cNvSpPr/>
          <p:nvPr/>
        </p:nvSpPr>
        <p:spPr>
          <a:xfrm>
            <a:off x="1216265" y="1293988"/>
            <a:ext cx="1057599" cy="973069"/>
          </a:xfrm>
          <a:prstGeom prst="ellipse">
            <a:avLst/>
          </a:prstGeom>
          <a:blipFill>
            <a:blip r:embed="rId4" cstate="print">
              <a:extLst>
                <a:ext uri="{28A0092B-C50C-407E-A947-70E740481C1C}">
                  <a14:useLocalDpi xmlns:a14="http://schemas.microsoft.com/office/drawing/2010/main" val="0"/>
                </a:ext>
              </a:extLst>
            </a:blip>
            <a:srcRect/>
            <a:stretch>
              <a:fillRect l="-32000" r="-32000"/>
            </a:stretch>
          </a:blipFill>
        </p:spPr>
        <p:style>
          <a:lnRef idx="2">
            <a:schemeClr val="lt1">
              <a:hueOff val="0"/>
              <a:satOff val="0"/>
              <a:lumOff val="0"/>
              <a:alphaOff val="0"/>
            </a:schemeClr>
          </a:lnRef>
          <a:fillRef idx="1">
            <a:scrgbClr r="0" g="0" b="0"/>
          </a:fillRef>
          <a:effectRef idx="0">
            <a:schemeClr val="accent4">
              <a:tint val="50000"/>
              <a:hueOff val="11447524"/>
              <a:satOff val="-60156"/>
              <a:lumOff val="-4353"/>
              <a:alphaOff val="0"/>
            </a:schemeClr>
          </a:effectRef>
          <a:fontRef idx="minor">
            <a:schemeClr val="lt1">
              <a:hueOff val="0"/>
              <a:satOff val="0"/>
              <a:lumOff val="0"/>
              <a:alphaOff val="0"/>
            </a:schemeClr>
          </a:fontRef>
        </p:style>
      </p:sp>
      <p:sp>
        <p:nvSpPr>
          <p:cNvPr id="28" name="Dikdörtgen 27">
            <a:extLst>
              <a:ext uri="{FF2B5EF4-FFF2-40B4-BE49-F238E27FC236}">
                <a16:creationId xmlns:a16="http://schemas.microsoft.com/office/drawing/2014/main" id="{8F43A24F-B566-4EB0-82F1-55100252F1C3}"/>
              </a:ext>
            </a:extLst>
          </p:cNvPr>
          <p:cNvSpPr/>
          <p:nvPr/>
        </p:nvSpPr>
        <p:spPr>
          <a:xfrm>
            <a:off x="2065536" y="2462922"/>
            <a:ext cx="8311767" cy="1323439"/>
          </a:xfrm>
          <a:prstGeom prst="rect">
            <a:avLst/>
          </a:prstGeom>
        </p:spPr>
        <p:txBody>
          <a:bodyPr wrap="square">
            <a:spAutoFit/>
          </a:bodyPr>
          <a:lstStyle/>
          <a:p>
            <a:pPr marL="0" marR="0" lvl="0" indent="0" algn="just" defTabSz="917783" rtl="0" eaLnBrk="1" fontAlgn="base" latinLnBrk="0" hangingPunct="1">
              <a:lnSpc>
                <a:spcPct val="100000"/>
              </a:lnSpc>
              <a:spcBef>
                <a:spcPct val="0"/>
              </a:spcBef>
              <a:spcAft>
                <a:spcPct val="0"/>
              </a:spcAft>
              <a:buClrTx/>
              <a:buSzTx/>
              <a:buFontTx/>
              <a:buNone/>
              <a:tabLst/>
              <a:defRPr/>
            </a:pPr>
            <a:r>
              <a:rPr kumimoji="0" lang="tr-TR" sz="2000" b="1"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Cari işlemler hesabına katkı sağlayacak ürünlere ait yatırım projesi başvuruları için; yatırım projesine konu orta yüksek ve yüksek teknoloji alanında yer alan ürünün, “Cari İşlemler Hesabına Katkı Sağlayacak Ürün Listesi” içerisinde yer alması esastır. </a:t>
            </a:r>
          </a:p>
        </p:txBody>
      </p:sp>
      <p:sp>
        <p:nvSpPr>
          <p:cNvPr id="30" name="4 Metin kutusu">
            <a:extLst>
              <a:ext uri="{FF2B5EF4-FFF2-40B4-BE49-F238E27FC236}">
                <a16:creationId xmlns:a16="http://schemas.microsoft.com/office/drawing/2014/main" id="{4BDA7F63-4F49-4F6D-904B-7C034F2A7E4F}"/>
              </a:ext>
            </a:extLst>
          </p:cNvPr>
          <p:cNvSpPr txBox="1"/>
          <p:nvPr/>
        </p:nvSpPr>
        <p:spPr>
          <a:xfrm>
            <a:off x="1953110" y="409347"/>
            <a:ext cx="10849205"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0" b="1"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rPr>
              <a:t>KOBİ TEKNOYATIRIM DESTEK PROGRAMI</a:t>
            </a:r>
          </a:p>
        </p:txBody>
      </p:sp>
      <p:pic>
        <p:nvPicPr>
          <p:cNvPr id="31" name="Resim 30">
            <a:extLst>
              <a:ext uri="{FF2B5EF4-FFF2-40B4-BE49-F238E27FC236}">
                <a16:creationId xmlns:a16="http://schemas.microsoft.com/office/drawing/2014/main" id="{E8A25EAB-1AE5-49D8-915E-B591DCAD36E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6776" y="260382"/>
            <a:ext cx="1204630" cy="702701"/>
          </a:xfrm>
          <a:prstGeom prst="rect">
            <a:avLst/>
          </a:prstGeom>
        </p:spPr>
      </p:pic>
      <p:pic>
        <p:nvPicPr>
          <p:cNvPr id="3" name="Resim 2">
            <a:extLst>
              <a:ext uri="{FF2B5EF4-FFF2-40B4-BE49-F238E27FC236}">
                <a16:creationId xmlns:a16="http://schemas.microsoft.com/office/drawing/2014/main" id="{17B62DC0-1A02-4469-9441-B3EAD47F9F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4277393"/>
            <a:ext cx="5919020" cy="2570947"/>
          </a:xfrm>
          <a:prstGeom prst="rect">
            <a:avLst/>
          </a:prstGeom>
        </p:spPr>
      </p:pic>
      <p:pic>
        <p:nvPicPr>
          <p:cNvPr id="14" name="Resim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42020" y="4267166"/>
            <a:ext cx="3343700" cy="2507775"/>
          </a:xfrm>
          <a:prstGeom prst="rect">
            <a:avLst/>
          </a:prstGeom>
        </p:spPr>
      </p:pic>
    </p:spTree>
    <p:extLst>
      <p:ext uri="{BB962C8B-B14F-4D97-AF65-F5344CB8AC3E}">
        <p14:creationId xmlns:p14="http://schemas.microsoft.com/office/powerpoint/2010/main" val="2294046727"/>
      </p:ext>
    </p:extLst>
  </p:cSld>
  <p:clrMapOvr>
    <a:masterClrMapping/>
  </p:clrMapOvr>
  <mc:AlternateContent xmlns:mc="http://schemas.openxmlformats.org/markup-compatibility/2006" xmlns:p14="http://schemas.microsoft.com/office/powerpoint/2010/main">
    <mc:Choice Requires="p14">
      <p:transition p14:dur="0" advTm="96917"/>
    </mc:Choice>
    <mc:Fallback xmlns="">
      <p:transition advTm="96917"/>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 14"/>
          <p:cNvGrpSpPr/>
          <p:nvPr/>
        </p:nvGrpSpPr>
        <p:grpSpPr>
          <a:xfrm>
            <a:off x="1748932" y="1718447"/>
            <a:ext cx="3271443" cy="1018140"/>
            <a:chOff x="3059832" y="955395"/>
            <a:chExt cx="3259327" cy="1014369"/>
          </a:xfrm>
        </p:grpSpPr>
        <p:pic>
          <p:nvPicPr>
            <p:cNvPr id="23" name="Picture 6" descr="C:\Users\bahar.erdogan\Downloads\clipart353190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832" y="955395"/>
              <a:ext cx="1014369" cy="1014369"/>
            </a:xfrm>
            <a:prstGeom prst="rect">
              <a:avLst/>
            </a:prstGeom>
            <a:noFill/>
            <a:extLst>
              <a:ext uri="{909E8E84-426E-40DD-AFC4-6F175D3DCCD1}">
                <a14:hiddenFill xmlns:a14="http://schemas.microsoft.com/office/drawing/2010/main">
                  <a:solidFill>
                    <a:srgbClr val="FFFFFF"/>
                  </a:solidFill>
                </a14:hiddenFill>
              </a:ext>
            </a:extLst>
          </p:spPr>
        </p:pic>
        <p:sp>
          <p:nvSpPr>
            <p:cNvPr id="24" name="Metin kutusu 23"/>
            <p:cNvSpPr txBox="1"/>
            <p:nvPr/>
          </p:nvSpPr>
          <p:spPr>
            <a:xfrm>
              <a:off x="4211960" y="1046434"/>
              <a:ext cx="2107199"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7" b="1" i="0" u="none" strike="noStrike" kern="1200" cap="none" spc="0" normalizeH="0" baseline="0" noProof="0" dirty="0">
                  <a:ln>
                    <a:noFill/>
                  </a:ln>
                  <a:solidFill>
                    <a:srgbClr val="70AD47">
                      <a:lumMod val="75000"/>
                    </a:srgbClr>
                  </a:solidFill>
                  <a:effectLst/>
                  <a:uLnTx/>
                  <a:uFillTx/>
                  <a:latin typeface="Roboto Light"/>
                  <a:ea typeface="+mn-ea"/>
                  <a:cs typeface="+mn-cs"/>
                </a:rPr>
                <a:t>Proje Süres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7" b="1" i="0" u="none" strike="noStrike" kern="1200" cap="none" spc="0" normalizeH="0" baseline="0" noProof="0" dirty="0">
                  <a:ln>
                    <a:noFill/>
                  </a:ln>
                  <a:solidFill>
                    <a:prstClr val="black"/>
                  </a:solidFill>
                  <a:effectLst/>
                  <a:uLnTx/>
                  <a:uFillTx/>
                  <a:latin typeface="Roboto Light"/>
                  <a:ea typeface="+mn-ea"/>
                  <a:cs typeface="+mn-cs"/>
                </a:rPr>
                <a:t>En az 8 en çok 36 a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7" b="0" i="0" u="none" strike="noStrike" kern="1200" cap="none" spc="0" normalizeH="0" baseline="0" noProof="0" dirty="0">
                <a:ln>
                  <a:noFill/>
                </a:ln>
                <a:solidFill>
                  <a:prstClr val="black"/>
                </a:solidFill>
                <a:effectLst/>
                <a:uLnTx/>
                <a:uFillTx/>
                <a:latin typeface="Roboto Light"/>
                <a:ea typeface="+mn-ea"/>
                <a:cs typeface="+mn-cs"/>
              </a:endParaRPr>
            </a:p>
          </p:txBody>
        </p:sp>
      </p:grpSp>
      <p:sp>
        <p:nvSpPr>
          <p:cNvPr id="26" name="Dikdörtgen 25"/>
          <p:cNvSpPr/>
          <p:nvPr/>
        </p:nvSpPr>
        <p:spPr>
          <a:xfrm>
            <a:off x="3288942" y="2759677"/>
            <a:ext cx="606877" cy="926750"/>
          </a:xfrm>
          <a:prstGeom prst="rect">
            <a:avLst/>
          </a:prstGeom>
          <a:noFill/>
        </p:spPr>
        <p:txBody>
          <a:bodyPr wrap="none" lIns="91768" tIns="45884" rIns="91768" bIns="45884">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5420" b="1" i="0" u="none" strike="noStrike" kern="1200" cap="all" spc="0" normalizeH="0" baseline="0" noProof="0" dirty="0">
                <a:ln w="0"/>
                <a:gradFill flip="none">
                  <a:gsLst>
                    <a:gs pos="0">
                      <a:srgbClr val="5B9BD5">
                        <a:tint val="75000"/>
                        <a:shade val="75000"/>
                        <a:satMod val="170000"/>
                      </a:srgbClr>
                    </a:gs>
                    <a:gs pos="49000">
                      <a:srgbClr val="5B9BD5">
                        <a:tint val="88000"/>
                        <a:shade val="65000"/>
                        <a:satMod val="172000"/>
                      </a:srgbClr>
                    </a:gs>
                    <a:gs pos="50000">
                      <a:srgbClr val="5B9BD5">
                        <a:shade val="65000"/>
                        <a:satMod val="130000"/>
                      </a:srgbClr>
                    </a:gs>
                    <a:gs pos="92000">
                      <a:srgbClr val="5B9BD5">
                        <a:shade val="50000"/>
                        <a:satMod val="120000"/>
                      </a:srgbClr>
                    </a:gs>
                    <a:gs pos="100000">
                      <a:srgbClr val="5B9BD5">
                        <a:shade val="48000"/>
                        <a:satMod val="120000"/>
                      </a:srgbClr>
                    </a:gs>
                  </a:gsLst>
                  <a:lin ang="5400000"/>
                </a:gradFill>
                <a:effectLst>
                  <a:reflection blurRad="12700" stA="50000" endPos="50000" dist="5000" dir="5400000" sy="-100000" rotWithShape="0"/>
                </a:effectLst>
                <a:uLnTx/>
                <a:uFillTx/>
                <a:latin typeface="Roboto Light"/>
                <a:ea typeface="+mn-ea"/>
                <a:cs typeface="+mn-cs"/>
              </a:rPr>
              <a:t>A</a:t>
            </a:r>
          </a:p>
        </p:txBody>
      </p:sp>
      <p:sp>
        <p:nvSpPr>
          <p:cNvPr id="27" name="Dikdörtgen 26"/>
          <p:cNvSpPr/>
          <p:nvPr/>
        </p:nvSpPr>
        <p:spPr>
          <a:xfrm>
            <a:off x="8374841" y="2759677"/>
            <a:ext cx="574697" cy="926750"/>
          </a:xfrm>
          <a:prstGeom prst="rect">
            <a:avLst/>
          </a:prstGeom>
          <a:noFill/>
        </p:spPr>
        <p:txBody>
          <a:bodyPr wrap="none" lIns="91768" tIns="45884" rIns="91768" bIns="45884">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5420" b="1" i="0" u="none" strike="noStrike" kern="1200" cap="all" spc="0" normalizeH="0" baseline="0" noProof="0" dirty="0">
                <a:ln w="0"/>
                <a:gradFill flip="none">
                  <a:gsLst>
                    <a:gs pos="0">
                      <a:srgbClr val="5B9BD5">
                        <a:tint val="75000"/>
                        <a:shade val="75000"/>
                        <a:satMod val="170000"/>
                      </a:srgbClr>
                    </a:gs>
                    <a:gs pos="49000">
                      <a:srgbClr val="5B9BD5">
                        <a:tint val="88000"/>
                        <a:shade val="65000"/>
                        <a:satMod val="172000"/>
                      </a:srgbClr>
                    </a:gs>
                    <a:gs pos="50000">
                      <a:srgbClr val="5B9BD5">
                        <a:shade val="65000"/>
                        <a:satMod val="130000"/>
                      </a:srgbClr>
                    </a:gs>
                    <a:gs pos="92000">
                      <a:srgbClr val="5B9BD5">
                        <a:shade val="50000"/>
                        <a:satMod val="120000"/>
                      </a:srgbClr>
                    </a:gs>
                    <a:gs pos="100000">
                      <a:srgbClr val="5B9BD5">
                        <a:shade val="48000"/>
                        <a:satMod val="120000"/>
                      </a:srgbClr>
                    </a:gs>
                  </a:gsLst>
                  <a:lin ang="5400000"/>
                </a:gradFill>
                <a:effectLst>
                  <a:reflection blurRad="12700" stA="50000" endPos="50000" dist="5000" dir="5400000" sy="-100000" rotWithShape="0"/>
                </a:effectLst>
                <a:uLnTx/>
                <a:uFillTx/>
                <a:latin typeface="Roboto Light"/>
                <a:ea typeface="+mn-ea"/>
                <a:cs typeface="+mn-cs"/>
              </a:rPr>
              <a:t>B</a:t>
            </a:r>
          </a:p>
        </p:txBody>
      </p:sp>
      <p:sp>
        <p:nvSpPr>
          <p:cNvPr id="5" name="Dikdörtgen 4"/>
          <p:cNvSpPr/>
          <p:nvPr/>
        </p:nvSpPr>
        <p:spPr>
          <a:xfrm>
            <a:off x="1330593" y="3826160"/>
            <a:ext cx="4374942" cy="570152"/>
          </a:xfrm>
          <a:prstGeom prst="rect">
            <a:avLst/>
          </a:prstGeom>
          <a:noFill/>
        </p:spPr>
        <p:txBody>
          <a:bodyPr wrap="square" lIns="76957" tIns="38479" rIns="76957" bIns="38479"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srgbClr val="00BAD5"/>
                </a:solidFill>
                <a:effectLst/>
                <a:uLnTx/>
                <a:uFillTx/>
                <a:latin typeface="Roboto Light"/>
                <a:ea typeface="+mn-ea"/>
                <a:cs typeface="+mn-cs"/>
              </a:rPr>
              <a:t>Ar-Ge/yenilik faaliyetleri sonucu ortaya çıkan ürünlerin üretimi ve ticarileştirilmesi</a:t>
            </a:r>
          </a:p>
        </p:txBody>
      </p:sp>
      <p:sp>
        <p:nvSpPr>
          <p:cNvPr id="6" name="Dikdörtgen 5"/>
          <p:cNvSpPr/>
          <p:nvPr/>
        </p:nvSpPr>
        <p:spPr>
          <a:xfrm>
            <a:off x="6289820" y="3722594"/>
            <a:ext cx="4407797" cy="1062595"/>
          </a:xfrm>
          <a:prstGeom prst="rect">
            <a:avLst/>
          </a:prstGeom>
          <a:noFill/>
        </p:spPr>
        <p:txBody>
          <a:bodyPr wrap="square" lIns="76957" tIns="38479" rIns="76957" bIns="38479"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srgbClr val="00BAD5"/>
                </a:solidFill>
                <a:effectLst/>
                <a:uLnTx/>
                <a:uFillTx/>
                <a:latin typeface="Roboto Light"/>
                <a:ea typeface="+mn-ea"/>
                <a:cs typeface="+mn-cs"/>
              </a:rPr>
              <a:t>Orta - yüksek ve yüksek teknoloji alanında yer alan ve cari işlemler hesabına katkı sağlayacak ürünlerin yerli sanayi tarafından üretimi ve ticarileştirilmesi</a:t>
            </a:r>
          </a:p>
        </p:txBody>
      </p:sp>
      <p:sp>
        <p:nvSpPr>
          <p:cNvPr id="7" name="Yuvarlatılmış Dikdörtgen 6"/>
          <p:cNvSpPr/>
          <p:nvPr/>
        </p:nvSpPr>
        <p:spPr>
          <a:xfrm>
            <a:off x="1474507" y="4785189"/>
            <a:ext cx="4073396" cy="867308"/>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768" tIns="45884" rIns="91768" bIns="45884"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5" b="1" i="0" u="none" strike="noStrike" kern="1200" cap="none" spc="0" normalizeH="0" baseline="0" noProof="0" dirty="0">
                <a:ln>
                  <a:noFill/>
                </a:ln>
                <a:solidFill>
                  <a:srgbClr val="FFFF00"/>
                </a:solidFill>
                <a:effectLst/>
                <a:uLnTx/>
                <a:uFillTx/>
                <a:latin typeface="Roboto Light"/>
                <a:ea typeface="+mn-ea"/>
                <a:cs typeface="+mn-cs"/>
              </a:rPr>
              <a:t>Düşük ve orta düşük teknoloji </a:t>
            </a:r>
            <a:r>
              <a:rPr kumimoji="0" lang="tr-TR" sz="1405" b="0" i="0" u="none" strike="noStrike" kern="1200" cap="none" spc="0" normalizeH="0" baseline="0" noProof="0" dirty="0">
                <a:ln>
                  <a:noFill/>
                </a:ln>
                <a:solidFill>
                  <a:srgbClr val="FFFF00"/>
                </a:solidFill>
                <a:effectLst/>
                <a:uLnTx/>
                <a:uFillTx/>
                <a:latin typeface="Roboto Light"/>
                <a:ea typeface="+mn-ea"/>
                <a:cs typeface="+mn-cs"/>
              </a:rPr>
              <a:t/>
            </a:r>
            <a:br>
              <a:rPr kumimoji="0" lang="tr-TR" sz="1405" b="0" i="0" u="none" strike="noStrike" kern="1200" cap="none" spc="0" normalizeH="0" baseline="0" noProof="0" dirty="0">
                <a:ln>
                  <a:noFill/>
                </a:ln>
                <a:solidFill>
                  <a:srgbClr val="FFFF00"/>
                </a:solidFill>
                <a:effectLst/>
                <a:uLnTx/>
                <a:uFillTx/>
                <a:latin typeface="Roboto Light"/>
                <a:ea typeface="+mn-ea"/>
                <a:cs typeface="+mn-cs"/>
              </a:rPr>
            </a:br>
            <a:r>
              <a:rPr kumimoji="0" lang="tr-TR" sz="1405" b="0" i="0" u="none" strike="noStrike" kern="1200" cap="none" spc="0" normalizeH="0" baseline="0" noProof="0" dirty="0">
                <a:ln>
                  <a:noFill/>
                </a:ln>
                <a:solidFill>
                  <a:prstClr val="white"/>
                </a:solidFill>
                <a:effectLst/>
                <a:uLnTx/>
                <a:uFillTx/>
                <a:latin typeface="Roboto Light"/>
                <a:ea typeface="+mn-ea"/>
                <a:cs typeface="+mn-cs"/>
              </a:rPr>
              <a:t>Geri ödemeli 700.000 TL </a:t>
            </a:r>
            <a:br>
              <a:rPr kumimoji="0" lang="tr-TR" sz="1405" b="0" i="0" u="none" strike="noStrike" kern="1200" cap="none" spc="0" normalizeH="0" baseline="0" noProof="0" dirty="0">
                <a:ln>
                  <a:noFill/>
                </a:ln>
                <a:solidFill>
                  <a:prstClr val="white"/>
                </a:solidFill>
                <a:effectLst/>
                <a:uLnTx/>
                <a:uFillTx/>
                <a:latin typeface="Roboto Light"/>
                <a:ea typeface="+mn-ea"/>
                <a:cs typeface="+mn-cs"/>
              </a:rPr>
            </a:br>
            <a:r>
              <a:rPr kumimoji="0" lang="tr-TR" sz="1405" b="0" i="0" u="none" strike="noStrike" kern="1200" cap="none" spc="0" normalizeH="0" baseline="0" noProof="0" dirty="0">
                <a:ln>
                  <a:noFill/>
                </a:ln>
                <a:solidFill>
                  <a:prstClr val="white"/>
                </a:solidFill>
                <a:effectLst/>
                <a:uLnTx/>
                <a:uFillTx/>
                <a:latin typeface="Roboto Light"/>
                <a:ea typeface="+mn-ea"/>
                <a:cs typeface="+mn-cs"/>
              </a:rPr>
              <a:t>Geri ödemesiz 300.000 TL olmak üzere toplam </a:t>
            </a:r>
            <a:br>
              <a:rPr kumimoji="0" lang="tr-TR" sz="1405" b="0" i="0" u="none" strike="noStrike" kern="1200" cap="none" spc="0" normalizeH="0" baseline="0" noProof="0" dirty="0">
                <a:ln>
                  <a:noFill/>
                </a:ln>
                <a:solidFill>
                  <a:prstClr val="white"/>
                </a:solidFill>
                <a:effectLst/>
                <a:uLnTx/>
                <a:uFillTx/>
                <a:latin typeface="Roboto Light"/>
                <a:ea typeface="+mn-ea"/>
                <a:cs typeface="+mn-cs"/>
              </a:rPr>
            </a:br>
            <a:r>
              <a:rPr kumimoji="0" lang="tr-TR" sz="1405" b="1" i="0" u="none" strike="noStrike" kern="1200" cap="none" spc="0" normalizeH="0" baseline="0" noProof="0" dirty="0">
                <a:ln>
                  <a:noFill/>
                </a:ln>
                <a:solidFill>
                  <a:prstClr val="white"/>
                </a:solidFill>
                <a:effectLst/>
                <a:uLnTx/>
                <a:uFillTx/>
                <a:latin typeface="Roboto Light"/>
                <a:ea typeface="+mn-ea"/>
                <a:cs typeface="+mn-cs"/>
              </a:rPr>
              <a:t>1 milyon TL</a:t>
            </a:r>
          </a:p>
        </p:txBody>
      </p:sp>
      <p:sp>
        <p:nvSpPr>
          <p:cNvPr id="31" name="Yuvarlatılmış Dikdörtgen 30"/>
          <p:cNvSpPr/>
          <p:nvPr/>
        </p:nvSpPr>
        <p:spPr>
          <a:xfrm>
            <a:off x="1481366" y="5791136"/>
            <a:ext cx="4073396" cy="867308"/>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768" tIns="45884" rIns="91768" bIns="45884"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5" b="1" i="0" u="none" strike="noStrike" kern="1200" cap="none" spc="0" normalizeH="0" baseline="0" noProof="0" dirty="0">
                <a:ln>
                  <a:noFill/>
                </a:ln>
                <a:solidFill>
                  <a:srgbClr val="FF0000"/>
                </a:solidFill>
                <a:effectLst/>
                <a:uLnTx/>
                <a:uFillTx/>
                <a:latin typeface="Roboto Light"/>
                <a:ea typeface="+mn-ea"/>
                <a:cs typeface="+mn-cs"/>
              </a:rPr>
              <a:t>Orta yüksek ve yüksek teknoloji </a:t>
            </a:r>
            <a:r>
              <a:rPr kumimoji="0" lang="tr-TR" sz="1405" b="0" i="0" u="none" strike="noStrike" kern="1200" cap="none" spc="0" normalizeH="0" baseline="0" noProof="0" dirty="0">
                <a:ln>
                  <a:noFill/>
                </a:ln>
                <a:solidFill>
                  <a:srgbClr val="4472C4">
                    <a:lumMod val="20000"/>
                    <a:lumOff val="80000"/>
                  </a:srgbClr>
                </a:solidFill>
                <a:effectLst/>
                <a:uLnTx/>
                <a:uFillTx/>
                <a:latin typeface="Roboto Light"/>
                <a:ea typeface="+mn-ea"/>
                <a:cs typeface="+mn-cs"/>
              </a:rPr>
              <a:t/>
            </a:r>
            <a:br>
              <a:rPr kumimoji="0" lang="tr-TR" sz="1405" b="0" i="0" u="none" strike="noStrike" kern="1200" cap="none" spc="0" normalizeH="0" baseline="0" noProof="0" dirty="0">
                <a:ln>
                  <a:noFill/>
                </a:ln>
                <a:solidFill>
                  <a:srgbClr val="4472C4">
                    <a:lumMod val="20000"/>
                    <a:lumOff val="80000"/>
                  </a:srgbClr>
                </a:solidFill>
                <a:effectLst/>
                <a:uLnTx/>
                <a:uFillTx/>
                <a:latin typeface="Roboto Light"/>
                <a:ea typeface="+mn-ea"/>
                <a:cs typeface="+mn-cs"/>
              </a:rPr>
            </a:br>
            <a:r>
              <a:rPr kumimoji="0" lang="tr-TR" sz="1405" b="0" i="0" u="none" strike="noStrike" kern="1200" cap="none" spc="0" normalizeH="0" baseline="0" noProof="0" dirty="0">
                <a:ln>
                  <a:noFill/>
                </a:ln>
                <a:solidFill>
                  <a:srgbClr val="FF0000"/>
                </a:solidFill>
                <a:effectLst/>
                <a:uLnTx/>
                <a:uFillTx/>
                <a:latin typeface="Roboto Light"/>
                <a:ea typeface="+mn-ea"/>
                <a:cs typeface="+mn-cs"/>
              </a:rPr>
              <a:t>Geri ödemeli 4.2 milyon  TL </a:t>
            </a:r>
            <a:br>
              <a:rPr kumimoji="0" lang="tr-TR" sz="1405" b="0" i="0" u="none" strike="noStrike" kern="1200" cap="none" spc="0" normalizeH="0" baseline="0" noProof="0" dirty="0">
                <a:ln>
                  <a:noFill/>
                </a:ln>
                <a:solidFill>
                  <a:srgbClr val="FF0000"/>
                </a:solidFill>
                <a:effectLst/>
                <a:uLnTx/>
                <a:uFillTx/>
                <a:latin typeface="Roboto Light"/>
                <a:ea typeface="+mn-ea"/>
                <a:cs typeface="+mn-cs"/>
              </a:rPr>
            </a:br>
            <a:r>
              <a:rPr kumimoji="0" lang="tr-TR" sz="1405" b="0" i="0" u="none" strike="noStrike" kern="1200" cap="none" spc="0" normalizeH="0" baseline="0" noProof="0" dirty="0">
                <a:ln>
                  <a:noFill/>
                </a:ln>
                <a:solidFill>
                  <a:srgbClr val="FF0000"/>
                </a:solidFill>
                <a:effectLst/>
                <a:uLnTx/>
                <a:uFillTx/>
                <a:latin typeface="Roboto Light"/>
                <a:ea typeface="+mn-ea"/>
                <a:cs typeface="+mn-cs"/>
              </a:rPr>
              <a:t>Geri ödemesiz 1.8 milyon TL olmak üzere toplam </a:t>
            </a:r>
            <a:br>
              <a:rPr kumimoji="0" lang="tr-TR" sz="1405" b="0" i="0" u="none" strike="noStrike" kern="1200" cap="none" spc="0" normalizeH="0" baseline="0" noProof="0" dirty="0">
                <a:ln>
                  <a:noFill/>
                </a:ln>
                <a:solidFill>
                  <a:srgbClr val="FF0000"/>
                </a:solidFill>
                <a:effectLst/>
                <a:uLnTx/>
                <a:uFillTx/>
                <a:latin typeface="Roboto Light"/>
                <a:ea typeface="+mn-ea"/>
                <a:cs typeface="+mn-cs"/>
              </a:rPr>
            </a:br>
            <a:r>
              <a:rPr kumimoji="0" lang="tr-TR" sz="1405" b="1" i="0" u="none" strike="noStrike" kern="1200" cap="none" spc="0" normalizeH="0" baseline="0" noProof="0" dirty="0">
                <a:ln>
                  <a:noFill/>
                </a:ln>
                <a:solidFill>
                  <a:srgbClr val="FF0000"/>
                </a:solidFill>
                <a:effectLst/>
                <a:uLnTx/>
                <a:uFillTx/>
                <a:latin typeface="Roboto Light"/>
                <a:ea typeface="+mn-ea"/>
                <a:cs typeface="+mn-cs"/>
              </a:rPr>
              <a:t>6 milyon TL</a:t>
            </a:r>
          </a:p>
        </p:txBody>
      </p:sp>
      <p:sp>
        <p:nvSpPr>
          <p:cNvPr id="32" name="Yuvarlatılmış Dikdörtgen 31"/>
          <p:cNvSpPr/>
          <p:nvPr/>
        </p:nvSpPr>
        <p:spPr>
          <a:xfrm>
            <a:off x="6573901" y="4805723"/>
            <a:ext cx="4073396" cy="86730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768" tIns="45884" rIns="91768" bIns="45884"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5" b="0" i="0" u="none" strike="noStrike" kern="1200" cap="none" spc="0" normalizeH="0" baseline="0" noProof="0" dirty="0">
                <a:ln>
                  <a:noFill/>
                </a:ln>
                <a:solidFill>
                  <a:prstClr val="white"/>
                </a:solidFill>
                <a:effectLst/>
                <a:uLnTx/>
                <a:uFillTx/>
                <a:latin typeface="Roboto Light"/>
                <a:ea typeface="+mn-ea"/>
                <a:cs typeface="+mn-cs"/>
              </a:rPr>
              <a:t>Geri ödemeli 4.2 milyon  TL </a:t>
            </a:r>
            <a:br>
              <a:rPr kumimoji="0" lang="tr-TR" sz="1405" b="0" i="0" u="none" strike="noStrike" kern="1200" cap="none" spc="0" normalizeH="0" baseline="0" noProof="0" dirty="0">
                <a:ln>
                  <a:noFill/>
                </a:ln>
                <a:solidFill>
                  <a:prstClr val="white"/>
                </a:solidFill>
                <a:effectLst/>
                <a:uLnTx/>
                <a:uFillTx/>
                <a:latin typeface="Roboto Light"/>
                <a:ea typeface="+mn-ea"/>
                <a:cs typeface="+mn-cs"/>
              </a:rPr>
            </a:br>
            <a:r>
              <a:rPr kumimoji="0" lang="tr-TR" sz="1405" b="0" i="0" u="none" strike="noStrike" kern="1200" cap="none" spc="0" normalizeH="0" baseline="0" noProof="0" dirty="0">
                <a:ln>
                  <a:noFill/>
                </a:ln>
                <a:solidFill>
                  <a:prstClr val="white"/>
                </a:solidFill>
                <a:effectLst/>
                <a:uLnTx/>
                <a:uFillTx/>
                <a:latin typeface="Roboto Light"/>
                <a:ea typeface="+mn-ea"/>
                <a:cs typeface="+mn-cs"/>
              </a:rPr>
              <a:t>Geri ödemesiz 1.8 milyon TL olmak üzere toplam </a:t>
            </a:r>
            <a:br>
              <a:rPr kumimoji="0" lang="tr-TR" sz="1405" b="0" i="0" u="none" strike="noStrike" kern="1200" cap="none" spc="0" normalizeH="0" baseline="0" noProof="0" dirty="0">
                <a:ln>
                  <a:noFill/>
                </a:ln>
                <a:solidFill>
                  <a:prstClr val="white"/>
                </a:solidFill>
                <a:effectLst/>
                <a:uLnTx/>
                <a:uFillTx/>
                <a:latin typeface="Roboto Light"/>
                <a:ea typeface="+mn-ea"/>
                <a:cs typeface="+mn-cs"/>
              </a:rPr>
            </a:br>
            <a:r>
              <a:rPr kumimoji="0" lang="tr-TR" sz="1405" b="1" i="0" u="none" strike="noStrike" kern="1200" cap="none" spc="0" normalizeH="0" baseline="0" noProof="0" dirty="0">
                <a:ln>
                  <a:noFill/>
                </a:ln>
                <a:solidFill>
                  <a:prstClr val="white"/>
                </a:solidFill>
                <a:effectLst/>
                <a:uLnTx/>
                <a:uFillTx/>
                <a:latin typeface="Roboto Light"/>
                <a:ea typeface="+mn-ea"/>
                <a:cs typeface="+mn-cs"/>
              </a:rPr>
              <a:t>6 milyon TL</a:t>
            </a:r>
          </a:p>
        </p:txBody>
      </p:sp>
      <p:pic>
        <p:nvPicPr>
          <p:cNvPr id="17" name="Picture 3"/>
          <p:cNvPicPr>
            <a:picLocks noChangeAspect="1" noChangeArrowheads="1"/>
          </p:cNvPicPr>
          <p:nvPr/>
        </p:nvPicPr>
        <p:blipFill>
          <a:blip r:embed="rId5" cstate="print"/>
          <a:srcRect/>
          <a:stretch>
            <a:fillRect/>
          </a:stretch>
        </p:blipFill>
        <p:spPr bwMode="auto">
          <a:xfrm>
            <a:off x="11299547" y="130154"/>
            <a:ext cx="722715" cy="509772"/>
          </a:xfrm>
          <a:prstGeom prst="rect">
            <a:avLst/>
          </a:prstGeom>
          <a:noFill/>
          <a:ln w="9525">
            <a:noFill/>
            <a:miter lim="800000"/>
            <a:headEnd/>
            <a:tailEnd/>
          </a:ln>
        </p:spPr>
      </p:pic>
      <p:sp>
        <p:nvSpPr>
          <p:cNvPr id="20" name="Metin kutusu 19"/>
          <p:cNvSpPr txBox="1"/>
          <p:nvPr/>
        </p:nvSpPr>
        <p:spPr>
          <a:xfrm>
            <a:off x="7417041" y="1841771"/>
            <a:ext cx="3691556" cy="8628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7" b="1" i="0" u="none" strike="noStrike" kern="1200" cap="none" spc="0" normalizeH="0" baseline="0" noProof="0" dirty="0">
                <a:ln>
                  <a:noFill/>
                </a:ln>
                <a:solidFill>
                  <a:srgbClr val="70AD47">
                    <a:lumMod val="75000"/>
                  </a:srgbClr>
                </a:solidFill>
                <a:effectLst/>
                <a:uLnTx/>
                <a:uFillTx/>
                <a:latin typeface="Roboto Light"/>
                <a:ea typeface="+mn-ea"/>
                <a:cs typeface="+mn-cs"/>
              </a:rPr>
              <a:t>Destek Oranı: </a:t>
            </a:r>
            <a:r>
              <a:rPr kumimoji="0" lang="tr-TR" sz="1807" b="1" i="0" u="none" strike="noStrike" kern="1200" cap="none" spc="0" normalizeH="0" baseline="0" noProof="0" dirty="0">
                <a:ln>
                  <a:noFill/>
                </a:ln>
                <a:solidFill>
                  <a:prstClr val="black"/>
                </a:solidFill>
                <a:effectLst/>
                <a:uLnTx/>
                <a:uFillTx/>
                <a:latin typeface="Roboto Light"/>
                <a:ea typeface="+mn-ea"/>
                <a:cs typeface="+mn-cs"/>
              </a:rPr>
              <a:t>%6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prstClr val="black"/>
                </a:solidFill>
                <a:effectLst/>
                <a:uLnTx/>
                <a:uFillTx/>
                <a:latin typeface="Roboto Light"/>
                <a:ea typeface="+mn-ea"/>
                <a:cs typeface="+mn-cs"/>
              </a:rPr>
              <a:t>(%30 Geri Ödemesiz, %70  Geri Ödemel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1" u="none" strike="noStrike" kern="1200" cap="none" spc="0" normalizeH="0" baseline="0" noProof="0" dirty="0">
                <a:ln>
                  <a:noFill/>
                </a:ln>
                <a:solidFill>
                  <a:srgbClr val="5B9BD5">
                    <a:lumMod val="75000"/>
                  </a:srgbClr>
                </a:solidFill>
                <a:effectLst/>
                <a:uLnTx/>
                <a:uFillTx/>
                <a:latin typeface="Roboto Light"/>
                <a:ea typeface="+mn-ea"/>
                <a:cs typeface="+mn-cs"/>
              </a:rPr>
              <a:t>(Personel Gideri Desteği Hariç)</a:t>
            </a:r>
          </a:p>
        </p:txBody>
      </p:sp>
      <p:pic>
        <p:nvPicPr>
          <p:cNvPr id="2" name="Resim 1"/>
          <p:cNvPicPr>
            <a:picLocks noChangeAspect="1"/>
          </p:cNvPicPr>
          <p:nvPr/>
        </p:nvPicPr>
        <p:blipFill>
          <a:blip r:embed="rId6"/>
          <a:stretch>
            <a:fillRect/>
          </a:stretch>
        </p:blipFill>
        <p:spPr>
          <a:xfrm>
            <a:off x="5938493" y="1636098"/>
            <a:ext cx="1478548" cy="1182838"/>
          </a:xfrm>
          <a:prstGeom prst="rect">
            <a:avLst/>
          </a:prstGeom>
        </p:spPr>
      </p:pic>
      <p:sp>
        <p:nvSpPr>
          <p:cNvPr id="3" name="Slayt Numarası Yer Tutucusu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17BAC-AD27-4367-93BC-03BF7B01E6B3}" type="slidenum">
              <a:rPr kumimoji="0" lang="en-US" sz="1200" b="0" i="0" u="none" strike="noStrike" kern="1200" cap="none" spc="0" normalizeH="0" baseline="0" noProof="0" smtClean="0">
                <a:ln>
                  <a:noFill/>
                </a:ln>
                <a:solidFill>
                  <a:prstClr val="black">
                    <a:tint val="75000"/>
                  </a:prst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tint val="75000"/>
                </a:prstClr>
              </a:solidFill>
              <a:effectLst/>
              <a:uLnTx/>
              <a:uFillTx/>
              <a:latin typeface="Roboto Light"/>
              <a:ea typeface="+mn-ea"/>
              <a:cs typeface="+mn-cs"/>
            </a:endParaRPr>
          </a:p>
        </p:txBody>
      </p:sp>
      <p:sp>
        <p:nvSpPr>
          <p:cNvPr id="18" name="4 Metin kutusu">
            <a:extLst>
              <a:ext uri="{FF2B5EF4-FFF2-40B4-BE49-F238E27FC236}">
                <a16:creationId xmlns:a16="http://schemas.microsoft.com/office/drawing/2014/main" id="{A7E944ED-8C64-4E30-8990-6E8A327CBC11}"/>
              </a:ext>
            </a:extLst>
          </p:cNvPr>
          <p:cNvSpPr txBox="1"/>
          <p:nvPr/>
        </p:nvSpPr>
        <p:spPr>
          <a:xfrm>
            <a:off x="1953110" y="409347"/>
            <a:ext cx="10849205"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0" b="1"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rPr>
              <a:t>KOBİ TEKNOYATIRIM DESTEK PROGRAMI</a:t>
            </a:r>
          </a:p>
        </p:txBody>
      </p:sp>
      <p:pic>
        <p:nvPicPr>
          <p:cNvPr id="19" name="Resim 18">
            <a:extLst>
              <a:ext uri="{FF2B5EF4-FFF2-40B4-BE49-F238E27FC236}">
                <a16:creationId xmlns:a16="http://schemas.microsoft.com/office/drawing/2014/main" id="{45CA8E30-1A16-4557-A2BC-D3EFD15A5C5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6776" y="260382"/>
            <a:ext cx="1204630" cy="702701"/>
          </a:xfrm>
          <a:prstGeom prst="rect">
            <a:avLst/>
          </a:prstGeom>
        </p:spPr>
      </p:pic>
      <p:sp>
        <p:nvSpPr>
          <p:cNvPr id="21" name="Dikdörtgen 20">
            <a:extLst>
              <a:ext uri="{FF2B5EF4-FFF2-40B4-BE49-F238E27FC236}">
                <a16:creationId xmlns:a16="http://schemas.microsoft.com/office/drawing/2014/main" id="{8728320A-47A4-44BB-9F7D-01456A3D26AE}"/>
              </a:ext>
            </a:extLst>
          </p:cNvPr>
          <p:cNvSpPr/>
          <p:nvPr/>
        </p:nvSpPr>
        <p:spPr>
          <a:xfrm>
            <a:off x="1953110" y="881993"/>
            <a:ext cx="5048562"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000" b="1" i="0" u="none" strike="noStrike" kern="1200" cap="none" spc="0" normalizeH="0" baseline="0" noProof="0" dirty="0">
                <a:ln>
                  <a:noFill/>
                </a:ln>
                <a:solidFill>
                  <a:srgbClr val="00B050"/>
                </a:solidFill>
                <a:effectLst/>
                <a:uLnTx/>
                <a:uFillTx/>
                <a:latin typeface="Times New Roman" panose="02020603050405020304" pitchFamily="18" charset="0"/>
                <a:ea typeface="ヒラギノ角ゴ Pro W3" pitchFamily="1" charset="-128"/>
                <a:cs typeface="Times New Roman" panose="02020603050405020304" pitchFamily="18" charset="0"/>
              </a:rPr>
              <a:t>DESTEK ÜST LİMİTİ VE PROJE SÜRESİ</a:t>
            </a:r>
            <a:endParaRPr kumimoji="0" lang="en-US" sz="2000" b="1" i="0" u="none" strike="noStrike" kern="1200" cap="none" spc="0" normalizeH="0" baseline="0" noProof="0" dirty="0">
              <a:ln>
                <a:noFill/>
              </a:ln>
              <a:solidFill>
                <a:srgbClr val="00B05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Tree>
    <p:custDataLst>
      <p:tags r:id="rId1"/>
    </p:custDataLst>
    <p:extLst>
      <p:ext uri="{BB962C8B-B14F-4D97-AF65-F5344CB8AC3E}">
        <p14:creationId xmlns:p14="http://schemas.microsoft.com/office/powerpoint/2010/main" val="17673886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Resim 24"/>
          <p:cNvPicPr>
            <a:picLocks noChangeAspect="1"/>
          </p:cNvPicPr>
          <p:nvPr/>
        </p:nvPicPr>
        <p:blipFill>
          <a:blip r:embed="rId2"/>
          <a:stretch>
            <a:fillRect/>
          </a:stretch>
        </p:blipFill>
        <p:spPr>
          <a:xfrm rot="222071">
            <a:off x="5809869" y="929416"/>
            <a:ext cx="534287" cy="709785"/>
          </a:xfrm>
          <a:prstGeom prst="rect">
            <a:avLst/>
          </a:prstGeom>
        </p:spPr>
      </p:pic>
      <p:pic>
        <p:nvPicPr>
          <p:cNvPr id="20" name="Resim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8360" y="2148901"/>
            <a:ext cx="1347277" cy="1010457"/>
          </a:xfrm>
          <a:prstGeom prst="rect">
            <a:avLst/>
          </a:prstGeom>
        </p:spPr>
      </p:pic>
      <p:pic>
        <p:nvPicPr>
          <p:cNvPr id="5" name="Resim 4"/>
          <p:cNvPicPr>
            <a:picLocks noChangeAspect="1"/>
          </p:cNvPicPr>
          <p:nvPr/>
        </p:nvPicPr>
        <p:blipFill rotWithShape="1">
          <a:blip r:embed="rId4">
            <a:extLst>
              <a:ext uri="{28A0092B-C50C-407E-A947-70E740481C1C}">
                <a14:useLocalDpi xmlns:a14="http://schemas.microsoft.com/office/drawing/2010/main" val="0"/>
              </a:ext>
            </a:extLst>
          </a:blip>
          <a:srcRect l="5426" t="65261" r="29879"/>
          <a:stretch/>
        </p:blipFill>
        <p:spPr>
          <a:xfrm>
            <a:off x="687029" y="3198543"/>
            <a:ext cx="1769652" cy="950229"/>
          </a:xfrm>
          <a:prstGeom prst="rect">
            <a:avLst/>
          </a:prstGeom>
        </p:spPr>
      </p:pic>
      <p:pic>
        <p:nvPicPr>
          <p:cNvPr id="2050" name="Picture 2" descr="C:\Users\bahar.erdogan\Downloads\software-icon-3208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58322" y="1989910"/>
            <a:ext cx="986407" cy="986407"/>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Users\bahar.erdogan\Downloads\team-icon-29514.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7234" y="4591328"/>
            <a:ext cx="1029530" cy="89011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Users\bahar.erdogan\Downloads\consultancy-icon-1567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15494" y="3332657"/>
            <a:ext cx="915450" cy="915450"/>
          </a:xfrm>
          <a:prstGeom prst="rect">
            <a:avLst/>
          </a:prstGeom>
          <a:noFill/>
          <a:extLst>
            <a:ext uri="{909E8E84-426E-40DD-AFC4-6F175D3DCCD1}">
              <a14:hiddenFill xmlns:a14="http://schemas.microsoft.com/office/drawing/2010/main">
                <a:solidFill>
                  <a:srgbClr val="FFFFFF"/>
                </a:solidFill>
              </a14:hiddenFill>
            </a:ext>
          </a:extLst>
        </p:spPr>
      </p:pic>
      <p:pic>
        <p:nvPicPr>
          <p:cNvPr id="7" name="Resim 6"/>
          <p:cNvPicPr>
            <a:picLocks noChangeAspect="1"/>
          </p:cNvPicPr>
          <p:nvPr/>
        </p:nvPicPr>
        <p:blipFill rotWithShape="1">
          <a:blip r:embed="rId8">
            <a:extLst>
              <a:ext uri="{28A0092B-C50C-407E-A947-70E740481C1C}">
                <a14:useLocalDpi xmlns:a14="http://schemas.microsoft.com/office/drawing/2010/main" val="0"/>
              </a:ext>
            </a:extLst>
          </a:blip>
          <a:srcRect l="59599" t="85534" r="20200" b="1552"/>
          <a:stretch/>
        </p:blipFill>
        <p:spPr>
          <a:xfrm>
            <a:off x="6489470" y="4077709"/>
            <a:ext cx="1419829" cy="1669209"/>
          </a:xfrm>
          <a:prstGeom prst="rect">
            <a:avLst/>
          </a:prstGeom>
        </p:spPr>
      </p:pic>
      <p:sp>
        <p:nvSpPr>
          <p:cNvPr id="4" name="Dikdörtgen 3"/>
          <p:cNvSpPr/>
          <p:nvPr/>
        </p:nvSpPr>
        <p:spPr>
          <a:xfrm>
            <a:off x="2516098" y="3562996"/>
            <a:ext cx="4588996" cy="370754"/>
          </a:xfrm>
          <a:prstGeom prst="rect">
            <a:avLst/>
          </a:prstGeom>
        </p:spPr>
        <p:txBody>
          <a:bodyPr lIns="91768" tIns="45884" rIns="91768" bIns="45884">
            <a:spAutoFit/>
          </a:bodyPr>
          <a:lstStyle/>
          <a:p>
            <a:pPr marL="286768" marR="0" lvl="0" indent="-286768"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
              <a:tabLst/>
              <a:defRPr/>
            </a:pPr>
            <a:r>
              <a:rPr kumimoji="0" lang="tr-TR" sz="1807" b="1" i="0" u="none" strike="noStrike" kern="1200" cap="none" spc="0" normalizeH="0" baseline="0" noProof="0" dirty="0">
                <a:ln>
                  <a:noFill/>
                </a:ln>
                <a:solidFill>
                  <a:prstClr val="black"/>
                </a:solidFill>
                <a:effectLst/>
                <a:uLnTx/>
                <a:uFillTx/>
                <a:latin typeface="Roboto Light"/>
                <a:ea typeface="+mn-ea"/>
                <a:cs typeface="+mn-cs"/>
              </a:rPr>
              <a:t>Üretim hattı tasarım giderleri desteği</a:t>
            </a:r>
          </a:p>
        </p:txBody>
      </p:sp>
      <p:pic>
        <p:nvPicPr>
          <p:cNvPr id="14" name="Picture 3"/>
          <p:cNvPicPr>
            <a:picLocks noChangeAspect="1" noChangeArrowheads="1"/>
          </p:cNvPicPr>
          <p:nvPr/>
        </p:nvPicPr>
        <p:blipFill>
          <a:blip r:embed="rId9" cstate="print"/>
          <a:srcRect/>
          <a:stretch>
            <a:fillRect/>
          </a:stretch>
        </p:blipFill>
        <p:spPr bwMode="auto">
          <a:xfrm>
            <a:off x="11299547" y="130154"/>
            <a:ext cx="722715" cy="509772"/>
          </a:xfrm>
          <a:prstGeom prst="rect">
            <a:avLst/>
          </a:prstGeom>
          <a:noFill/>
          <a:ln w="9525">
            <a:noFill/>
            <a:miter lim="800000"/>
            <a:headEnd/>
            <a:tailEnd/>
          </a:ln>
        </p:spPr>
      </p:pic>
      <p:sp>
        <p:nvSpPr>
          <p:cNvPr id="2" name="Dikdörtgen 1"/>
          <p:cNvSpPr/>
          <p:nvPr/>
        </p:nvSpPr>
        <p:spPr>
          <a:xfrm>
            <a:off x="1935332" y="1060525"/>
            <a:ext cx="2820003"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000" b="1" i="0" u="none" strike="noStrike" kern="1200" cap="none" spc="0" normalizeH="0" baseline="0" noProof="0" dirty="0">
                <a:ln>
                  <a:noFill/>
                </a:ln>
                <a:solidFill>
                  <a:srgbClr val="00B050"/>
                </a:solidFill>
                <a:effectLst/>
                <a:uLnTx/>
                <a:uFillTx/>
                <a:latin typeface="Times New Roman" panose="02020603050405020304" pitchFamily="18" charset="0"/>
                <a:ea typeface="ヒラギノ角ゴ Pro W3" pitchFamily="1" charset="-128"/>
                <a:cs typeface="Times New Roman" panose="02020603050405020304" pitchFamily="18" charset="0"/>
              </a:rPr>
              <a:t>DESTEK UNSURLARI</a:t>
            </a:r>
            <a:endParaRPr kumimoji="0" lang="en-US" sz="2000" b="1" i="0" u="none" strike="noStrike" kern="1200" cap="none" spc="0" normalizeH="0" baseline="0" noProof="0" dirty="0">
              <a:ln>
                <a:noFill/>
              </a:ln>
              <a:solidFill>
                <a:srgbClr val="00B05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6" name="Slayt Numarası Yer Tutucusu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17BAC-AD27-4367-93BC-03BF7B01E6B3}" type="slidenum">
              <a:rPr kumimoji="0" lang="en-US" sz="1200" b="0" i="0" u="none" strike="noStrike" kern="1200" cap="none" spc="0" normalizeH="0" baseline="0" noProof="0" smtClean="0">
                <a:ln>
                  <a:noFill/>
                </a:ln>
                <a:solidFill>
                  <a:prstClr val="black">
                    <a:tint val="75000"/>
                  </a:prst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tint val="75000"/>
                </a:prstClr>
              </a:solidFill>
              <a:effectLst/>
              <a:uLnTx/>
              <a:uFillTx/>
              <a:latin typeface="Roboto Light"/>
              <a:ea typeface="+mn-ea"/>
              <a:cs typeface="+mn-cs"/>
            </a:endParaRPr>
          </a:p>
        </p:txBody>
      </p:sp>
      <p:sp>
        <p:nvSpPr>
          <p:cNvPr id="15" name="4 Metin kutusu">
            <a:extLst>
              <a:ext uri="{FF2B5EF4-FFF2-40B4-BE49-F238E27FC236}">
                <a16:creationId xmlns:a16="http://schemas.microsoft.com/office/drawing/2014/main" id="{03EAF915-210E-48E4-82A3-1B61DC806401}"/>
              </a:ext>
            </a:extLst>
          </p:cNvPr>
          <p:cNvSpPr txBox="1"/>
          <p:nvPr/>
        </p:nvSpPr>
        <p:spPr>
          <a:xfrm>
            <a:off x="1935332" y="458812"/>
            <a:ext cx="10849205"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0" b="1"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rPr>
              <a:t>KOBİ TEKNOYATIRIM DESTEK PROGRAMI</a:t>
            </a:r>
          </a:p>
        </p:txBody>
      </p:sp>
      <p:pic>
        <p:nvPicPr>
          <p:cNvPr id="16" name="Resim 15">
            <a:extLst>
              <a:ext uri="{FF2B5EF4-FFF2-40B4-BE49-F238E27FC236}">
                <a16:creationId xmlns:a16="http://schemas.microsoft.com/office/drawing/2014/main" id="{284AA315-E694-4947-A867-9440BD5D489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3094" y="260013"/>
            <a:ext cx="1204630" cy="702701"/>
          </a:xfrm>
          <a:prstGeom prst="rect">
            <a:avLst/>
          </a:prstGeom>
        </p:spPr>
      </p:pic>
      <p:sp>
        <p:nvSpPr>
          <p:cNvPr id="18" name="Metin kutusu 17">
            <a:extLst>
              <a:ext uri="{FF2B5EF4-FFF2-40B4-BE49-F238E27FC236}">
                <a16:creationId xmlns:a16="http://schemas.microsoft.com/office/drawing/2014/main" id="{5F037062-80F0-4605-B7B6-2A38E5C260ED}"/>
              </a:ext>
            </a:extLst>
          </p:cNvPr>
          <p:cNvSpPr txBox="1"/>
          <p:nvPr/>
        </p:nvSpPr>
        <p:spPr>
          <a:xfrm>
            <a:off x="2492731" y="4867745"/>
            <a:ext cx="6390966" cy="369332"/>
          </a:xfrm>
          <a:prstGeom prst="rect">
            <a:avLst/>
          </a:prstGeom>
          <a:noFill/>
        </p:spPr>
        <p:txBody>
          <a:bodyPr wrap="square">
            <a:spAutoFit/>
          </a:bodyPr>
          <a:lstStyle/>
          <a:p>
            <a:pPr marL="286768" marR="0" lvl="0" indent="-286768"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
              <a:tabLst/>
              <a:defRPr/>
            </a:pPr>
            <a:r>
              <a:rPr kumimoji="0" lang="tr-TR" sz="1800" b="1" i="0" u="none" strike="noStrike" kern="1200" cap="none" spc="0" normalizeH="0" baseline="0" noProof="0" dirty="0">
                <a:ln>
                  <a:noFill/>
                </a:ln>
                <a:solidFill>
                  <a:prstClr val="black"/>
                </a:solidFill>
                <a:effectLst/>
                <a:uLnTx/>
                <a:uFillTx/>
                <a:latin typeface="Roboto Light"/>
                <a:ea typeface="+mn-ea"/>
                <a:cs typeface="+mn-cs"/>
              </a:rPr>
              <a:t>Personel gideri desteği</a:t>
            </a:r>
          </a:p>
        </p:txBody>
      </p:sp>
      <p:sp>
        <p:nvSpPr>
          <p:cNvPr id="21" name="Metin kutusu 20">
            <a:extLst>
              <a:ext uri="{FF2B5EF4-FFF2-40B4-BE49-F238E27FC236}">
                <a16:creationId xmlns:a16="http://schemas.microsoft.com/office/drawing/2014/main" id="{42F9CB74-F258-4716-9B48-D5EB6B0D9420}"/>
              </a:ext>
            </a:extLst>
          </p:cNvPr>
          <p:cNvSpPr txBox="1"/>
          <p:nvPr/>
        </p:nvSpPr>
        <p:spPr>
          <a:xfrm>
            <a:off x="2592033" y="2400903"/>
            <a:ext cx="6390966" cy="369332"/>
          </a:xfrm>
          <a:prstGeom prst="rect">
            <a:avLst/>
          </a:prstGeom>
          <a:noFill/>
        </p:spPr>
        <p:txBody>
          <a:bodyPr wrap="square">
            <a:spAutoFit/>
          </a:bodyPr>
          <a:lstStyle/>
          <a:p>
            <a:pPr marL="286768" marR="0" lvl="0" indent="-286768"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
              <a:tabLst/>
              <a:defRPr/>
            </a:pPr>
            <a:r>
              <a:rPr kumimoji="0" lang="tr-TR" sz="1800" b="1" i="0" u="none" strike="noStrike" kern="1200" cap="none" spc="0" normalizeH="0" baseline="0" noProof="0" dirty="0">
                <a:ln>
                  <a:noFill/>
                </a:ln>
                <a:solidFill>
                  <a:prstClr val="black"/>
                </a:solidFill>
                <a:effectLst/>
                <a:uLnTx/>
                <a:uFillTx/>
                <a:latin typeface="Roboto Light"/>
                <a:ea typeface="+mn-ea"/>
                <a:cs typeface="+mn-cs"/>
              </a:rPr>
              <a:t>Makine-teçhizat desteği</a:t>
            </a:r>
          </a:p>
        </p:txBody>
      </p:sp>
      <p:sp>
        <p:nvSpPr>
          <p:cNvPr id="22" name="Metin kutusu 21">
            <a:extLst>
              <a:ext uri="{FF2B5EF4-FFF2-40B4-BE49-F238E27FC236}">
                <a16:creationId xmlns:a16="http://schemas.microsoft.com/office/drawing/2014/main" id="{E7628E93-ECE4-465A-A6B7-E585C60F0B98}"/>
              </a:ext>
            </a:extLst>
          </p:cNvPr>
          <p:cNvSpPr txBox="1"/>
          <p:nvPr/>
        </p:nvSpPr>
        <p:spPr>
          <a:xfrm>
            <a:off x="7703659" y="2362628"/>
            <a:ext cx="6390966" cy="369332"/>
          </a:xfrm>
          <a:prstGeom prst="rect">
            <a:avLst/>
          </a:prstGeom>
          <a:noFill/>
        </p:spPr>
        <p:txBody>
          <a:bodyPr wrap="square">
            <a:spAutoFit/>
          </a:bodyPr>
          <a:lstStyle/>
          <a:p>
            <a:pPr marL="286768" marR="0" lvl="0" indent="-286768"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
              <a:tabLst/>
              <a:defRPr/>
            </a:pPr>
            <a:r>
              <a:rPr kumimoji="0" lang="tr-TR" sz="1800" b="1" i="0" u="none" strike="noStrike" kern="1200" cap="none" spc="0" normalizeH="0" baseline="0" noProof="0" dirty="0">
                <a:ln>
                  <a:noFill/>
                </a:ln>
                <a:solidFill>
                  <a:prstClr val="black"/>
                </a:solidFill>
                <a:effectLst/>
                <a:uLnTx/>
                <a:uFillTx/>
                <a:latin typeface="Roboto Light"/>
                <a:ea typeface="+mn-ea"/>
                <a:cs typeface="+mn-cs"/>
              </a:rPr>
              <a:t>Yazılım giderleri desteği</a:t>
            </a:r>
          </a:p>
        </p:txBody>
      </p:sp>
      <p:sp>
        <p:nvSpPr>
          <p:cNvPr id="24" name="Metin kutusu 23">
            <a:extLst>
              <a:ext uri="{FF2B5EF4-FFF2-40B4-BE49-F238E27FC236}">
                <a16:creationId xmlns:a16="http://schemas.microsoft.com/office/drawing/2014/main" id="{CBF5388C-5B07-4FA0-B064-0CB444F3ADF6}"/>
              </a:ext>
            </a:extLst>
          </p:cNvPr>
          <p:cNvSpPr txBox="1"/>
          <p:nvPr/>
        </p:nvSpPr>
        <p:spPr>
          <a:xfrm>
            <a:off x="7703659" y="3621590"/>
            <a:ext cx="6390966" cy="369332"/>
          </a:xfrm>
          <a:prstGeom prst="rect">
            <a:avLst/>
          </a:prstGeom>
          <a:noFill/>
        </p:spPr>
        <p:txBody>
          <a:bodyPr wrap="square">
            <a:spAutoFit/>
          </a:bodyPr>
          <a:lstStyle/>
          <a:p>
            <a:pPr marL="286768" marR="0" lvl="0" indent="-286768"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
              <a:tabLst/>
              <a:defRPr/>
            </a:pPr>
            <a:r>
              <a:rPr kumimoji="0" lang="tr-TR" sz="1800" b="1" i="0" u="none" strike="noStrike" kern="1200" cap="none" spc="0" normalizeH="0" baseline="0" noProof="0" dirty="0">
                <a:ln>
                  <a:noFill/>
                </a:ln>
                <a:solidFill>
                  <a:prstClr val="black"/>
                </a:solidFill>
                <a:effectLst/>
                <a:uLnTx/>
                <a:uFillTx/>
                <a:latin typeface="Roboto Light"/>
                <a:ea typeface="+mn-ea"/>
                <a:cs typeface="+mn-cs"/>
              </a:rPr>
              <a:t>Eğitim ve danışmanlık desteği</a:t>
            </a:r>
          </a:p>
        </p:txBody>
      </p:sp>
      <p:sp>
        <p:nvSpPr>
          <p:cNvPr id="26" name="Metin kutusu 25">
            <a:extLst>
              <a:ext uri="{FF2B5EF4-FFF2-40B4-BE49-F238E27FC236}">
                <a16:creationId xmlns:a16="http://schemas.microsoft.com/office/drawing/2014/main" id="{9C79F69E-4FFE-425B-A347-804E797BC64C}"/>
              </a:ext>
            </a:extLst>
          </p:cNvPr>
          <p:cNvSpPr txBox="1"/>
          <p:nvPr/>
        </p:nvSpPr>
        <p:spPr>
          <a:xfrm>
            <a:off x="7598138" y="4809210"/>
            <a:ext cx="6946490" cy="369332"/>
          </a:xfrm>
          <a:prstGeom prst="rect">
            <a:avLst/>
          </a:prstGeom>
          <a:noFill/>
        </p:spPr>
        <p:txBody>
          <a:bodyPr wrap="square">
            <a:spAutoFit/>
          </a:bodyPr>
          <a:lstStyle/>
          <a:p>
            <a:pPr marL="286768" marR="0" lvl="0" indent="-286768"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
              <a:tabLst/>
              <a:defRPr/>
            </a:pPr>
            <a:r>
              <a:rPr kumimoji="0" lang="tr-TR" sz="1800" b="1" i="0" u="none" strike="noStrike" kern="1200" cap="none" spc="0" normalizeH="0" baseline="0" noProof="0" dirty="0">
                <a:ln>
                  <a:noFill/>
                </a:ln>
                <a:solidFill>
                  <a:prstClr val="black"/>
                </a:solidFill>
                <a:effectLst/>
                <a:uLnTx/>
                <a:uFillTx/>
                <a:latin typeface="Roboto Light"/>
                <a:ea typeface="+mn-ea"/>
                <a:cs typeface="+mn-cs"/>
              </a:rPr>
              <a:t>Tanıtım ve pazarlama giderleri desteği</a:t>
            </a:r>
          </a:p>
        </p:txBody>
      </p:sp>
    </p:spTree>
    <p:extLst>
      <p:ext uri="{BB962C8B-B14F-4D97-AF65-F5344CB8AC3E}">
        <p14:creationId xmlns:p14="http://schemas.microsoft.com/office/powerpoint/2010/main" val="32132903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c 4"/>
          <p:cNvSpPr>
            <a:spLocks noChangeAspect="1"/>
          </p:cNvSpPr>
          <p:nvPr/>
        </p:nvSpPr>
        <p:spPr>
          <a:xfrm rot="10800000">
            <a:off x="750017" y="1723707"/>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Arc 5"/>
          <p:cNvSpPr>
            <a:spLocks noChangeAspect="1"/>
          </p:cNvSpPr>
          <p:nvPr/>
        </p:nvSpPr>
        <p:spPr>
          <a:xfrm>
            <a:off x="2532031" y="1723709"/>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Arc 8"/>
          <p:cNvSpPr>
            <a:spLocks noChangeAspect="1"/>
          </p:cNvSpPr>
          <p:nvPr/>
        </p:nvSpPr>
        <p:spPr>
          <a:xfrm rot="10800000">
            <a:off x="4314046" y="1723709"/>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Arc 9"/>
          <p:cNvSpPr>
            <a:spLocks noChangeAspect="1"/>
          </p:cNvSpPr>
          <p:nvPr/>
        </p:nvSpPr>
        <p:spPr>
          <a:xfrm>
            <a:off x="6096059" y="1723711"/>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Arc 12"/>
          <p:cNvSpPr>
            <a:spLocks noChangeAspect="1"/>
          </p:cNvSpPr>
          <p:nvPr/>
        </p:nvSpPr>
        <p:spPr>
          <a:xfrm rot="10800000">
            <a:off x="7878074" y="1723711"/>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Arc 13"/>
          <p:cNvSpPr>
            <a:spLocks noChangeAspect="1"/>
          </p:cNvSpPr>
          <p:nvPr/>
        </p:nvSpPr>
        <p:spPr>
          <a:xfrm>
            <a:off x="9660089" y="1723714"/>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Arc 2"/>
          <p:cNvSpPr>
            <a:spLocks noChangeAspect="1"/>
          </p:cNvSpPr>
          <p:nvPr/>
        </p:nvSpPr>
        <p:spPr>
          <a:xfrm>
            <a:off x="750017" y="1723707"/>
            <a:ext cx="1781801" cy="1781802"/>
          </a:xfrm>
          <a:prstGeom prst="arc">
            <a:avLst>
              <a:gd name="adj1" fmla="val 10800000"/>
              <a:gd name="adj2" fmla="val 0"/>
            </a:avLst>
          </a:prstGeom>
          <a:ln w="57150">
            <a:solidFill>
              <a:schemeClr val="tx2">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Arc 6"/>
          <p:cNvSpPr>
            <a:spLocks noChangeAspect="1"/>
          </p:cNvSpPr>
          <p:nvPr/>
        </p:nvSpPr>
        <p:spPr>
          <a:xfrm rot="10800000">
            <a:off x="2532031" y="1723708"/>
            <a:ext cx="1781803" cy="1781803"/>
          </a:xfrm>
          <a:prstGeom prst="arc">
            <a:avLst>
              <a:gd name="adj1" fmla="val 10800000"/>
              <a:gd name="adj2" fmla="val 0"/>
            </a:avLst>
          </a:prstGeom>
          <a:ln w="57150">
            <a:solidFill>
              <a:schemeClr val="accent1">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Arc 7"/>
          <p:cNvSpPr>
            <a:spLocks noChangeAspect="1"/>
          </p:cNvSpPr>
          <p:nvPr/>
        </p:nvSpPr>
        <p:spPr>
          <a:xfrm>
            <a:off x="4314046" y="1723710"/>
            <a:ext cx="1781803" cy="1781803"/>
          </a:xfrm>
          <a:prstGeom prst="arc">
            <a:avLst>
              <a:gd name="adj1" fmla="val 10800000"/>
              <a:gd name="adj2" fmla="val 0"/>
            </a:avLst>
          </a:prstGeom>
          <a:ln w="57150">
            <a:solidFill>
              <a:schemeClr val="accent2">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Arc 10"/>
          <p:cNvSpPr>
            <a:spLocks noChangeAspect="1"/>
          </p:cNvSpPr>
          <p:nvPr/>
        </p:nvSpPr>
        <p:spPr>
          <a:xfrm rot="10800000">
            <a:off x="6096059" y="1723710"/>
            <a:ext cx="1781803" cy="1781803"/>
          </a:xfrm>
          <a:prstGeom prst="arc">
            <a:avLst>
              <a:gd name="adj1" fmla="val 10800000"/>
              <a:gd name="adj2" fmla="val 0"/>
            </a:avLst>
          </a:prstGeom>
          <a:ln w="57150">
            <a:solidFill>
              <a:schemeClr val="accent3">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Arc 11"/>
          <p:cNvSpPr>
            <a:spLocks noChangeAspect="1"/>
          </p:cNvSpPr>
          <p:nvPr/>
        </p:nvSpPr>
        <p:spPr>
          <a:xfrm>
            <a:off x="7878074" y="1723713"/>
            <a:ext cx="1781803" cy="1781803"/>
          </a:xfrm>
          <a:prstGeom prst="arc">
            <a:avLst>
              <a:gd name="adj1" fmla="val 10800000"/>
              <a:gd name="adj2" fmla="val 0"/>
            </a:avLst>
          </a:prstGeom>
          <a:ln w="57150">
            <a:solidFill>
              <a:schemeClr val="accent4">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Arc 14"/>
          <p:cNvSpPr>
            <a:spLocks noChangeAspect="1"/>
          </p:cNvSpPr>
          <p:nvPr/>
        </p:nvSpPr>
        <p:spPr>
          <a:xfrm rot="10800000">
            <a:off x="9660089" y="1723713"/>
            <a:ext cx="1781803" cy="1781803"/>
          </a:xfrm>
          <a:prstGeom prst="arc">
            <a:avLst>
              <a:gd name="adj1" fmla="val 10800000"/>
              <a:gd name="adj2" fmla="val 0"/>
            </a:avLst>
          </a:prstGeom>
          <a:ln w="57150">
            <a:solidFill>
              <a:schemeClr val="accent5">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TextBox 16"/>
          <p:cNvSpPr txBox="1"/>
          <p:nvPr/>
        </p:nvSpPr>
        <p:spPr>
          <a:xfrm>
            <a:off x="476256" y="3589429"/>
            <a:ext cx="1781804" cy="1760097"/>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İşletmey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yatırım</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projesin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konu</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ürünün</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üretilmes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il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ilişkil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olan</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makine-teçhizat</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v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kalıp</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iderler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için</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v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ödemel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birlikt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veya</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sadec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ödemel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sağlanır</a:t>
            </a:r>
            <a:r>
              <a:rPr kumimoji="0" lang="en-US" sz="1204" b="0" i="0" u="none" strike="noStrike" kern="1200" cap="none" spc="0" normalizeH="0" baseline="0" noProof="0" dirty="0" smtClean="0">
                <a:ln>
                  <a:noFill/>
                </a:ln>
                <a:solidFill>
                  <a:prstClr val="black"/>
                </a:solidFill>
                <a:effectLst/>
                <a:uLnTx/>
                <a:uFillTx/>
                <a:latin typeface="Roboto Light"/>
                <a:ea typeface="ヒラギノ角ゴ Pro W3" pitchFamily="1" charset="-128"/>
                <a:cs typeface="+mn-cs"/>
              </a:rPr>
              <a:t>.</a:t>
            </a:r>
            <a:r>
              <a:rPr kumimoji="0" lang="tr-TR" sz="1204" b="0" i="0" u="none" strike="noStrike" kern="1200" cap="none" spc="0" normalizeH="0" baseline="0" noProof="0" dirty="0" smtClean="0">
                <a:ln>
                  <a:noFill/>
                </a:ln>
                <a:solidFill>
                  <a:prstClr val="black"/>
                </a:solidFill>
                <a:effectLst/>
                <a:uLnTx/>
                <a:uFillTx/>
                <a:latin typeface="Roboto Light"/>
                <a:ea typeface="ヒラギノ角ゴ Pro W3" pitchFamily="1" charset="-128"/>
                <a:cs typeface="+mn-cs"/>
              </a:rPr>
              <a:t> </a:t>
            </a:r>
            <a:endPar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19" name="TextBox 18"/>
          <p:cNvSpPr txBox="1"/>
          <p:nvPr/>
        </p:nvSpPr>
        <p:spPr>
          <a:xfrm>
            <a:off x="4324211" y="3545496"/>
            <a:ext cx="1781804" cy="2123658"/>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İşletmeye</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yatırım</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projesine</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konu</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ürünün</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üretilmes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ile</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ilişkil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olan</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yazılım</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iderler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kapsamında</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yen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alınacak</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yazılımın</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lisans</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bedel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ve</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veya</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proje</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süres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içindek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zaman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sınırlı</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lisans</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kullanım</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bedel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için</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er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ödemesiz</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ve</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er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ödemel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destek</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birlikte</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veya</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sadece</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er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ödemeli</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destek</a:t>
            </a:r>
            <a:r>
              <a:rPr kumimoji="0" lang="en-US" sz="1100"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100"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sağlanır</a:t>
            </a:r>
            <a:r>
              <a:rPr kumimoji="0" lang="en-US" sz="1100" b="0" i="0" u="none" strike="noStrike" kern="1200" cap="none" spc="0" normalizeH="0" baseline="0" noProof="0" dirty="0" smtClean="0">
                <a:ln>
                  <a:noFill/>
                </a:ln>
                <a:solidFill>
                  <a:prstClr val="black"/>
                </a:solidFill>
                <a:effectLst/>
                <a:uLnTx/>
                <a:uFillTx/>
                <a:latin typeface="Roboto Light"/>
                <a:ea typeface="ヒラギノ角ゴ Pro W3" pitchFamily="1" charset="-128"/>
                <a:cs typeface="+mn-cs"/>
              </a:rPr>
              <a:t>.</a:t>
            </a:r>
            <a:r>
              <a:rPr kumimoji="0" lang="tr-TR" sz="1100" b="0" i="0" u="none" strike="noStrike" kern="1200" cap="none" spc="0" normalizeH="0" baseline="0" noProof="0" dirty="0" smtClean="0">
                <a:ln>
                  <a:noFill/>
                </a:ln>
                <a:solidFill>
                  <a:prstClr val="black"/>
                </a:solidFill>
                <a:effectLst/>
                <a:uLnTx/>
                <a:uFillTx/>
                <a:latin typeface="Roboto Light"/>
                <a:ea typeface="ヒラギノ角ゴ Pro W3" pitchFamily="1" charset="-128"/>
                <a:cs typeface="+mn-cs"/>
              </a:rPr>
              <a:t> </a:t>
            </a:r>
            <a:endPar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20" name="TextBox 19"/>
          <p:cNvSpPr txBox="1"/>
          <p:nvPr/>
        </p:nvSpPr>
        <p:spPr>
          <a:xfrm>
            <a:off x="6140852" y="3716792"/>
            <a:ext cx="1781804" cy="1760097"/>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Yatırım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roj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psam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n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stihda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dilec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ersonel</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verili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ersonel</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ğ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psam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100</a:t>
            </a:r>
            <a:r>
              <a:rPr kumimoji="0" lang="tr-TR"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ran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ağlanı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p>
        </p:txBody>
      </p:sp>
      <p:sp>
        <p:nvSpPr>
          <p:cNvPr id="21" name="TextBox 20"/>
          <p:cNvSpPr txBox="1"/>
          <p:nvPr/>
        </p:nvSpPr>
        <p:spPr>
          <a:xfrm>
            <a:off x="7967661" y="3638137"/>
            <a:ext cx="1781804" cy="2871940"/>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İşletmenin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eğitim</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v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danışmanlık</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iderlerin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v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ödemel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birlikt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veya</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sadec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ödemel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sağlanır</a:t>
            </a:r>
            <a:r>
              <a:rPr kumimoji="0" lang="en-US" sz="1204" b="0" i="0" u="none" strike="noStrike" kern="1200" cap="none" spc="0" normalizeH="0" baseline="0" noProof="0" dirty="0" smtClean="0">
                <a:ln>
                  <a:noFill/>
                </a:ln>
                <a:solidFill>
                  <a:prstClr val="black"/>
                </a:solidFill>
                <a:effectLst/>
                <a:uLnTx/>
                <a:uFillTx/>
                <a:latin typeface="Roboto Light"/>
                <a:ea typeface="ヒラギノ角ゴ Pro W3" pitchFamily="1" charset="-128"/>
                <a:cs typeface="+mn-cs"/>
              </a:rPr>
              <a:t>.</a:t>
            </a:r>
            <a:r>
              <a:rPr kumimoji="0" lang="tr-TR" sz="1204" b="0" i="0" u="none" strike="noStrike" kern="1200" cap="none" spc="0" normalizeH="0" baseline="0" noProof="0" dirty="0" smtClean="0">
                <a:ln>
                  <a:noFill/>
                </a:ln>
                <a:solidFill>
                  <a:prstClr val="black"/>
                </a:solidFill>
                <a:effectLst/>
                <a:uLnTx/>
                <a:uFillTx/>
                <a:latin typeface="Roboto Light"/>
                <a:ea typeface="ヒラギノ角ゴ Pro W3" pitchFamily="1" charset="-128"/>
                <a:cs typeface="+mn-cs"/>
              </a:rPr>
              <a:t> </a:t>
            </a:r>
            <a:r>
              <a:rPr kumimoji="0" lang="tr-TR"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D</a:t>
            </a:r>
            <a:r>
              <a:rPr kumimoji="0" lang="en-US" sz="1204" b="0" i="0" u="none" strike="noStrike" kern="1200" cap="none" spc="0" normalizeH="0" baseline="0" noProof="0" dirty="0" err="1" smtClean="0">
                <a:ln>
                  <a:noFill/>
                </a:ln>
                <a:solidFill>
                  <a:prstClr val="black"/>
                </a:solidFill>
                <a:effectLst/>
                <a:uLnTx/>
                <a:uFillTx/>
                <a:latin typeface="Calibri"/>
                <a:ea typeface="ヒラギノ角ゴ Pro W3" pitchFamily="1" charset="-128"/>
                <a:cs typeface="+mn-cs"/>
              </a:rPr>
              <a:t>esteğin</a:t>
            </a:r>
            <a:r>
              <a:rPr kumimoji="0" lang="en-US" sz="1204" b="0" i="0" u="none" strike="noStrike" kern="1200" cap="none" spc="0" normalizeH="0" baseline="0" noProof="0" dirty="0" smtClean="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st</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limit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atır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roj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onusu</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ünü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üşü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vey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rt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üşü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eknoloj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alan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almas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halind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30.000 TL</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rt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üks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vey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üks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eknoloj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alan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almas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halind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150.000 </a:t>
            </a:r>
            <a:r>
              <a:rPr kumimoji="0" lang="en-US" sz="1204" b="1"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L’</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i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p>
        </p:txBody>
      </p:sp>
      <p:sp>
        <p:nvSpPr>
          <p:cNvPr id="22" name="TextBox 21"/>
          <p:cNvSpPr txBox="1"/>
          <p:nvPr/>
        </p:nvSpPr>
        <p:spPr>
          <a:xfrm>
            <a:off x="9688729" y="3632841"/>
            <a:ext cx="2116719" cy="3057247"/>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Yatırım</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projesin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konu</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ürünün</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örsel</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medyada</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tanıtımına</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ilişkin</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iderlerin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dijital</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reklam</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tanıtım</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sosyal</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medya</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reklamları</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arama</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motoru</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optimizasyonu</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vb.)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iderlerin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yur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iç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v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yur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dışı</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basılı</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reklam</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azet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dergi</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giderlerine</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broşür</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a:t>
            </a:r>
            <a:r>
              <a:rPr kumimoji="0" lang="en-US" sz="1204" b="0" i="0" u="none" strike="noStrike" kern="1200" cap="none" spc="0" normalizeH="0" baseline="0" noProof="0" dirty="0" err="1">
                <a:ln>
                  <a:noFill/>
                </a:ln>
                <a:solidFill>
                  <a:prstClr val="black"/>
                </a:solidFill>
                <a:effectLst/>
                <a:uLnTx/>
                <a:uFillTx/>
                <a:latin typeface="Roboto Light"/>
                <a:ea typeface="ヒラギノ角ゴ Pro W3" pitchFamily="1" charset="-128"/>
                <a:cs typeface="+mn-cs"/>
              </a:rPr>
              <a:t>katalog</a:t>
            </a:r>
            <a:r>
              <a:rPr kumimoji="0" lang="en-US"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a:t>
            </a:r>
            <a:r>
              <a:rPr kumimoji="0" lang="en-US" sz="1204" b="0" i="0" u="none" strike="noStrike" kern="1200" cap="none" spc="0" normalizeH="0" baseline="0" noProof="0" dirty="0" err="1" smtClean="0">
                <a:ln>
                  <a:noFill/>
                </a:ln>
                <a:solidFill>
                  <a:prstClr val="black"/>
                </a:solidFill>
                <a:effectLst/>
                <a:uLnTx/>
                <a:uFillTx/>
                <a:latin typeface="Roboto Light"/>
                <a:ea typeface="ヒラギノ角ゴ Pro W3" pitchFamily="1" charset="-128"/>
                <a:cs typeface="+mn-cs"/>
              </a:rPr>
              <a:t>basımı</a:t>
            </a:r>
            <a:r>
              <a:rPr kumimoji="0" lang="tr-TR" sz="1204" b="0" i="0" u="none" strike="noStrike" kern="1200" cap="none" spc="0" normalizeH="0" baseline="0" noProof="0" dirty="0">
                <a:ln>
                  <a:noFill/>
                </a:ln>
                <a:solidFill>
                  <a:prstClr val="black"/>
                </a:solidFill>
                <a:effectLst/>
                <a:uLnTx/>
                <a:uFillTx/>
                <a:latin typeface="Roboto Light"/>
                <a:ea typeface="ヒラギノ角ゴ Pro W3" pitchFamily="1" charset="-128"/>
                <a:cs typeface="+mn-cs"/>
              </a:rPr>
              <a:t> giderlerine ve yurt dışı fuarlara katılım giderlerine geri ödemesiz ve geri ödemeli destek birlikte veya sadece geri ödemeli destek verilir.</a:t>
            </a:r>
            <a:r>
              <a:rPr kumimoji="0" lang="en-US" sz="1204" b="0" i="0" u="none" strike="noStrike" kern="1200" cap="none" spc="0" normalizeH="0" baseline="0" noProof="0" dirty="0" smtClean="0">
                <a:ln>
                  <a:noFill/>
                </a:ln>
                <a:solidFill>
                  <a:prstClr val="black"/>
                </a:solidFill>
                <a:effectLst/>
                <a:uLnTx/>
                <a:uFillTx/>
                <a:latin typeface="Roboto Light"/>
                <a:ea typeface="ヒラギノ角ゴ Pro W3" pitchFamily="1" charset="-128"/>
                <a:cs typeface="+mn-cs"/>
              </a:rPr>
              <a:t>Bu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ğ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st</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limit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200.000 </a:t>
            </a:r>
            <a:r>
              <a:rPr kumimoji="0" lang="en-US" sz="1204" b="1"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L’</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i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a:t>
            </a:r>
          </a:p>
        </p:txBody>
      </p:sp>
      <p:sp>
        <p:nvSpPr>
          <p:cNvPr id="52" name="TextBox 51"/>
          <p:cNvSpPr txBox="1"/>
          <p:nvPr/>
        </p:nvSpPr>
        <p:spPr>
          <a:xfrm>
            <a:off x="687775" y="1057633"/>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4617B"/>
                </a:solidFill>
                <a:effectLst/>
                <a:uLnTx/>
                <a:uFillTx/>
                <a:latin typeface="Calibri"/>
                <a:ea typeface="ヒラギノ角ゴ Pro W3" pitchFamily="1" charset="-128"/>
                <a:cs typeface="+mn-cs"/>
              </a:rPr>
              <a:t>Makine-teçhizat</a:t>
            </a:r>
            <a:r>
              <a:rPr kumimoji="0" lang="en-US" sz="1400" b="1" i="0" u="none" strike="noStrike" kern="1200" cap="none" spc="0" normalizeH="0" baseline="0" noProof="0" dirty="0">
                <a:ln>
                  <a:noFill/>
                </a:ln>
                <a:solidFill>
                  <a:srgbClr val="04617B"/>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04617B"/>
                </a:solidFill>
                <a:effectLst/>
                <a:uLnTx/>
                <a:uFillTx/>
                <a:latin typeface="Calibri"/>
                <a:ea typeface="ヒラギノ角ゴ Pro W3" pitchFamily="1" charset="-128"/>
                <a:cs typeface="+mn-cs"/>
              </a:rPr>
              <a:t>desteği</a:t>
            </a:r>
            <a:endParaRPr kumimoji="0" lang="en-US" sz="1400" b="1" i="0" u="none" strike="noStrike" kern="1200" cap="none" spc="0" normalizeH="0" baseline="0" noProof="0" dirty="0">
              <a:ln>
                <a:noFill/>
              </a:ln>
              <a:solidFill>
                <a:srgbClr val="04617B"/>
              </a:solidFill>
              <a:effectLst/>
              <a:uLnTx/>
              <a:uFillTx/>
              <a:latin typeface="Calibri"/>
              <a:ea typeface="ヒラギノ角ゴ Pro W3" pitchFamily="1" charset="-128"/>
              <a:cs typeface="+mn-cs"/>
            </a:endParaRPr>
          </a:p>
        </p:txBody>
      </p:sp>
      <p:sp>
        <p:nvSpPr>
          <p:cNvPr id="53" name="TextBox 52"/>
          <p:cNvSpPr txBox="1"/>
          <p:nvPr/>
        </p:nvSpPr>
        <p:spPr>
          <a:xfrm>
            <a:off x="2686283" y="905462"/>
            <a:ext cx="1495708" cy="73904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F6FC6"/>
                </a:solidFill>
                <a:effectLst/>
                <a:uLnTx/>
                <a:uFillTx/>
                <a:latin typeface="Calibri"/>
                <a:ea typeface="ヒラギノ角ゴ Pro W3" pitchFamily="1" charset="-128"/>
                <a:cs typeface="+mn-cs"/>
              </a:rPr>
              <a:t>Üretim</a:t>
            </a:r>
            <a:r>
              <a:rPr kumimoji="0" lang="en-US" sz="1400" b="1" i="0" u="none" strike="noStrike" kern="1200" cap="none" spc="0" normalizeH="0" baseline="0" noProof="0" dirty="0">
                <a:ln>
                  <a:noFill/>
                </a:ln>
                <a:solidFill>
                  <a:srgbClr val="0F6FC6"/>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0F6FC6"/>
                </a:solidFill>
                <a:effectLst/>
                <a:uLnTx/>
                <a:uFillTx/>
                <a:latin typeface="Calibri"/>
                <a:ea typeface="ヒラギノ角ゴ Pro W3" pitchFamily="1" charset="-128"/>
                <a:cs typeface="+mn-cs"/>
              </a:rPr>
              <a:t>hattı</a:t>
            </a:r>
            <a:r>
              <a:rPr kumimoji="0" lang="en-US" sz="1400" b="1" i="0" u="none" strike="noStrike" kern="1200" cap="none" spc="0" normalizeH="0" baseline="0" noProof="0" dirty="0">
                <a:ln>
                  <a:noFill/>
                </a:ln>
                <a:solidFill>
                  <a:srgbClr val="0F6FC6"/>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0F6FC6"/>
                </a:solidFill>
                <a:effectLst/>
                <a:uLnTx/>
                <a:uFillTx/>
                <a:latin typeface="Calibri"/>
                <a:ea typeface="ヒラギノ角ゴ Pro W3" pitchFamily="1" charset="-128"/>
                <a:cs typeface="+mn-cs"/>
              </a:rPr>
              <a:t>tasarım</a:t>
            </a:r>
            <a:r>
              <a:rPr kumimoji="0" lang="en-US" sz="1400" b="1" i="0" u="none" strike="noStrike" kern="1200" cap="none" spc="0" normalizeH="0" baseline="0" noProof="0" dirty="0">
                <a:ln>
                  <a:noFill/>
                </a:ln>
                <a:solidFill>
                  <a:srgbClr val="0F6FC6"/>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0F6FC6"/>
                </a:solidFill>
                <a:effectLst/>
                <a:uLnTx/>
                <a:uFillTx/>
                <a:latin typeface="Calibri"/>
                <a:ea typeface="ヒラギノ角ゴ Pro W3" pitchFamily="1" charset="-128"/>
                <a:cs typeface="+mn-cs"/>
              </a:rPr>
              <a:t>giderleri</a:t>
            </a:r>
            <a:r>
              <a:rPr kumimoji="0" lang="en-US" sz="1400" b="1" i="0" u="none" strike="noStrike" kern="1200" cap="none" spc="0" normalizeH="0" baseline="0" noProof="0" dirty="0">
                <a:ln>
                  <a:noFill/>
                </a:ln>
                <a:solidFill>
                  <a:srgbClr val="0F6FC6"/>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0F6FC6"/>
                </a:solidFill>
                <a:effectLst/>
                <a:uLnTx/>
                <a:uFillTx/>
                <a:latin typeface="Calibri"/>
                <a:ea typeface="ヒラギノ角ゴ Pro W3" pitchFamily="1" charset="-128"/>
                <a:cs typeface="+mn-cs"/>
              </a:rPr>
              <a:t>desteği</a:t>
            </a:r>
            <a:endParaRPr kumimoji="0" lang="en-US" sz="1400" b="1" i="0" u="none" strike="noStrike" kern="1200" cap="none" spc="0" normalizeH="0" baseline="0" noProof="0" dirty="0">
              <a:ln>
                <a:noFill/>
              </a:ln>
              <a:solidFill>
                <a:srgbClr val="0F6FC6"/>
              </a:solidFill>
              <a:effectLst/>
              <a:uLnTx/>
              <a:uFillTx/>
              <a:latin typeface="Calibri"/>
              <a:ea typeface="ヒラギノ角ゴ Pro W3" pitchFamily="1" charset="-128"/>
              <a:cs typeface="+mn-cs"/>
            </a:endParaRPr>
          </a:p>
        </p:txBody>
      </p:sp>
      <p:sp>
        <p:nvSpPr>
          <p:cNvPr id="54" name="TextBox 53"/>
          <p:cNvSpPr txBox="1"/>
          <p:nvPr/>
        </p:nvSpPr>
        <p:spPr>
          <a:xfrm>
            <a:off x="4398698" y="1162901"/>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a:ln>
                  <a:noFill/>
                </a:ln>
                <a:solidFill>
                  <a:srgbClr val="009DD9"/>
                </a:solidFill>
                <a:effectLst/>
                <a:uLnTx/>
                <a:uFillTx/>
                <a:latin typeface="Calibri"/>
                <a:ea typeface="ヒラギノ角ゴ Pro W3" pitchFamily="1" charset="-128"/>
                <a:cs typeface="+mn-cs"/>
              </a:rPr>
              <a:t>Yazılım Giderleri Desteği</a:t>
            </a:r>
            <a:endParaRPr kumimoji="0" lang="en-US" sz="1400" b="1" i="0" u="none" strike="noStrike" kern="1200" cap="none" spc="0" normalizeH="0" baseline="0" noProof="0" dirty="0">
              <a:ln>
                <a:noFill/>
              </a:ln>
              <a:solidFill>
                <a:srgbClr val="009DD9"/>
              </a:solidFill>
              <a:effectLst/>
              <a:uLnTx/>
              <a:uFillTx/>
              <a:latin typeface="Calibri"/>
              <a:ea typeface="ヒラギノ角ゴ Pro W3" pitchFamily="1" charset="-128"/>
              <a:cs typeface="+mn-cs"/>
            </a:endParaRPr>
          </a:p>
        </p:txBody>
      </p:sp>
      <p:sp>
        <p:nvSpPr>
          <p:cNvPr id="55" name="TextBox 54"/>
          <p:cNvSpPr txBox="1"/>
          <p:nvPr/>
        </p:nvSpPr>
        <p:spPr>
          <a:xfrm>
            <a:off x="6096059" y="1170888"/>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a:ln>
                  <a:noFill/>
                </a:ln>
                <a:solidFill>
                  <a:srgbClr val="0BD0D9"/>
                </a:solidFill>
                <a:effectLst/>
                <a:uLnTx/>
                <a:uFillTx/>
                <a:latin typeface="Calibri"/>
                <a:ea typeface="ヒラギノ角ゴ Pro W3" pitchFamily="1" charset="-128"/>
                <a:cs typeface="+mn-cs"/>
              </a:rPr>
              <a:t>Personel Gideri Desteği</a:t>
            </a:r>
            <a:endParaRPr kumimoji="0" lang="en-US" sz="1400" b="1" i="0" u="none" strike="noStrike" kern="1200" cap="none" spc="0" normalizeH="0" baseline="0" noProof="0" dirty="0">
              <a:ln>
                <a:noFill/>
              </a:ln>
              <a:solidFill>
                <a:srgbClr val="0BD0D9"/>
              </a:solidFill>
              <a:effectLst/>
              <a:uLnTx/>
              <a:uFillTx/>
              <a:latin typeface="Calibri"/>
              <a:ea typeface="ヒラギノ角ゴ Pro W3" pitchFamily="1" charset="-128"/>
              <a:cs typeface="+mn-cs"/>
            </a:endParaRPr>
          </a:p>
        </p:txBody>
      </p:sp>
      <p:sp>
        <p:nvSpPr>
          <p:cNvPr id="56" name="TextBox 55"/>
          <p:cNvSpPr txBox="1"/>
          <p:nvPr/>
        </p:nvSpPr>
        <p:spPr>
          <a:xfrm>
            <a:off x="7878074" y="1116069"/>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10CF9B"/>
                </a:solidFill>
                <a:effectLst/>
                <a:uLnTx/>
                <a:uFillTx/>
                <a:latin typeface="Calibri"/>
                <a:ea typeface="ヒラギノ角ゴ Pro W3" pitchFamily="1" charset="-128"/>
                <a:cs typeface="+mn-cs"/>
              </a:rPr>
              <a:t>Eğitim</a:t>
            </a:r>
            <a:r>
              <a:rPr kumimoji="0" lang="en-US" sz="1400" b="1" i="0" u="none" strike="noStrike" kern="1200" cap="none" spc="0" normalizeH="0" baseline="0" noProof="0" dirty="0">
                <a:ln>
                  <a:noFill/>
                </a:ln>
                <a:solidFill>
                  <a:srgbClr val="10CF9B"/>
                </a:solidFill>
                <a:effectLst/>
                <a:uLnTx/>
                <a:uFillTx/>
                <a:latin typeface="Calibri"/>
                <a:ea typeface="ヒラギノ角ゴ Pro W3" pitchFamily="1" charset="-128"/>
                <a:cs typeface="+mn-cs"/>
              </a:rPr>
              <a:t> ve </a:t>
            </a:r>
            <a:r>
              <a:rPr kumimoji="0" lang="en-US" sz="1400" b="1" i="0" u="none" strike="noStrike" kern="1200" cap="none" spc="0" normalizeH="0" baseline="0" noProof="0" dirty="0" err="1">
                <a:ln>
                  <a:noFill/>
                </a:ln>
                <a:solidFill>
                  <a:srgbClr val="10CF9B"/>
                </a:solidFill>
                <a:effectLst/>
                <a:uLnTx/>
                <a:uFillTx/>
                <a:latin typeface="Calibri"/>
                <a:ea typeface="ヒラギノ角ゴ Pro W3" pitchFamily="1" charset="-128"/>
                <a:cs typeface="+mn-cs"/>
              </a:rPr>
              <a:t>danışmanlık</a:t>
            </a:r>
            <a:r>
              <a:rPr kumimoji="0" lang="en-US" sz="1400" b="1" i="0" u="none" strike="noStrike" kern="1200" cap="none" spc="0" normalizeH="0" baseline="0" noProof="0" dirty="0">
                <a:ln>
                  <a:noFill/>
                </a:ln>
                <a:solidFill>
                  <a:srgbClr val="10CF9B"/>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10CF9B"/>
                </a:solidFill>
                <a:effectLst/>
                <a:uLnTx/>
                <a:uFillTx/>
                <a:latin typeface="Calibri"/>
                <a:ea typeface="ヒラギノ角ゴ Pro W3" pitchFamily="1" charset="-128"/>
                <a:cs typeface="+mn-cs"/>
              </a:rPr>
              <a:t>desteği</a:t>
            </a:r>
            <a:endParaRPr kumimoji="0" lang="en-US" sz="1400" b="1" i="0" u="none" strike="noStrike" kern="1200" cap="none" spc="0" normalizeH="0" baseline="0" noProof="0" dirty="0">
              <a:ln>
                <a:noFill/>
              </a:ln>
              <a:solidFill>
                <a:srgbClr val="10CF9B"/>
              </a:solidFill>
              <a:effectLst/>
              <a:uLnTx/>
              <a:uFillTx/>
              <a:latin typeface="Calibri"/>
              <a:ea typeface="ヒラギノ角ゴ Pro W3" pitchFamily="1" charset="-128"/>
              <a:cs typeface="+mn-cs"/>
            </a:endParaRPr>
          </a:p>
        </p:txBody>
      </p:sp>
      <p:sp>
        <p:nvSpPr>
          <p:cNvPr id="57" name="TextBox 56"/>
          <p:cNvSpPr txBox="1"/>
          <p:nvPr/>
        </p:nvSpPr>
        <p:spPr>
          <a:xfrm>
            <a:off x="9688729" y="1141659"/>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7CCA62"/>
                </a:solidFill>
                <a:effectLst/>
                <a:uLnTx/>
                <a:uFillTx/>
                <a:latin typeface="Calibri"/>
                <a:ea typeface="ヒラギノ角ゴ Pro W3" pitchFamily="1" charset="-128"/>
                <a:cs typeface="+mn-cs"/>
              </a:rPr>
              <a:t>Tanıtım ve pazarlama giderleri desteği</a:t>
            </a:r>
            <a:endParaRPr kumimoji="0" lang="en-US" sz="1400" b="1" i="0" u="none" strike="noStrike" kern="1200" cap="none" spc="0" normalizeH="0" baseline="0" noProof="0" dirty="0">
              <a:ln>
                <a:noFill/>
              </a:ln>
              <a:solidFill>
                <a:srgbClr val="7CCA62"/>
              </a:solidFill>
              <a:effectLst/>
              <a:uLnTx/>
              <a:uFillTx/>
              <a:latin typeface="Calibri"/>
              <a:ea typeface="ヒラギノ角ゴ Pro W3" pitchFamily="1" charset="-128"/>
              <a:cs typeface="+mn-cs"/>
            </a:endParaRPr>
          </a:p>
        </p:txBody>
      </p:sp>
      <p:sp>
        <p:nvSpPr>
          <p:cNvPr id="61" name="TextBox 60"/>
          <p:cNvSpPr txBox="1"/>
          <p:nvPr/>
        </p:nvSpPr>
        <p:spPr>
          <a:xfrm>
            <a:off x="1090009" y="1742905"/>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4617B"/>
                </a:solidFill>
                <a:effectLst/>
                <a:uLnTx/>
                <a:uFillTx/>
                <a:latin typeface="Calibri"/>
                <a:ea typeface="ヒラギノ角ゴ Pro W3" pitchFamily="1" charset="-128"/>
                <a:cs typeface="+mn-cs"/>
              </a:rPr>
              <a:t>1</a:t>
            </a:r>
          </a:p>
        </p:txBody>
      </p:sp>
      <p:sp>
        <p:nvSpPr>
          <p:cNvPr id="62" name="TextBox 61"/>
          <p:cNvSpPr txBox="1"/>
          <p:nvPr/>
        </p:nvSpPr>
        <p:spPr>
          <a:xfrm>
            <a:off x="2871811" y="1742905"/>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F6FC6"/>
                </a:solidFill>
                <a:effectLst/>
                <a:uLnTx/>
                <a:uFillTx/>
                <a:latin typeface="Calibri"/>
                <a:ea typeface="ヒラギノ角ゴ Pro W3" pitchFamily="1" charset="-128"/>
                <a:cs typeface="+mn-cs"/>
              </a:rPr>
              <a:t>2</a:t>
            </a:r>
          </a:p>
        </p:txBody>
      </p:sp>
      <p:sp>
        <p:nvSpPr>
          <p:cNvPr id="63" name="TextBox 62"/>
          <p:cNvSpPr txBox="1"/>
          <p:nvPr/>
        </p:nvSpPr>
        <p:spPr>
          <a:xfrm>
            <a:off x="4661934" y="1704724"/>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9DD9"/>
                </a:solidFill>
                <a:effectLst/>
                <a:uLnTx/>
                <a:uFillTx/>
                <a:latin typeface="Calibri"/>
                <a:ea typeface="ヒラギノ角ゴ Pro W3" pitchFamily="1" charset="-128"/>
                <a:cs typeface="+mn-cs"/>
              </a:rPr>
              <a:t>3</a:t>
            </a:r>
          </a:p>
        </p:txBody>
      </p:sp>
      <p:sp>
        <p:nvSpPr>
          <p:cNvPr id="64" name="TextBox 63"/>
          <p:cNvSpPr txBox="1"/>
          <p:nvPr/>
        </p:nvSpPr>
        <p:spPr>
          <a:xfrm>
            <a:off x="6435202" y="1732309"/>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BD0D9"/>
                </a:solidFill>
                <a:effectLst/>
                <a:uLnTx/>
                <a:uFillTx/>
                <a:latin typeface="Calibri"/>
                <a:ea typeface="ヒラギノ角ゴ Pro W3" pitchFamily="1" charset="-128"/>
                <a:cs typeface="+mn-cs"/>
              </a:rPr>
              <a:t>4</a:t>
            </a:r>
          </a:p>
        </p:txBody>
      </p:sp>
      <p:sp>
        <p:nvSpPr>
          <p:cNvPr id="65" name="TextBox 64"/>
          <p:cNvSpPr txBox="1"/>
          <p:nvPr/>
        </p:nvSpPr>
        <p:spPr>
          <a:xfrm>
            <a:off x="8217218" y="1742905"/>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0CF9B"/>
                </a:solidFill>
                <a:effectLst/>
                <a:uLnTx/>
                <a:uFillTx/>
                <a:latin typeface="Calibri"/>
                <a:ea typeface="ヒラギノ角ゴ Pro W3" pitchFamily="1" charset="-128"/>
                <a:cs typeface="+mn-cs"/>
              </a:rPr>
              <a:t>5</a:t>
            </a:r>
          </a:p>
        </p:txBody>
      </p:sp>
      <p:sp>
        <p:nvSpPr>
          <p:cNvPr id="66" name="TextBox 65"/>
          <p:cNvSpPr txBox="1"/>
          <p:nvPr/>
        </p:nvSpPr>
        <p:spPr>
          <a:xfrm>
            <a:off x="9999020" y="1742905"/>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CCA62"/>
                </a:solidFill>
                <a:effectLst/>
                <a:uLnTx/>
                <a:uFillTx/>
                <a:latin typeface="Calibri"/>
                <a:ea typeface="ヒラギノ角ゴ Pro W3" pitchFamily="1" charset="-128"/>
                <a:cs typeface="+mn-cs"/>
              </a:rPr>
              <a:t>6</a:t>
            </a:r>
          </a:p>
        </p:txBody>
      </p:sp>
      <p:sp>
        <p:nvSpPr>
          <p:cNvPr id="67" name="Title 1"/>
          <p:cNvSpPr txBox="1">
            <a:spLocks/>
          </p:cNvSpPr>
          <p:nvPr/>
        </p:nvSpPr>
        <p:spPr>
          <a:xfrm>
            <a:off x="234974" y="449121"/>
            <a:ext cx="6100102" cy="723730"/>
          </a:xfrm>
          <a:prstGeom prst="rect">
            <a:avLst/>
          </a:prstGeom>
        </p:spPr>
        <p:txBody>
          <a:bodyPr vert="horz" lIns="91434" tIns="45718" rIns="91434" bIns="4571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tr-TR" sz="2409" b="1" i="0" u="none" strike="noStrike" kern="1200" cap="none" spc="0" normalizeH="0" baseline="0" noProof="0" dirty="0">
                <a:ln>
                  <a:noFill/>
                </a:ln>
                <a:solidFill>
                  <a:srgbClr val="00B050"/>
                </a:solidFill>
                <a:effectLst/>
                <a:uLnTx/>
                <a:uFillTx/>
                <a:latin typeface="Times New Roman" panose="02020603050405020304" pitchFamily="18" charset="0"/>
                <a:ea typeface="ヒラギノ角ゴ Pro W3" pitchFamily="1" charset="-128"/>
                <a:cs typeface="Times New Roman" panose="02020603050405020304" pitchFamily="18" charset="0"/>
              </a:rPr>
              <a:t>DESTEK UNSURLARI</a:t>
            </a:r>
            <a:endParaRPr kumimoji="0" lang="en-US" sz="2409" b="1" i="0" u="none" strike="noStrike" kern="1200" cap="none" spc="0" normalizeH="0" baseline="0" noProof="0" dirty="0">
              <a:ln>
                <a:noFill/>
              </a:ln>
              <a:solidFill>
                <a:srgbClr val="00B05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pic>
        <p:nvPicPr>
          <p:cNvPr id="68" name="Picture 3"/>
          <p:cNvPicPr>
            <a:picLocks noChangeAspect="1" noChangeArrowheads="1"/>
          </p:cNvPicPr>
          <p:nvPr/>
        </p:nvPicPr>
        <p:blipFill>
          <a:blip r:embed="rId25" cstate="print"/>
          <a:srcRect/>
          <a:stretch>
            <a:fillRect/>
          </a:stretch>
        </p:blipFill>
        <p:spPr bwMode="auto">
          <a:xfrm>
            <a:off x="10970036" y="176129"/>
            <a:ext cx="720038" cy="507884"/>
          </a:xfrm>
          <a:prstGeom prst="rect">
            <a:avLst/>
          </a:prstGeom>
          <a:noFill/>
          <a:ln w="9525">
            <a:noFill/>
            <a:miter lim="800000"/>
            <a:headEnd/>
            <a:tailEnd/>
          </a:ln>
        </p:spPr>
      </p:pic>
      <p:sp>
        <p:nvSpPr>
          <p:cNvPr id="69" name="TextBox 16"/>
          <p:cNvSpPr txBox="1"/>
          <p:nvPr/>
        </p:nvSpPr>
        <p:spPr>
          <a:xfrm>
            <a:off x="2469576" y="3700646"/>
            <a:ext cx="1781804" cy="1575404"/>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eti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hatt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asar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lemey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sas</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uta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akine-teçhizat</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lıp</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naylana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opla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lemey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sas</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utarı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 3 </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nü</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çemez</a:t>
            </a:r>
            <a:endPar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grpSp>
        <p:nvGrpSpPr>
          <p:cNvPr id="70" name="POWER_USER_ID_ICONS_Forklift"/>
          <p:cNvGrpSpPr>
            <a:grpSpLocks noChangeAspect="1"/>
          </p:cNvGrpSpPr>
          <p:nvPr>
            <p:custDataLst>
              <p:tags r:id="rId2"/>
            </p:custDataLst>
          </p:nvPr>
        </p:nvGrpSpPr>
        <p:grpSpPr bwMode="auto">
          <a:xfrm>
            <a:off x="1177814" y="2248994"/>
            <a:ext cx="925394" cy="809720"/>
            <a:chOff x="8" y="8"/>
            <a:chExt cx="528" cy="462"/>
          </a:xfrm>
          <a:solidFill>
            <a:schemeClr val="accent2"/>
          </a:solidFill>
        </p:grpSpPr>
        <p:sp>
          <p:nvSpPr>
            <p:cNvPr id="71" name="POWER_USER_ID_ICONS_Forklift"/>
            <p:cNvSpPr>
              <a:spLocks/>
            </p:cNvSpPr>
            <p:nvPr>
              <p:custDataLst>
                <p:tags r:id="rId22"/>
              </p:custDataLst>
            </p:nvPr>
          </p:nvSpPr>
          <p:spPr bwMode="auto">
            <a:xfrm>
              <a:off x="341" y="91"/>
              <a:ext cx="47" cy="47"/>
            </a:xfrm>
            <a:custGeom>
              <a:avLst/>
              <a:gdLst>
                <a:gd name="T0" fmla="*/ 55 w 111"/>
                <a:gd name="T1" fmla="*/ 112 h 112"/>
                <a:gd name="T2" fmla="*/ 111 w 111"/>
                <a:gd name="T3" fmla="*/ 56 h 112"/>
                <a:gd name="T4" fmla="*/ 55 w 111"/>
                <a:gd name="T5" fmla="*/ 0 h 112"/>
                <a:gd name="T6" fmla="*/ 54 w 111"/>
                <a:gd name="T7" fmla="*/ 0 h 112"/>
                <a:gd name="T8" fmla="*/ 0 w 111"/>
                <a:gd name="T9" fmla="*/ 56 h 112"/>
                <a:gd name="T10" fmla="*/ 55 w 111"/>
                <a:gd name="T11" fmla="*/ 112 h 112"/>
              </a:gdLst>
              <a:ahLst/>
              <a:cxnLst>
                <a:cxn ang="0">
                  <a:pos x="T0" y="T1"/>
                </a:cxn>
                <a:cxn ang="0">
                  <a:pos x="T2" y="T3"/>
                </a:cxn>
                <a:cxn ang="0">
                  <a:pos x="T4" y="T5"/>
                </a:cxn>
                <a:cxn ang="0">
                  <a:pos x="T6" y="T7"/>
                </a:cxn>
                <a:cxn ang="0">
                  <a:pos x="T8" y="T9"/>
                </a:cxn>
                <a:cxn ang="0">
                  <a:pos x="T10" y="T11"/>
                </a:cxn>
              </a:cxnLst>
              <a:rect l="0" t="0" r="r" b="b"/>
              <a:pathLst>
                <a:path w="111" h="112">
                  <a:moveTo>
                    <a:pt x="55" y="112"/>
                  </a:moveTo>
                  <a:cubicBezTo>
                    <a:pt x="86" y="112"/>
                    <a:pt x="111" y="87"/>
                    <a:pt x="111" y="56"/>
                  </a:cubicBezTo>
                  <a:cubicBezTo>
                    <a:pt x="111" y="25"/>
                    <a:pt x="86" y="0"/>
                    <a:pt x="55" y="0"/>
                  </a:cubicBezTo>
                  <a:lnTo>
                    <a:pt x="54" y="0"/>
                  </a:lnTo>
                  <a:cubicBezTo>
                    <a:pt x="24" y="1"/>
                    <a:pt x="0" y="26"/>
                    <a:pt x="0" y="56"/>
                  </a:cubicBezTo>
                  <a:cubicBezTo>
                    <a:pt x="0" y="87"/>
                    <a:pt x="25" y="112"/>
                    <a:pt x="55" y="112"/>
                  </a:cubicBezTo>
                  <a:close/>
                </a:path>
              </a:pathLst>
            </a:custGeom>
            <a:solidFill>
              <a:srgbClr val="0070C0"/>
            </a:solid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72" name="POWER_USER_ID_ICONS_Forklift"/>
            <p:cNvSpPr>
              <a:spLocks noEditPoints="1"/>
            </p:cNvSpPr>
            <p:nvPr>
              <p:custDataLst>
                <p:tags r:id="rId23"/>
              </p:custDataLst>
            </p:nvPr>
          </p:nvSpPr>
          <p:spPr bwMode="auto">
            <a:xfrm>
              <a:off x="8" y="8"/>
              <a:ext cx="528" cy="462"/>
            </a:xfrm>
            <a:custGeom>
              <a:avLst/>
              <a:gdLst>
                <a:gd name="T0" fmla="*/ 1202 w 1250"/>
                <a:gd name="T1" fmla="*/ 585 h 1092"/>
                <a:gd name="T2" fmla="*/ 1034 w 1250"/>
                <a:gd name="T3" fmla="*/ 585 h 1092"/>
                <a:gd name="T4" fmla="*/ 1034 w 1250"/>
                <a:gd name="T5" fmla="*/ 162 h 1092"/>
                <a:gd name="T6" fmla="*/ 604 w 1250"/>
                <a:gd name="T7" fmla="*/ 114 h 1092"/>
                <a:gd name="T8" fmla="*/ 560 w 1250"/>
                <a:gd name="T9" fmla="*/ 149 h 1092"/>
                <a:gd name="T10" fmla="*/ 361 w 1250"/>
                <a:gd name="T11" fmla="*/ 822 h 1092"/>
                <a:gd name="T12" fmla="*/ 545 w 1250"/>
                <a:gd name="T13" fmla="*/ 14 h 1092"/>
                <a:gd name="T14" fmla="*/ 202 w 1250"/>
                <a:gd name="T15" fmla="*/ 1005 h 1092"/>
                <a:gd name="T16" fmla="*/ 0 w 1250"/>
                <a:gd name="T17" fmla="*/ 1005 h 1092"/>
                <a:gd name="T18" fmla="*/ 246 w 1250"/>
                <a:gd name="T19" fmla="*/ 1023 h 1092"/>
                <a:gd name="T20" fmla="*/ 451 w 1250"/>
                <a:gd name="T21" fmla="*/ 1092 h 1092"/>
                <a:gd name="T22" fmla="*/ 841 w 1250"/>
                <a:gd name="T23" fmla="*/ 1023 h 1092"/>
                <a:gd name="T24" fmla="*/ 1080 w 1250"/>
                <a:gd name="T25" fmla="*/ 1023 h 1092"/>
                <a:gd name="T26" fmla="*/ 1250 w 1250"/>
                <a:gd name="T27" fmla="*/ 633 h 1092"/>
                <a:gd name="T28" fmla="*/ 606 w 1250"/>
                <a:gd name="T29" fmla="*/ 162 h 1092"/>
                <a:gd name="T30" fmla="*/ 986 w 1250"/>
                <a:gd name="T31" fmla="*/ 162 h 1092"/>
                <a:gd name="T32" fmla="*/ 910 w 1250"/>
                <a:gd name="T33" fmla="*/ 585 h 1092"/>
                <a:gd name="T34" fmla="*/ 924 w 1250"/>
                <a:gd name="T35" fmla="*/ 324 h 1092"/>
                <a:gd name="T36" fmla="*/ 798 w 1250"/>
                <a:gd name="T37" fmla="*/ 312 h 1092"/>
                <a:gd name="T38" fmla="*/ 629 w 1250"/>
                <a:gd name="T39" fmla="*/ 439 h 1092"/>
                <a:gd name="T40" fmla="*/ 735 w 1250"/>
                <a:gd name="T41" fmla="*/ 470 h 1092"/>
                <a:gd name="T42" fmla="*/ 793 w 1250"/>
                <a:gd name="T43" fmla="*/ 541 h 1092"/>
                <a:gd name="T44" fmla="*/ 659 w 1250"/>
                <a:gd name="T45" fmla="*/ 708 h 1092"/>
                <a:gd name="T46" fmla="*/ 605 w 1250"/>
                <a:gd name="T47" fmla="*/ 162 h 1092"/>
                <a:gd name="T48" fmla="*/ 771 w 1250"/>
                <a:gd name="T49" fmla="*/ 633 h 1092"/>
                <a:gd name="T50" fmla="*/ 711 w 1250"/>
                <a:gd name="T51" fmla="*/ 708 h 1092"/>
                <a:gd name="T52" fmla="*/ 771 w 1250"/>
                <a:gd name="T53" fmla="*/ 593 h 1092"/>
                <a:gd name="T54" fmla="*/ 395 w 1250"/>
                <a:gd name="T55" fmla="*/ 992 h 1092"/>
                <a:gd name="T56" fmla="*/ 506 w 1250"/>
                <a:gd name="T57" fmla="*/ 992 h 1092"/>
                <a:gd name="T58" fmla="*/ 960 w 1250"/>
                <a:gd name="T59" fmla="*/ 1041 h 1092"/>
                <a:gd name="T60" fmla="*/ 960 w 1250"/>
                <a:gd name="T61" fmla="*/ 866 h 1092"/>
                <a:gd name="T62" fmla="*/ 960 w 1250"/>
                <a:gd name="T63" fmla="*/ 1041 h 1092"/>
                <a:gd name="T64" fmla="*/ 1097 w 1250"/>
                <a:gd name="T65" fmla="*/ 975 h 1092"/>
                <a:gd name="T66" fmla="*/ 960 w 1250"/>
                <a:gd name="T67" fmla="*/ 815 h 1092"/>
                <a:gd name="T68" fmla="*/ 824 w 1250"/>
                <a:gd name="T69" fmla="*/ 975 h 1092"/>
                <a:gd name="T70" fmla="*/ 451 w 1250"/>
                <a:gd name="T71" fmla="*/ 892 h 1092"/>
                <a:gd name="T72" fmla="*/ 260 w 1250"/>
                <a:gd name="T73" fmla="*/ 975 h 1092"/>
                <a:gd name="T74" fmla="*/ 396 w 1250"/>
                <a:gd name="T75" fmla="*/ 870 h 1092"/>
                <a:gd name="T76" fmla="*/ 819 w 1250"/>
                <a:gd name="T77" fmla="*/ 755 h 1092"/>
                <a:gd name="T78" fmla="*/ 1202 w 1250"/>
                <a:gd name="T79" fmla="*/ 633 h 1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50" h="1092">
                  <a:moveTo>
                    <a:pt x="1250" y="633"/>
                  </a:moveTo>
                  <a:cubicBezTo>
                    <a:pt x="1250" y="606"/>
                    <a:pt x="1229" y="585"/>
                    <a:pt x="1202" y="585"/>
                  </a:cubicBezTo>
                  <a:lnTo>
                    <a:pt x="1202" y="585"/>
                  </a:lnTo>
                  <a:lnTo>
                    <a:pt x="1034" y="585"/>
                  </a:lnTo>
                  <a:lnTo>
                    <a:pt x="1034" y="162"/>
                  </a:lnTo>
                  <a:lnTo>
                    <a:pt x="1034" y="162"/>
                  </a:lnTo>
                  <a:cubicBezTo>
                    <a:pt x="1034" y="136"/>
                    <a:pt x="1013" y="114"/>
                    <a:pt x="986" y="114"/>
                  </a:cubicBezTo>
                  <a:lnTo>
                    <a:pt x="604" y="114"/>
                  </a:lnTo>
                  <a:lnTo>
                    <a:pt x="604" y="115"/>
                  </a:lnTo>
                  <a:cubicBezTo>
                    <a:pt x="583" y="115"/>
                    <a:pt x="566" y="129"/>
                    <a:pt x="560" y="149"/>
                  </a:cubicBezTo>
                  <a:lnTo>
                    <a:pt x="560" y="149"/>
                  </a:lnTo>
                  <a:lnTo>
                    <a:pt x="361" y="822"/>
                  </a:lnTo>
                  <a:lnTo>
                    <a:pt x="306" y="822"/>
                  </a:lnTo>
                  <a:lnTo>
                    <a:pt x="545" y="14"/>
                  </a:lnTo>
                  <a:lnTo>
                    <a:pt x="499" y="0"/>
                  </a:lnTo>
                  <a:lnTo>
                    <a:pt x="202" y="1005"/>
                  </a:lnTo>
                  <a:lnTo>
                    <a:pt x="11" y="959"/>
                  </a:lnTo>
                  <a:lnTo>
                    <a:pt x="0" y="1005"/>
                  </a:lnTo>
                  <a:lnTo>
                    <a:pt x="235" y="1062"/>
                  </a:lnTo>
                  <a:lnTo>
                    <a:pt x="246" y="1023"/>
                  </a:lnTo>
                  <a:lnTo>
                    <a:pt x="355" y="1023"/>
                  </a:lnTo>
                  <a:cubicBezTo>
                    <a:pt x="368" y="1063"/>
                    <a:pt x="406" y="1092"/>
                    <a:pt x="451" y="1092"/>
                  </a:cubicBezTo>
                  <a:cubicBezTo>
                    <a:pt x="495" y="1092"/>
                    <a:pt x="533" y="1063"/>
                    <a:pt x="546" y="1023"/>
                  </a:cubicBezTo>
                  <a:lnTo>
                    <a:pt x="841" y="1023"/>
                  </a:lnTo>
                  <a:cubicBezTo>
                    <a:pt x="864" y="1064"/>
                    <a:pt x="909" y="1092"/>
                    <a:pt x="960" y="1092"/>
                  </a:cubicBezTo>
                  <a:cubicBezTo>
                    <a:pt x="1012" y="1092"/>
                    <a:pt x="1056" y="1064"/>
                    <a:pt x="1080" y="1023"/>
                  </a:cubicBezTo>
                  <a:lnTo>
                    <a:pt x="1250" y="1023"/>
                  </a:lnTo>
                  <a:lnTo>
                    <a:pt x="1250" y="633"/>
                  </a:lnTo>
                  <a:close/>
                  <a:moveTo>
                    <a:pt x="605" y="162"/>
                  </a:moveTo>
                  <a:lnTo>
                    <a:pt x="606" y="162"/>
                  </a:lnTo>
                  <a:lnTo>
                    <a:pt x="606" y="162"/>
                  </a:lnTo>
                  <a:lnTo>
                    <a:pt x="986" y="162"/>
                  </a:lnTo>
                  <a:lnTo>
                    <a:pt x="986" y="585"/>
                  </a:lnTo>
                  <a:lnTo>
                    <a:pt x="910" y="585"/>
                  </a:lnTo>
                  <a:cubicBezTo>
                    <a:pt x="919" y="578"/>
                    <a:pt x="924" y="570"/>
                    <a:pt x="924" y="564"/>
                  </a:cubicBezTo>
                  <a:lnTo>
                    <a:pt x="924" y="324"/>
                  </a:lnTo>
                  <a:cubicBezTo>
                    <a:pt x="921" y="313"/>
                    <a:pt x="911" y="299"/>
                    <a:pt x="906" y="298"/>
                  </a:cubicBezTo>
                  <a:cubicBezTo>
                    <a:pt x="885" y="323"/>
                    <a:pt x="845" y="334"/>
                    <a:pt x="798" y="312"/>
                  </a:cubicBezTo>
                  <a:cubicBezTo>
                    <a:pt x="798" y="312"/>
                    <a:pt x="747" y="382"/>
                    <a:pt x="702" y="420"/>
                  </a:cubicBezTo>
                  <a:cubicBezTo>
                    <a:pt x="693" y="424"/>
                    <a:pt x="629" y="439"/>
                    <a:pt x="629" y="439"/>
                  </a:cubicBezTo>
                  <a:lnTo>
                    <a:pt x="639" y="489"/>
                  </a:lnTo>
                  <a:lnTo>
                    <a:pt x="735" y="470"/>
                  </a:lnTo>
                  <a:lnTo>
                    <a:pt x="793" y="406"/>
                  </a:lnTo>
                  <a:lnTo>
                    <a:pt x="793" y="541"/>
                  </a:lnTo>
                  <a:lnTo>
                    <a:pt x="659" y="541"/>
                  </a:lnTo>
                  <a:lnTo>
                    <a:pt x="659" y="708"/>
                  </a:lnTo>
                  <a:lnTo>
                    <a:pt x="444" y="708"/>
                  </a:lnTo>
                  <a:lnTo>
                    <a:pt x="605" y="162"/>
                  </a:lnTo>
                  <a:close/>
                  <a:moveTo>
                    <a:pt x="771" y="593"/>
                  </a:moveTo>
                  <a:lnTo>
                    <a:pt x="771" y="633"/>
                  </a:lnTo>
                  <a:lnTo>
                    <a:pt x="771" y="708"/>
                  </a:lnTo>
                  <a:lnTo>
                    <a:pt x="711" y="708"/>
                  </a:lnTo>
                  <a:lnTo>
                    <a:pt x="711" y="593"/>
                  </a:lnTo>
                  <a:lnTo>
                    <a:pt x="771" y="593"/>
                  </a:lnTo>
                  <a:close/>
                  <a:moveTo>
                    <a:pt x="451" y="1048"/>
                  </a:moveTo>
                  <a:cubicBezTo>
                    <a:pt x="420" y="1048"/>
                    <a:pt x="395" y="1023"/>
                    <a:pt x="395" y="992"/>
                  </a:cubicBezTo>
                  <a:cubicBezTo>
                    <a:pt x="395" y="961"/>
                    <a:pt x="420" y="936"/>
                    <a:pt x="451" y="936"/>
                  </a:cubicBezTo>
                  <a:cubicBezTo>
                    <a:pt x="481" y="936"/>
                    <a:pt x="506" y="961"/>
                    <a:pt x="506" y="992"/>
                  </a:cubicBezTo>
                  <a:cubicBezTo>
                    <a:pt x="506" y="1023"/>
                    <a:pt x="481" y="1048"/>
                    <a:pt x="451" y="1048"/>
                  </a:cubicBezTo>
                  <a:close/>
                  <a:moveTo>
                    <a:pt x="960" y="1041"/>
                  </a:moveTo>
                  <a:cubicBezTo>
                    <a:pt x="912" y="1041"/>
                    <a:pt x="873" y="1002"/>
                    <a:pt x="873" y="954"/>
                  </a:cubicBezTo>
                  <a:cubicBezTo>
                    <a:pt x="873" y="906"/>
                    <a:pt x="912" y="866"/>
                    <a:pt x="960" y="866"/>
                  </a:cubicBezTo>
                  <a:cubicBezTo>
                    <a:pt x="1009" y="866"/>
                    <a:pt x="1048" y="906"/>
                    <a:pt x="1048" y="954"/>
                  </a:cubicBezTo>
                  <a:cubicBezTo>
                    <a:pt x="1048" y="1002"/>
                    <a:pt x="1009" y="1041"/>
                    <a:pt x="960" y="1041"/>
                  </a:cubicBezTo>
                  <a:close/>
                  <a:moveTo>
                    <a:pt x="1202" y="975"/>
                  </a:moveTo>
                  <a:lnTo>
                    <a:pt x="1097" y="975"/>
                  </a:lnTo>
                  <a:cubicBezTo>
                    <a:pt x="1098" y="968"/>
                    <a:pt x="1099" y="961"/>
                    <a:pt x="1099" y="954"/>
                  </a:cubicBezTo>
                  <a:cubicBezTo>
                    <a:pt x="1099" y="877"/>
                    <a:pt x="1037" y="815"/>
                    <a:pt x="960" y="815"/>
                  </a:cubicBezTo>
                  <a:cubicBezTo>
                    <a:pt x="884" y="815"/>
                    <a:pt x="822" y="877"/>
                    <a:pt x="822" y="954"/>
                  </a:cubicBezTo>
                  <a:cubicBezTo>
                    <a:pt x="822" y="961"/>
                    <a:pt x="823" y="968"/>
                    <a:pt x="824" y="975"/>
                  </a:cubicBezTo>
                  <a:lnTo>
                    <a:pt x="549" y="975"/>
                  </a:lnTo>
                  <a:cubicBezTo>
                    <a:pt x="541" y="928"/>
                    <a:pt x="500" y="892"/>
                    <a:pt x="451" y="892"/>
                  </a:cubicBezTo>
                  <a:cubicBezTo>
                    <a:pt x="401" y="892"/>
                    <a:pt x="360" y="928"/>
                    <a:pt x="352" y="975"/>
                  </a:cubicBezTo>
                  <a:lnTo>
                    <a:pt x="260" y="975"/>
                  </a:lnTo>
                  <a:lnTo>
                    <a:pt x="291" y="870"/>
                  </a:lnTo>
                  <a:lnTo>
                    <a:pt x="396" y="870"/>
                  </a:lnTo>
                  <a:lnTo>
                    <a:pt x="430" y="755"/>
                  </a:lnTo>
                  <a:lnTo>
                    <a:pt x="819" y="755"/>
                  </a:lnTo>
                  <a:lnTo>
                    <a:pt x="819" y="633"/>
                  </a:lnTo>
                  <a:lnTo>
                    <a:pt x="1202" y="633"/>
                  </a:lnTo>
                  <a:lnTo>
                    <a:pt x="1202" y="975"/>
                  </a:lnTo>
                  <a:close/>
                </a:path>
              </a:pathLst>
            </a:custGeom>
            <a:solidFill>
              <a:srgbClr val="0070C0"/>
            </a:solid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grpSp>
        <p:nvGrpSpPr>
          <p:cNvPr id="83" name="POWER_USER_ID_ICONS_Gears"/>
          <p:cNvGrpSpPr>
            <a:grpSpLocks noChangeAspect="1"/>
          </p:cNvGrpSpPr>
          <p:nvPr>
            <p:custDataLst>
              <p:tags r:id="rId3"/>
            </p:custDataLst>
          </p:nvPr>
        </p:nvGrpSpPr>
        <p:grpSpPr bwMode="auto">
          <a:xfrm>
            <a:off x="3011394" y="2232627"/>
            <a:ext cx="774133" cy="826088"/>
            <a:chOff x="8" y="8"/>
            <a:chExt cx="447" cy="477"/>
          </a:xfrm>
          <a:solidFill>
            <a:schemeClr val="bg1">
              <a:lumMod val="50000"/>
            </a:schemeClr>
          </a:solidFill>
        </p:grpSpPr>
        <p:sp>
          <p:nvSpPr>
            <p:cNvPr id="84" name="POWER_USER_ID_ICONS_Gears"/>
            <p:cNvSpPr>
              <a:spLocks noEditPoints="1"/>
            </p:cNvSpPr>
            <p:nvPr>
              <p:custDataLst>
                <p:tags r:id="rId18"/>
              </p:custDataLst>
            </p:nvPr>
          </p:nvSpPr>
          <p:spPr bwMode="auto">
            <a:xfrm>
              <a:off x="209" y="8"/>
              <a:ext cx="246" cy="246"/>
            </a:xfrm>
            <a:custGeom>
              <a:avLst/>
              <a:gdLst>
                <a:gd name="T0" fmla="*/ 569 w 630"/>
                <a:gd name="T1" fmla="*/ 128 h 630"/>
                <a:gd name="T2" fmla="*/ 501 w 630"/>
                <a:gd name="T3" fmla="*/ 63 h 630"/>
                <a:gd name="T4" fmla="*/ 415 w 630"/>
                <a:gd name="T5" fmla="*/ 101 h 630"/>
                <a:gd name="T6" fmla="*/ 372 w 630"/>
                <a:gd name="T7" fmla="*/ 86 h 630"/>
                <a:gd name="T8" fmla="*/ 325 w 630"/>
                <a:gd name="T9" fmla="*/ 0 h 630"/>
                <a:gd name="T10" fmla="*/ 305 w 630"/>
                <a:gd name="T11" fmla="*/ 0 h 630"/>
                <a:gd name="T12" fmla="*/ 262 w 630"/>
                <a:gd name="T13" fmla="*/ 85 h 630"/>
                <a:gd name="T14" fmla="*/ 245 w 630"/>
                <a:gd name="T15" fmla="*/ 89 h 630"/>
                <a:gd name="T16" fmla="*/ 191 w 630"/>
                <a:gd name="T17" fmla="*/ 114 h 630"/>
                <a:gd name="T18" fmla="*/ 127 w 630"/>
                <a:gd name="T19" fmla="*/ 61 h 630"/>
                <a:gd name="T20" fmla="*/ 91 w 630"/>
                <a:gd name="T21" fmla="*/ 94 h 630"/>
                <a:gd name="T22" fmla="*/ 62 w 630"/>
                <a:gd name="T23" fmla="*/ 129 h 630"/>
                <a:gd name="T24" fmla="*/ 100 w 630"/>
                <a:gd name="T25" fmla="*/ 215 h 630"/>
                <a:gd name="T26" fmla="*/ 85 w 630"/>
                <a:gd name="T27" fmla="*/ 260 h 630"/>
                <a:gd name="T28" fmla="*/ 0 w 630"/>
                <a:gd name="T29" fmla="*/ 308 h 630"/>
                <a:gd name="T30" fmla="*/ 85 w 630"/>
                <a:gd name="T31" fmla="*/ 370 h 630"/>
                <a:gd name="T32" fmla="*/ 100 w 630"/>
                <a:gd name="T33" fmla="*/ 416 h 630"/>
                <a:gd name="T34" fmla="*/ 64 w 630"/>
                <a:gd name="T35" fmla="*/ 504 h 630"/>
                <a:gd name="T36" fmla="*/ 131 w 630"/>
                <a:gd name="T37" fmla="*/ 570 h 630"/>
                <a:gd name="T38" fmla="*/ 193 w 630"/>
                <a:gd name="T39" fmla="*/ 519 h 630"/>
                <a:gd name="T40" fmla="*/ 248 w 630"/>
                <a:gd name="T41" fmla="*/ 543 h 630"/>
                <a:gd name="T42" fmla="*/ 270 w 630"/>
                <a:gd name="T43" fmla="*/ 628 h 630"/>
                <a:gd name="T44" fmla="*/ 324 w 630"/>
                <a:gd name="T45" fmla="*/ 630 h 630"/>
                <a:gd name="T46" fmla="*/ 372 w 630"/>
                <a:gd name="T47" fmla="*/ 545 h 630"/>
                <a:gd name="T48" fmla="*/ 384 w 630"/>
                <a:gd name="T49" fmla="*/ 541 h 630"/>
                <a:gd name="T50" fmla="*/ 441 w 630"/>
                <a:gd name="T51" fmla="*/ 515 h 630"/>
                <a:gd name="T52" fmla="*/ 505 w 630"/>
                <a:gd name="T53" fmla="*/ 568 h 630"/>
                <a:gd name="T54" fmla="*/ 538 w 630"/>
                <a:gd name="T55" fmla="*/ 538 h 630"/>
                <a:gd name="T56" fmla="*/ 518 w 630"/>
                <a:gd name="T57" fmla="*/ 438 h 630"/>
                <a:gd name="T58" fmla="*/ 530 w 630"/>
                <a:gd name="T59" fmla="*/ 415 h 630"/>
                <a:gd name="T60" fmla="*/ 542 w 630"/>
                <a:gd name="T61" fmla="*/ 383 h 630"/>
                <a:gd name="T62" fmla="*/ 626 w 630"/>
                <a:gd name="T63" fmla="*/ 364 h 630"/>
                <a:gd name="T64" fmla="*/ 630 w 630"/>
                <a:gd name="T65" fmla="*/ 315 h 630"/>
                <a:gd name="T66" fmla="*/ 626 w 630"/>
                <a:gd name="T67" fmla="*/ 268 h 630"/>
                <a:gd name="T68" fmla="*/ 542 w 630"/>
                <a:gd name="T69" fmla="*/ 249 h 630"/>
                <a:gd name="T70" fmla="*/ 517 w 630"/>
                <a:gd name="T71" fmla="*/ 191 h 630"/>
                <a:gd name="T72" fmla="*/ 235 w 630"/>
                <a:gd name="T73" fmla="*/ 233 h 630"/>
                <a:gd name="T74" fmla="*/ 399 w 630"/>
                <a:gd name="T75" fmla="*/ 233 h 630"/>
                <a:gd name="T76" fmla="*/ 399 w 630"/>
                <a:gd name="T77" fmla="*/ 396 h 630"/>
                <a:gd name="T78" fmla="*/ 235 w 630"/>
                <a:gd name="T79" fmla="*/ 396 h 630"/>
                <a:gd name="T80" fmla="*/ 235 w 630"/>
                <a:gd name="T81" fmla="*/ 23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0" h="630">
                  <a:moveTo>
                    <a:pt x="569" y="129"/>
                  </a:moveTo>
                  <a:lnTo>
                    <a:pt x="569" y="128"/>
                  </a:lnTo>
                  <a:cubicBezTo>
                    <a:pt x="550" y="103"/>
                    <a:pt x="527" y="81"/>
                    <a:pt x="501" y="61"/>
                  </a:cubicBezTo>
                  <a:lnTo>
                    <a:pt x="501" y="63"/>
                  </a:lnTo>
                  <a:cubicBezTo>
                    <a:pt x="480" y="79"/>
                    <a:pt x="458" y="96"/>
                    <a:pt x="438" y="114"/>
                  </a:cubicBezTo>
                  <a:cubicBezTo>
                    <a:pt x="430" y="109"/>
                    <a:pt x="422" y="105"/>
                    <a:pt x="415" y="101"/>
                  </a:cubicBezTo>
                  <a:cubicBezTo>
                    <a:pt x="405" y="96"/>
                    <a:pt x="395" y="91"/>
                    <a:pt x="383" y="89"/>
                  </a:cubicBezTo>
                  <a:cubicBezTo>
                    <a:pt x="380" y="88"/>
                    <a:pt x="376" y="86"/>
                    <a:pt x="372" y="86"/>
                  </a:cubicBezTo>
                  <a:cubicBezTo>
                    <a:pt x="370" y="59"/>
                    <a:pt x="367" y="31"/>
                    <a:pt x="363" y="4"/>
                  </a:cubicBezTo>
                  <a:cubicBezTo>
                    <a:pt x="351" y="1"/>
                    <a:pt x="338" y="1"/>
                    <a:pt x="325" y="0"/>
                  </a:cubicBezTo>
                  <a:lnTo>
                    <a:pt x="315" y="0"/>
                  </a:lnTo>
                  <a:lnTo>
                    <a:pt x="305" y="0"/>
                  </a:lnTo>
                  <a:cubicBezTo>
                    <a:pt x="292" y="1"/>
                    <a:pt x="281" y="1"/>
                    <a:pt x="270" y="4"/>
                  </a:cubicBezTo>
                  <a:cubicBezTo>
                    <a:pt x="266" y="30"/>
                    <a:pt x="263" y="57"/>
                    <a:pt x="262" y="85"/>
                  </a:cubicBezTo>
                  <a:cubicBezTo>
                    <a:pt x="257" y="85"/>
                    <a:pt x="253" y="86"/>
                    <a:pt x="248" y="88"/>
                  </a:cubicBezTo>
                  <a:cubicBezTo>
                    <a:pt x="247" y="88"/>
                    <a:pt x="246" y="88"/>
                    <a:pt x="245" y="89"/>
                  </a:cubicBezTo>
                  <a:cubicBezTo>
                    <a:pt x="235" y="91"/>
                    <a:pt x="225" y="96"/>
                    <a:pt x="215" y="101"/>
                  </a:cubicBezTo>
                  <a:cubicBezTo>
                    <a:pt x="206" y="105"/>
                    <a:pt x="198" y="109"/>
                    <a:pt x="191" y="114"/>
                  </a:cubicBezTo>
                  <a:cubicBezTo>
                    <a:pt x="170" y="96"/>
                    <a:pt x="150" y="80"/>
                    <a:pt x="128" y="63"/>
                  </a:cubicBezTo>
                  <a:lnTo>
                    <a:pt x="127" y="61"/>
                  </a:lnTo>
                  <a:cubicBezTo>
                    <a:pt x="122" y="65"/>
                    <a:pt x="117" y="69"/>
                    <a:pt x="113" y="73"/>
                  </a:cubicBezTo>
                  <a:cubicBezTo>
                    <a:pt x="105" y="79"/>
                    <a:pt x="97" y="86"/>
                    <a:pt x="91" y="94"/>
                  </a:cubicBezTo>
                  <a:cubicBezTo>
                    <a:pt x="80" y="104"/>
                    <a:pt x="71" y="116"/>
                    <a:pt x="61" y="129"/>
                  </a:cubicBezTo>
                  <a:lnTo>
                    <a:pt x="62" y="129"/>
                  </a:lnTo>
                  <a:cubicBezTo>
                    <a:pt x="78" y="150"/>
                    <a:pt x="96" y="170"/>
                    <a:pt x="114" y="191"/>
                  </a:cubicBezTo>
                  <a:cubicBezTo>
                    <a:pt x="109" y="199"/>
                    <a:pt x="104" y="208"/>
                    <a:pt x="100" y="215"/>
                  </a:cubicBezTo>
                  <a:cubicBezTo>
                    <a:pt x="95" y="225"/>
                    <a:pt x="91" y="236"/>
                    <a:pt x="89" y="246"/>
                  </a:cubicBezTo>
                  <a:cubicBezTo>
                    <a:pt x="86" y="251"/>
                    <a:pt x="85" y="256"/>
                    <a:pt x="85" y="260"/>
                  </a:cubicBezTo>
                  <a:cubicBezTo>
                    <a:pt x="57" y="263"/>
                    <a:pt x="30" y="265"/>
                    <a:pt x="4" y="269"/>
                  </a:cubicBezTo>
                  <a:cubicBezTo>
                    <a:pt x="1" y="281"/>
                    <a:pt x="0" y="294"/>
                    <a:pt x="0" y="308"/>
                  </a:cubicBezTo>
                  <a:cubicBezTo>
                    <a:pt x="0" y="326"/>
                    <a:pt x="1" y="345"/>
                    <a:pt x="5" y="363"/>
                  </a:cubicBezTo>
                  <a:cubicBezTo>
                    <a:pt x="31" y="365"/>
                    <a:pt x="57" y="368"/>
                    <a:pt x="85" y="370"/>
                  </a:cubicBezTo>
                  <a:cubicBezTo>
                    <a:pt x="85" y="375"/>
                    <a:pt x="86" y="380"/>
                    <a:pt x="89" y="384"/>
                  </a:cubicBezTo>
                  <a:cubicBezTo>
                    <a:pt x="91" y="395"/>
                    <a:pt x="95" y="405"/>
                    <a:pt x="100" y="416"/>
                  </a:cubicBezTo>
                  <a:cubicBezTo>
                    <a:pt x="105" y="425"/>
                    <a:pt x="109" y="434"/>
                    <a:pt x="115" y="441"/>
                  </a:cubicBezTo>
                  <a:cubicBezTo>
                    <a:pt x="97" y="463"/>
                    <a:pt x="80" y="483"/>
                    <a:pt x="64" y="504"/>
                  </a:cubicBezTo>
                  <a:cubicBezTo>
                    <a:pt x="82" y="530"/>
                    <a:pt x="105" y="553"/>
                    <a:pt x="131" y="571"/>
                  </a:cubicBezTo>
                  <a:lnTo>
                    <a:pt x="131" y="570"/>
                  </a:lnTo>
                  <a:cubicBezTo>
                    <a:pt x="151" y="554"/>
                    <a:pt x="172" y="536"/>
                    <a:pt x="192" y="519"/>
                  </a:cubicBezTo>
                  <a:lnTo>
                    <a:pt x="193" y="519"/>
                  </a:lnTo>
                  <a:cubicBezTo>
                    <a:pt x="200" y="523"/>
                    <a:pt x="207" y="526"/>
                    <a:pt x="214" y="530"/>
                  </a:cubicBezTo>
                  <a:cubicBezTo>
                    <a:pt x="225" y="535"/>
                    <a:pt x="237" y="540"/>
                    <a:pt x="248" y="543"/>
                  </a:cubicBezTo>
                  <a:cubicBezTo>
                    <a:pt x="253" y="544"/>
                    <a:pt x="257" y="545"/>
                    <a:pt x="261" y="546"/>
                  </a:cubicBezTo>
                  <a:cubicBezTo>
                    <a:pt x="264" y="573"/>
                    <a:pt x="266" y="600"/>
                    <a:pt x="270" y="628"/>
                  </a:cubicBezTo>
                  <a:cubicBezTo>
                    <a:pt x="281" y="629"/>
                    <a:pt x="292" y="630"/>
                    <a:pt x="305" y="630"/>
                  </a:cubicBezTo>
                  <a:lnTo>
                    <a:pt x="324" y="630"/>
                  </a:lnTo>
                  <a:cubicBezTo>
                    <a:pt x="337" y="630"/>
                    <a:pt x="351" y="629"/>
                    <a:pt x="365" y="626"/>
                  </a:cubicBezTo>
                  <a:cubicBezTo>
                    <a:pt x="367" y="600"/>
                    <a:pt x="370" y="573"/>
                    <a:pt x="372" y="545"/>
                  </a:cubicBezTo>
                  <a:lnTo>
                    <a:pt x="384" y="541"/>
                  </a:lnTo>
                  <a:lnTo>
                    <a:pt x="384" y="541"/>
                  </a:lnTo>
                  <a:cubicBezTo>
                    <a:pt x="395" y="539"/>
                    <a:pt x="405" y="535"/>
                    <a:pt x="415" y="530"/>
                  </a:cubicBezTo>
                  <a:cubicBezTo>
                    <a:pt x="424" y="526"/>
                    <a:pt x="432" y="521"/>
                    <a:pt x="441" y="515"/>
                  </a:cubicBezTo>
                  <a:cubicBezTo>
                    <a:pt x="441" y="516"/>
                    <a:pt x="441" y="516"/>
                    <a:pt x="442" y="516"/>
                  </a:cubicBezTo>
                  <a:cubicBezTo>
                    <a:pt x="462" y="534"/>
                    <a:pt x="483" y="551"/>
                    <a:pt x="505" y="568"/>
                  </a:cubicBezTo>
                  <a:cubicBezTo>
                    <a:pt x="508" y="565"/>
                    <a:pt x="512" y="563"/>
                    <a:pt x="517" y="559"/>
                  </a:cubicBezTo>
                  <a:cubicBezTo>
                    <a:pt x="525" y="553"/>
                    <a:pt x="532" y="545"/>
                    <a:pt x="538" y="538"/>
                  </a:cubicBezTo>
                  <a:cubicBezTo>
                    <a:pt x="550" y="526"/>
                    <a:pt x="561" y="514"/>
                    <a:pt x="571" y="500"/>
                  </a:cubicBezTo>
                  <a:cubicBezTo>
                    <a:pt x="553" y="479"/>
                    <a:pt x="536" y="458"/>
                    <a:pt x="518" y="438"/>
                  </a:cubicBezTo>
                  <a:lnTo>
                    <a:pt x="518" y="436"/>
                  </a:lnTo>
                  <a:cubicBezTo>
                    <a:pt x="522" y="430"/>
                    <a:pt x="526" y="422"/>
                    <a:pt x="530" y="415"/>
                  </a:cubicBezTo>
                  <a:cubicBezTo>
                    <a:pt x="533" y="405"/>
                    <a:pt x="538" y="395"/>
                    <a:pt x="541" y="385"/>
                  </a:cubicBezTo>
                  <a:cubicBezTo>
                    <a:pt x="541" y="384"/>
                    <a:pt x="541" y="383"/>
                    <a:pt x="542" y="383"/>
                  </a:cubicBezTo>
                  <a:cubicBezTo>
                    <a:pt x="542" y="378"/>
                    <a:pt x="543" y="374"/>
                    <a:pt x="545" y="371"/>
                  </a:cubicBezTo>
                  <a:cubicBezTo>
                    <a:pt x="572" y="369"/>
                    <a:pt x="600" y="366"/>
                    <a:pt x="626" y="364"/>
                  </a:cubicBezTo>
                  <a:cubicBezTo>
                    <a:pt x="629" y="351"/>
                    <a:pt x="629" y="339"/>
                    <a:pt x="630" y="326"/>
                  </a:cubicBezTo>
                  <a:lnTo>
                    <a:pt x="630" y="315"/>
                  </a:lnTo>
                  <a:lnTo>
                    <a:pt x="630" y="305"/>
                  </a:lnTo>
                  <a:cubicBezTo>
                    <a:pt x="629" y="293"/>
                    <a:pt x="629" y="280"/>
                    <a:pt x="626" y="268"/>
                  </a:cubicBezTo>
                  <a:cubicBezTo>
                    <a:pt x="600" y="265"/>
                    <a:pt x="572" y="263"/>
                    <a:pt x="545" y="260"/>
                  </a:cubicBezTo>
                  <a:cubicBezTo>
                    <a:pt x="544" y="256"/>
                    <a:pt x="542" y="252"/>
                    <a:pt x="542" y="249"/>
                  </a:cubicBezTo>
                  <a:cubicBezTo>
                    <a:pt x="538" y="238"/>
                    <a:pt x="535" y="226"/>
                    <a:pt x="530" y="215"/>
                  </a:cubicBezTo>
                  <a:cubicBezTo>
                    <a:pt x="526" y="207"/>
                    <a:pt x="521" y="199"/>
                    <a:pt x="517" y="191"/>
                  </a:cubicBezTo>
                  <a:cubicBezTo>
                    <a:pt x="534" y="171"/>
                    <a:pt x="551" y="150"/>
                    <a:pt x="569" y="129"/>
                  </a:cubicBezTo>
                  <a:close/>
                  <a:moveTo>
                    <a:pt x="235" y="233"/>
                  </a:moveTo>
                  <a:cubicBezTo>
                    <a:pt x="257" y="209"/>
                    <a:pt x="285" y="198"/>
                    <a:pt x="316" y="199"/>
                  </a:cubicBezTo>
                  <a:cubicBezTo>
                    <a:pt x="349" y="198"/>
                    <a:pt x="375" y="209"/>
                    <a:pt x="399" y="233"/>
                  </a:cubicBezTo>
                  <a:cubicBezTo>
                    <a:pt x="421" y="255"/>
                    <a:pt x="432" y="283"/>
                    <a:pt x="432" y="314"/>
                  </a:cubicBezTo>
                  <a:cubicBezTo>
                    <a:pt x="432" y="346"/>
                    <a:pt x="421" y="373"/>
                    <a:pt x="399" y="396"/>
                  </a:cubicBezTo>
                  <a:cubicBezTo>
                    <a:pt x="375" y="419"/>
                    <a:pt x="349" y="430"/>
                    <a:pt x="316" y="430"/>
                  </a:cubicBezTo>
                  <a:cubicBezTo>
                    <a:pt x="285" y="430"/>
                    <a:pt x="257" y="419"/>
                    <a:pt x="235" y="396"/>
                  </a:cubicBezTo>
                  <a:cubicBezTo>
                    <a:pt x="212" y="373"/>
                    <a:pt x="201" y="346"/>
                    <a:pt x="201" y="314"/>
                  </a:cubicBezTo>
                  <a:cubicBezTo>
                    <a:pt x="201" y="283"/>
                    <a:pt x="212" y="255"/>
                    <a:pt x="235" y="233"/>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85" name="POWER_USER_ID_ICONS_Gears"/>
            <p:cNvSpPr>
              <a:spLocks noEditPoints="1"/>
            </p:cNvSpPr>
            <p:nvPr>
              <p:custDataLst>
                <p:tags r:id="rId19"/>
              </p:custDataLst>
            </p:nvPr>
          </p:nvSpPr>
          <p:spPr bwMode="auto">
            <a:xfrm>
              <a:off x="294" y="92"/>
              <a:ext cx="77" cy="78"/>
            </a:xfrm>
            <a:custGeom>
              <a:avLst/>
              <a:gdLst>
                <a:gd name="T0" fmla="*/ 98 w 197"/>
                <a:gd name="T1" fmla="*/ 0 h 199"/>
                <a:gd name="T2" fmla="*/ 28 w 197"/>
                <a:gd name="T3" fmla="*/ 29 h 199"/>
                <a:gd name="T4" fmla="*/ 0 w 197"/>
                <a:gd name="T5" fmla="*/ 99 h 199"/>
                <a:gd name="T6" fmla="*/ 28 w 197"/>
                <a:gd name="T7" fmla="*/ 169 h 199"/>
                <a:gd name="T8" fmla="*/ 28 w 197"/>
                <a:gd name="T9" fmla="*/ 169 h 199"/>
                <a:gd name="T10" fmla="*/ 98 w 197"/>
                <a:gd name="T11" fmla="*/ 199 h 199"/>
                <a:gd name="T12" fmla="*/ 168 w 197"/>
                <a:gd name="T13" fmla="*/ 169 h 199"/>
                <a:gd name="T14" fmla="*/ 168 w 197"/>
                <a:gd name="T15" fmla="*/ 169 h 199"/>
                <a:gd name="T16" fmla="*/ 197 w 197"/>
                <a:gd name="T17" fmla="*/ 99 h 199"/>
                <a:gd name="T18" fmla="*/ 197 w 197"/>
                <a:gd name="T19" fmla="*/ 99 h 199"/>
                <a:gd name="T20" fmla="*/ 168 w 197"/>
                <a:gd name="T21" fmla="*/ 29 h 199"/>
                <a:gd name="T22" fmla="*/ 98 w 197"/>
                <a:gd name="T23" fmla="*/ 0 h 199"/>
                <a:gd name="T24" fmla="*/ 46 w 197"/>
                <a:gd name="T25" fmla="*/ 46 h 199"/>
                <a:gd name="T26" fmla="*/ 98 w 197"/>
                <a:gd name="T27" fmla="*/ 25 h 199"/>
                <a:gd name="T28" fmla="*/ 151 w 197"/>
                <a:gd name="T29" fmla="*/ 46 h 199"/>
                <a:gd name="T30" fmla="*/ 172 w 197"/>
                <a:gd name="T31" fmla="*/ 99 h 199"/>
                <a:gd name="T32" fmla="*/ 172 w 197"/>
                <a:gd name="T33" fmla="*/ 99 h 199"/>
                <a:gd name="T34" fmla="*/ 151 w 197"/>
                <a:gd name="T35" fmla="*/ 151 h 199"/>
                <a:gd name="T36" fmla="*/ 98 w 197"/>
                <a:gd name="T37" fmla="*/ 174 h 199"/>
                <a:gd name="T38" fmla="*/ 46 w 197"/>
                <a:gd name="T39" fmla="*/ 151 h 199"/>
                <a:gd name="T40" fmla="*/ 24 w 197"/>
                <a:gd name="T41" fmla="*/ 99 h 199"/>
                <a:gd name="T42" fmla="*/ 46 w 197"/>
                <a:gd name="T43" fmla="*/ 4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99">
                  <a:moveTo>
                    <a:pt x="98" y="0"/>
                  </a:moveTo>
                  <a:cubicBezTo>
                    <a:pt x="71" y="0"/>
                    <a:pt x="48" y="10"/>
                    <a:pt x="28" y="29"/>
                  </a:cubicBezTo>
                  <a:cubicBezTo>
                    <a:pt x="10" y="49"/>
                    <a:pt x="0" y="71"/>
                    <a:pt x="0" y="99"/>
                  </a:cubicBezTo>
                  <a:cubicBezTo>
                    <a:pt x="0" y="126"/>
                    <a:pt x="10" y="149"/>
                    <a:pt x="28" y="169"/>
                  </a:cubicBezTo>
                  <a:lnTo>
                    <a:pt x="28" y="169"/>
                  </a:lnTo>
                  <a:cubicBezTo>
                    <a:pt x="48" y="189"/>
                    <a:pt x="71" y="199"/>
                    <a:pt x="98" y="199"/>
                  </a:cubicBezTo>
                  <a:cubicBezTo>
                    <a:pt x="126" y="199"/>
                    <a:pt x="148" y="189"/>
                    <a:pt x="168" y="169"/>
                  </a:cubicBezTo>
                  <a:lnTo>
                    <a:pt x="168" y="169"/>
                  </a:lnTo>
                  <a:cubicBezTo>
                    <a:pt x="188" y="149"/>
                    <a:pt x="197" y="126"/>
                    <a:pt x="197" y="99"/>
                  </a:cubicBezTo>
                  <a:lnTo>
                    <a:pt x="197" y="99"/>
                  </a:lnTo>
                  <a:cubicBezTo>
                    <a:pt x="197" y="71"/>
                    <a:pt x="188" y="49"/>
                    <a:pt x="168" y="29"/>
                  </a:cubicBezTo>
                  <a:cubicBezTo>
                    <a:pt x="148" y="10"/>
                    <a:pt x="126" y="0"/>
                    <a:pt x="98" y="0"/>
                  </a:cubicBezTo>
                  <a:close/>
                  <a:moveTo>
                    <a:pt x="46" y="46"/>
                  </a:moveTo>
                  <a:cubicBezTo>
                    <a:pt x="61" y="32"/>
                    <a:pt x="78" y="25"/>
                    <a:pt x="98" y="25"/>
                  </a:cubicBezTo>
                  <a:cubicBezTo>
                    <a:pt x="118" y="25"/>
                    <a:pt x="136" y="33"/>
                    <a:pt x="151" y="46"/>
                  </a:cubicBezTo>
                  <a:cubicBezTo>
                    <a:pt x="166" y="61"/>
                    <a:pt x="172" y="78"/>
                    <a:pt x="172" y="99"/>
                  </a:cubicBezTo>
                  <a:lnTo>
                    <a:pt x="172" y="99"/>
                  </a:lnTo>
                  <a:cubicBezTo>
                    <a:pt x="172" y="120"/>
                    <a:pt x="166" y="138"/>
                    <a:pt x="151" y="151"/>
                  </a:cubicBezTo>
                  <a:cubicBezTo>
                    <a:pt x="136" y="166"/>
                    <a:pt x="118" y="174"/>
                    <a:pt x="98" y="174"/>
                  </a:cubicBezTo>
                  <a:cubicBezTo>
                    <a:pt x="78" y="174"/>
                    <a:pt x="61" y="166"/>
                    <a:pt x="46" y="151"/>
                  </a:cubicBezTo>
                  <a:cubicBezTo>
                    <a:pt x="32" y="137"/>
                    <a:pt x="24" y="120"/>
                    <a:pt x="24" y="99"/>
                  </a:cubicBezTo>
                  <a:cubicBezTo>
                    <a:pt x="25" y="79"/>
                    <a:pt x="32" y="61"/>
                    <a:pt x="46" y="46"/>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86" name="POWER_USER_ID_ICONS_Gears"/>
            <p:cNvSpPr>
              <a:spLocks noEditPoints="1"/>
            </p:cNvSpPr>
            <p:nvPr>
              <p:custDataLst>
                <p:tags r:id="rId20"/>
              </p:custDataLst>
            </p:nvPr>
          </p:nvSpPr>
          <p:spPr bwMode="auto">
            <a:xfrm>
              <a:off x="8" y="167"/>
              <a:ext cx="316" cy="318"/>
            </a:xfrm>
            <a:custGeom>
              <a:avLst/>
              <a:gdLst>
                <a:gd name="T0" fmla="*/ 497 w 810"/>
                <a:gd name="T1" fmla="*/ 8 h 812"/>
                <a:gd name="T2" fmla="*/ 416 w 810"/>
                <a:gd name="T3" fmla="*/ 98 h 812"/>
                <a:gd name="T4" fmla="*/ 394 w 810"/>
                <a:gd name="T5" fmla="*/ 98 h 812"/>
                <a:gd name="T6" fmla="*/ 318 w 810"/>
                <a:gd name="T7" fmla="*/ 112 h 812"/>
                <a:gd name="T8" fmla="*/ 255 w 810"/>
                <a:gd name="T9" fmla="*/ 26 h 812"/>
                <a:gd name="T10" fmla="*/ 199 w 810"/>
                <a:gd name="T11" fmla="*/ 53 h 812"/>
                <a:gd name="T12" fmla="*/ 150 w 810"/>
                <a:gd name="T13" fmla="*/ 88 h 812"/>
                <a:gd name="T14" fmla="*/ 170 w 810"/>
                <a:gd name="T15" fmla="*/ 208 h 812"/>
                <a:gd name="T16" fmla="*/ 144 w 810"/>
                <a:gd name="T17" fmla="*/ 243 h 812"/>
                <a:gd name="T18" fmla="*/ 30 w 810"/>
                <a:gd name="T19" fmla="*/ 242 h 812"/>
                <a:gd name="T20" fmla="*/ 0 w 810"/>
                <a:gd name="T21" fmla="*/ 361 h 812"/>
                <a:gd name="T22" fmla="*/ 97 w 810"/>
                <a:gd name="T23" fmla="*/ 416 h 812"/>
                <a:gd name="T24" fmla="*/ 111 w 810"/>
                <a:gd name="T25" fmla="*/ 497 h 812"/>
                <a:gd name="T26" fmla="*/ 87 w 810"/>
                <a:gd name="T27" fmla="*/ 663 h 812"/>
                <a:gd name="T28" fmla="*/ 184 w 810"/>
                <a:gd name="T29" fmla="*/ 620 h 812"/>
                <a:gd name="T30" fmla="*/ 206 w 810"/>
                <a:gd name="T31" fmla="*/ 641 h 812"/>
                <a:gd name="T32" fmla="*/ 260 w 810"/>
                <a:gd name="T33" fmla="*/ 677 h 812"/>
                <a:gd name="T34" fmla="*/ 286 w 810"/>
                <a:gd name="T35" fmla="*/ 796 h 812"/>
                <a:gd name="T36" fmla="*/ 361 w 810"/>
                <a:gd name="T37" fmla="*/ 812 h 812"/>
                <a:gd name="T38" fmla="*/ 414 w 810"/>
                <a:gd name="T39" fmla="*/ 712 h 812"/>
                <a:gd name="T40" fmla="*/ 458 w 810"/>
                <a:gd name="T41" fmla="*/ 708 h 812"/>
                <a:gd name="T42" fmla="*/ 496 w 810"/>
                <a:gd name="T43" fmla="*/ 700 h 812"/>
                <a:gd name="T44" fmla="*/ 575 w 810"/>
                <a:gd name="T45" fmla="*/ 777 h 812"/>
                <a:gd name="T46" fmla="*/ 663 w 810"/>
                <a:gd name="T47" fmla="*/ 722 h 812"/>
                <a:gd name="T48" fmla="*/ 619 w 810"/>
                <a:gd name="T49" fmla="*/ 626 h 812"/>
                <a:gd name="T50" fmla="*/ 665 w 810"/>
                <a:gd name="T51" fmla="*/ 568 h 812"/>
                <a:gd name="T52" fmla="*/ 674 w 810"/>
                <a:gd name="T53" fmla="*/ 552 h 812"/>
                <a:gd name="T54" fmla="*/ 795 w 810"/>
                <a:gd name="T55" fmla="*/ 523 h 812"/>
                <a:gd name="T56" fmla="*/ 803 w 810"/>
                <a:gd name="T57" fmla="*/ 498 h 812"/>
                <a:gd name="T58" fmla="*/ 711 w 810"/>
                <a:gd name="T59" fmla="*/ 413 h 812"/>
                <a:gd name="T60" fmla="*/ 706 w 810"/>
                <a:gd name="T61" fmla="*/ 352 h 812"/>
                <a:gd name="T62" fmla="*/ 784 w 810"/>
                <a:gd name="T63" fmla="*/ 256 h 812"/>
                <a:gd name="T64" fmla="*/ 723 w 810"/>
                <a:gd name="T65" fmla="*/ 151 h 812"/>
                <a:gd name="T66" fmla="*/ 628 w 810"/>
                <a:gd name="T67" fmla="*/ 195 h 812"/>
                <a:gd name="T68" fmla="*/ 566 w 810"/>
                <a:gd name="T69" fmla="*/ 146 h 812"/>
                <a:gd name="T70" fmla="*/ 570 w 810"/>
                <a:gd name="T71" fmla="*/ 32 h 812"/>
                <a:gd name="T72" fmla="*/ 510 w 810"/>
                <a:gd name="T73" fmla="*/ 12 h 812"/>
                <a:gd name="T74" fmla="*/ 263 w 810"/>
                <a:gd name="T75" fmla="*/ 366 h 812"/>
                <a:gd name="T76" fmla="*/ 445 w 810"/>
                <a:gd name="T77" fmla="*/ 260 h 812"/>
                <a:gd name="T78" fmla="*/ 551 w 810"/>
                <a:gd name="T79" fmla="*/ 443 h 812"/>
                <a:gd name="T80" fmla="*/ 369 w 810"/>
                <a:gd name="T81" fmla="*/ 548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0" h="812">
                  <a:moveTo>
                    <a:pt x="510" y="12"/>
                  </a:moveTo>
                  <a:cubicBezTo>
                    <a:pt x="505" y="10"/>
                    <a:pt x="501" y="8"/>
                    <a:pt x="497" y="8"/>
                  </a:cubicBezTo>
                  <a:cubicBezTo>
                    <a:pt x="482" y="5"/>
                    <a:pt x="468" y="2"/>
                    <a:pt x="452" y="0"/>
                  </a:cubicBezTo>
                  <a:cubicBezTo>
                    <a:pt x="439" y="33"/>
                    <a:pt x="427" y="66"/>
                    <a:pt x="416" y="98"/>
                  </a:cubicBezTo>
                  <a:lnTo>
                    <a:pt x="399" y="98"/>
                  </a:lnTo>
                  <a:lnTo>
                    <a:pt x="394" y="98"/>
                  </a:lnTo>
                  <a:cubicBezTo>
                    <a:pt x="379" y="100"/>
                    <a:pt x="365" y="101"/>
                    <a:pt x="351" y="103"/>
                  </a:cubicBezTo>
                  <a:cubicBezTo>
                    <a:pt x="340" y="105"/>
                    <a:pt x="329" y="108"/>
                    <a:pt x="318" y="112"/>
                  </a:cubicBezTo>
                  <a:cubicBezTo>
                    <a:pt x="298" y="83"/>
                    <a:pt x="276" y="55"/>
                    <a:pt x="256" y="27"/>
                  </a:cubicBezTo>
                  <a:lnTo>
                    <a:pt x="255" y="26"/>
                  </a:lnTo>
                  <a:cubicBezTo>
                    <a:pt x="247" y="28"/>
                    <a:pt x="240" y="31"/>
                    <a:pt x="234" y="35"/>
                  </a:cubicBezTo>
                  <a:cubicBezTo>
                    <a:pt x="221" y="40"/>
                    <a:pt x="210" y="46"/>
                    <a:pt x="199" y="53"/>
                  </a:cubicBezTo>
                  <a:cubicBezTo>
                    <a:pt x="181" y="62"/>
                    <a:pt x="165" y="73"/>
                    <a:pt x="150" y="87"/>
                  </a:cubicBezTo>
                  <a:lnTo>
                    <a:pt x="150" y="88"/>
                  </a:lnTo>
                  <a:cubicBezTo>
                    <a:pt x="165" y="120"/>
                    <a:pt x="179" y="151"/>
                    <a:pt x="194" y="182"/>
                  </a:cubicBezTo>
                  <a:cubicBezTo>
                    <a:pt x="185" y="191"/>
                    <a:pt x="177" y="198"/>
                    <a:pt x="170" y="208"/>
                  </a:cubicBezTo>
                  <a:cubicBezTo>
                    <a:pt x="160" y="218"/>
                    <a:pt x="151" y="231"/>
                    <a:pt x="144" y="243"/>
                  </a:cubicBezTo>
                  <a:lnTo>
                    <a:pt x="144" y="243"/>
                  </a:lnTo>
                  <a:cubicBezTo>
                    <a:pt x="140" y="248"/>
                    <a:pt x="137" y="253"/>
                    <a:pt x="135" y="260"/>
                  </a:cubicBezTo>
                  <a:cubicBezTo>
                    <a:pt x="100" y="253"/>
                    <a:pt x="65" y="247"/>
                    <a:pt x="30" y="242"/>
                  </a:cubicBezTo>
                  <a:cubicBezTo>
                    <a:pt x="24" y="257"/>
                    <a:pt x="17" y="272"/>
                    <a:pt x="12" y="288"/>
                  </a:cubicBezTo>
                  <a:cubicBezTo>
                    <a:pt x="7" y="313"/>
                    <a:pt x="2" y="337"/>
                    <a:pt x="0" y="361"/>
                  </a:cubicBezTo>
                  <a:lnTo>
                    <a:pt x="97" y="398"/>
                  </a:lnTo>
                  <a:lnTo>
                    <a:pt x="97" y="416"/>
                  </a:lnTo>
                  <a:cubicBezTo>
                    <a:pt x="97" y="430"/>
                    <a:pt x="99" y="445"/>
                    <a:pt x="102" y="460"/>
                  </a:cubicBezTo>
                  <a:cubicBezTo>
                    <a:pt x="104" y="472"/>
                    <a:pt x="108" y="485"/>
                    <a:pt x="111" y="497"/>
                  </a:cubicBezTo>
                  <a:cubicBezTo>
                    <a:pt x="82" y="517"/>
                    <a:pt x="55" y="537"/>
                    <a:pt x="26" y="558"/>
                  </a:cubicBezTo>
                  <a:cubicBezTo>
                    <a:pt x="41" y="596"/>
                    <a:pt x="62" y="631"/>
                    <a:pt x="87" y="663"/>
                  </a:cubicBezTo>
                  <a:lnTo>
                    <a:pt x="89" y="663"/>
                  </a:lnTo>
                  <a:cubicBezTo>
                    <a:pt x="120" y="648"/>
                    <a:pt x="151" y="635"/>
                    <a:pt x="184" y="620"/>
                  </a:cubicBezTo>
                  <a:lnTo>
                    <a:pt x="184" y="620"/>
                  </a:lnTo>
                  <a:cubicBezTo>
                    <a:pt x="191" y="627"/>
                    <a:pt x="199" y="633"/>
                    <a:pt x="206" y="641"/>
                  </a:cubicBezTo>
                  <a:cubicBezTo>
                    <a:pt x="217" y="651"/>
                    <a:pt x="231" y="660"/>
                    <a:pt x="246" y="668"/>
                  </a:cubicBezTo>
                  <a:cubicBezTo>
                    <a:pt x="250" y="671"/>
                    <a:pt x="255" y="673"/>
                    <a:pt x="260" y="677"/>
                  </a:cubicBezTo>
                  <a:cubicBezTo>
                    <a:pt x="254" y="711"/>
                    <a:pt x="249" y="746"/>
                    <a:pt x="244" y="781"/>
                  </a:cubicBezTo>
                  <a:cubicBezTo>
                    <a:pt x="258" y="787"/>
                    <a:pt x="271" y="792"/>
                    <a:pt x="286" y="796"/>
                  </a:cubicBezTo>
                  <a:cubicBezTo>
                    <a:pt x="290" y="797"/>
                    <a:pt x="297" y="800"/>
                    <a:pt x="310" y="802"/>
                  </a:cubicBezTo>
                  <a:cubicBezTo>
                    <a:pt x="327" y="807"/>
                    <a:pt x="345" y="810"/>
                    <a:pt x="361" y="812"/>
                  </a:cubicBezTo>
                  <a:cubicBezTo>
                    <a:pt x="375" y="778"/>
                    <a:pt x="388" y="746"/>
                    <a:pt x="399" y="712"/>
                  </a:cubicBezTo>
                  <a:lnTo>
                    <a:pt x="414" y="712"/>
                  </a:lnTo>
                  <a:lnTo>
                    <a:pt x="415" y="712"/>
                  </a:lnTo>
                  <a:cubicBezTo>
                    <a:pt x="430" y="712"/>
                    <a:pt x="444" y="711"/>
                    <a:pt x="458" y="708"/>
                  </a:cubicBezTo>
                  <a:cubicBezTo>
                    <a:pt x="470" y="706"/>
                    <a:pt x="483" y="702"/>
                    <a:pt x="495" y="698"/>
                  </a:cubicBezTo>
                  <a:cubicBezTo>
                    <a:pt x="495" y="698"/>
                    <a:pt x="495" y="700"/>
                    <a:pt x="496" y="700"/>
                  </a:cubicBezTo>
                  <a:cubicBezTo>
                    <a:pt x="516" y="728"/>
                    <a:pt x="538" y="757"/>
                    <a:pt x="558" y="786"/>
                  </a:cubicBezTo>
                  <a:cubicBezTo>
                    <a:pt x="564" y="782"/>
                    <a:pt x="570" y="780"/>
                    <a:pt x="575" y="777"/>
                  </a:cubicBezTo>
                  <a:cubicBezTo>
                    <a:pt x="588" y="772"/>
                    <a:pt x="599" y="766"/>
                    <a:pt x="610" y="760"/>
                  </a:cubicBezTo>
                  <a:cubicBezTo>
                    <a:pt x="629" y="748"/>
                    <a:pt x="646" y="736"/>
                    <a:pt x="663" y="722"/>
                  </a:cubicBezTo>
                  <a:cubicBezTo>
                    <a:pt x="649" y="690"/>
                    <a:pt x="634" y="658"/>
                    <a:pt x="619" y="626"/>
                  </a:cubicBezTo>
                  <a:lnTo>
                    <a:pt x="619" y="626"/>
                  </a:lnTo>
                  <a:cubicBezTo>
                    <a:pt x="626" y="618"/>
                    <a:pt x="633" y="611"/>
                    <a:pt x="640" y="603"/>
                  </a:cubicBezTo>
                  <a:cubicBezTo>
                    <a:pt x="649" y="592"/>
                    <a:pt x="658" y="580"/>
                    <a:pt x="665" y="568"/>
                  </a:cubicBezTo>
                  <a:cubicBezTo>
                    <a:pt x="665" y="567"/>
                    <a:pt x="666" y="566"/>
                    <a:pt x="666" y="565"/>
                  </a:cubicBezTo>
                  <a:cubicBezTo>
                    <a:pt x="669" y="561"/>
                    <a:pt x="671" y="556"/>
                    <a:pt x="674" y="552"/>
                  </a:cubicBezTo>
                  <a:cubicBezTo>
                    <a:pt x="709" y="558"/>
                    <a:pt x="744" y="563"/>
                    <a:pt x="779" y="570"/>
                  </a:cubicBezTo>
                  <a:cubicBezTo>
                    <a:pt x="785" y="555"/>
                    <a:pt x="790" y="540"/>
                    <a:pt x="795" y="523"/>
                  </a:cubicBezTo>
                  <a:cubicBezTo>
                    <a:pt x="796" y="520"/>
                    <a:pt x="798" y="516"/>
                    <a:pt x="799" y="511"/>
                  </a:cubicBezTo>
                  <a:cubicBezTo>
                    <a:pt x="800" y="507"/>
                    <a:pt x="800" y="503"/>
                    <a:pt x="803" y="498"/>
                  </a:cubicBezTo>
                  <a:cubicBezTo>
                    <a:pt x="805" y="482"/>
                    <a:pt x="809" y="466"/>
                    <a:pt x="810" y="451"/>
                  </a:cubicBezTo>
                  <a:cubicBezTo>
                    <a:pt x="778" y="437"/>
                    <a:pt x="744" y="426"/>
                    <a:pt x="711" y="413"/>
                  </a:cubicBezTo>
                  <a:lnTo>
                    <a:pt x="711" y="398"/>
                  </a:lnTo>
                  <a:cubicBezTo>
                    <a:pt x="711" y="383"/>
                    <a:pt x="710" y="367"/>
                    <a:pt x="706" y="352"/>
                  </a:cubicBezTo>
                  <a:cubicBezTo>
                    <a:pt x="705" y="341"/>
                    <a:pt x="701" y="330"/>
                    <a:pt x="699" y="318"/>
                  </a:cubicBezTo>
                  <a:cubicBezTo>
                    <a:pt x="728" y="298"/>
                    <a:pt x="756" y="277"/>
                    <a:pt x="784" y="256"/>
                  </a:cubicBezTo>
                  <a:lnTo>
                    <a:pt x="785" y="256"/>
                  </a:lnTo>
                  <a:cubicBezTo>
                    <a:pt x="770" y="218"/>
                    <a:pt x="750" y="183"/>
                    <a:pt x="723" y="151"/>
                  </a:cubicBezTo>
                  <a:lnTo>
                    <a:pt x="723" y="151"/>
                  </a:lnTo>
                  <a:cubicBezTo>
                    <a:pt x="690" y="165"/>
                    <a:pt x="659" y="180"/>
                    <a:pt x="628" y="195"/>
                  </a:cubicBezTo>
                  <a:cubicBezTo>
                    <a:pt x="619" y="186"/>
                    <a:pt x="610" y="177"/>
                    <a:pt x="601" y="170"/>
                  </a:cubicBezTo>
                  <a:cubicBezTo>
                    <a:pt x="590" y="161"/>
                    <a:pt x="579" y="152"/>
                    <a:pt x="566" y="146"/>
                  </a:cubicBezTo>
                  <a:cubicBezTo>
                    <a:pt x="563" y="142"/>
                    <a:pt x="557" y="140"/>
                    <a:pt x="554" y="137"/>
                  </a:cubicBezTo>
                  <a:cubicBezTo>
                    <a:pt x="559" y="102"/>
                    <a:pt x="565" y="67"/>
                    <a:pt x="570" y="32"/>
                  </a:cubicBezTo>
                  <a:cubicBezTo>
                    <a:pt x="555" y="26"/>
                    <a:pt x="539" y="20"/>
                    <a:pt x="523" y="15"/>
                  </a:cubicBezTo>
                  <a:cubicBezTo>
                    <a:pt x="519" y="13"/>
                    <a:pt x="514" y="12"/>
                    <a:pt x="510" y="12"/>
                  </a:cubicBezTo>
                  <a:close/>
                  <a:moveTo>
                    <a:pt x="278" y="480"/>
                  </a:moveTo>
                  <a:cubicBezTo>
                    <a:pt x="256" y="443"/>
                    <a:pt x="251" y="406"/>
                    <a:pt x="263" y="366"/>
                  </a:cubicBezTo>
                  <a:cubicBezTo>
                    <a:pt x="273" y="326"/>
                    <a:pt x="296" y="296"/>
                    <a:pt x="333" y="275"/>
                  </a:cubicBezTo>
                  <a:cubicBezTo>
                    <a:pt x="368" y="255"/>
                    <a:pt x="406" y="250"/>
                    <a:pt x="445" y="260"/>
                  </a:cubicBezTo>
                  <a:cubicBezTo>
                    <a:pt x="485" y="271"/>
                    <a:pt x="516" y="293"/>
                    <a:pt x="536" y="330"/>
                  </a:cubicBezTo>
                  <a:cubicBezTo>
                    <a:pt x="558" y="366"/>
                    <a:pt x="563" y="403"/>
                    <a:pt x="551" y="443"/>
                  </a:cubicBezTo>
                  <a:cubicBezTo>
                    <a:pt x="541" y="483"/>
                    <a:pt x="518" y="513"/>
                    <a:pt x="483" y="533"/>
                  </a:cubicBezTo>
                  <a:cubicBezTo>
                    <a:pt x="445" y="555"/>
                    <a:pt x="408" y="559"/>
                    <a:pt x="369" y="548"/>
                  </a:cubicBezTo>
                  <a:cubicBezTo>
                    <a:pt x="329" y="538"/>
                    <a:pt x="298" y="515"/>
                    <a:pt x="278" y="48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87" name="POWER_USER_ID_ICONS_Gears"/>
            <p:cNvSpPr>
              <a:spLocks noEditPoints="1"/>
            </p:cNvSpPr>
            <p:nvPr>
              <p:custDataLst>
                <p:tags r:id="rId21"/>
              </p:custDataLst>
            </p:nvPr>
          </p:nvSpPr>
          <p:spPr bwMode="auto">
            <a:xfrm>
              <a:off x="115" y="273"/>
              <a:ext cx="104" cy="104"/>
            </a:xfrm>
            <a:custGeom>
              <a:avLst/>
              <a:gdLst>
                <a:gd name="T0" fmla="*/ 10 w 266"/>
                <a:gd name="T1" fmla="*/ 101 h 266"/>
                <a:gd name="T2" fmla="*/ 21 w 266"/>
                <a:gd name="T3" fmla="*/ 197 h 266"/>
                <a:gd name="T4" fmla="*/ 23 w 266"/>
                <a:gd name="T5" fmla="*/ 197 h 266"/>
                <a:gd name="T6" fmla="*/ 100 w 266"/>
                <a:gd name="T7" fmla="*/ 257 h 266"/>
                <a:gd name="T8" fmla="*/ 197 w 266"/>
                <a:gd name="T9" fmla="*/ 245 h 266"/>
                <a:gd name="T10" fmla="*/ 197 w 266"/>
                <a:gd name="T11" fmla="*/ 245 h 266"/>
                <a:gd name="T12" fmla="*/ 257 w 266"/>
                <a:gd name="T13" fmla="*/ 167 h 266"/>
                <a:gd name="T14" fmla="*/ 257 w 266"/>
                <a:gd name="T15" fmla="*/ 166 h 266"/>
                <a:gd name="T16" fmla="*/ 244 w 266"/>
                <a:gd name="T17" fmla="*/ 70 h 266"/>
                <a:gd name="T18" fmla="*/ 166 w 266"/>
                <a:gd name="T19" fmla="*/ 10 h 266"/>
                <a:gd name="T20" fmla="*/ 69 w 266"/>
                <a:gd name="T21" fmla="*/ 22 h 266"/>
                <a:gd name="T22" fmla="*/ 10 w 266"/>
                <a:gd name="T23" fmla="*/ 101 h 266"/>
                <a:gd name="T24" fmla="*/ 85 w 266"/>
                <a:gd name="T25" fmla="*/ 51 h 266"/>
                <a:gd name="T26" fmla="*/ 158 w 266"/>
                <a:gd name="T27" fmla="*/ 41 h 266"/>
                <a:gd name="T28" fmla="*/ 216 w 266"/>
                <a:gd name="T29" fmla="*/ 86 h 266"/>
                <a:gd name="T30" fmla="*/ 226 w 266"/>
                <a:gd name="T31" fmla="*/ 159 h 266"/>
                <a:gd name="T32" fmla="*/ 181 w 266"/>
                <a:gd name="T33" fmla="*/ 216 h 266"/>
                <a:gd name="T34" fmla="*/ 181 w 266"/>
                <a:gd name="T35" fmla="*/ 217 h 266"/>
                <a:gd name="T36" fmla="*/ 109 w 266"/>
                <a:gd name="T37" fmla="*/ 226 h 266"/>
                <a:gd name="T38" fmla="*/ 50 w 266"/>
                <a:gd name="T39" fmla="*/ 181 h 266"/>
                <a:gd name="T40" fmla="*/ 40 w 266"/>
                <a:gd name="T41" fmla="*/ 109 h 266"/>
                <a:gd name="T42" fmla="*/ 85 w 266"/>
                <a:gd name="T43" fmla="*/ 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6" h="266">
                  <a:moveTo>
                    <a:pt x="10" y="101"/>
                  </a:moveTo>
                  <a:cubicBezTo>
                    <a:pt x="0" y="135"/>
                    <a:pt x="4" y="167"/>
                    <a:pt x="21" y="197"/>
                  </a:cubicBezTo>
                  <a:lnTo>
                    <a:pt x="23" y="197"/>
                  </a:lnTo>
                  <a:cubicBezTo>
                    <a:pt x="40" y="228"/>
                    <a:pt x="66" y="247"/>
                    <a:pt x="100" y="257"/>
                  </a:cubicBezTo>
                  <a:cubicBezTo>
                    <a:pt x="134" y="266"/>
                    <a:pt x="166" y="262"/>
                    <a:pt x="197" y="245"/>
                  </a:cubicBezTo>
                  <a:lnTo>
                    <a:pt x="197" y="245"/>
                  </a:lnTo>
                  <a:cubicBezTo>
                    <a:pt x="229" y="226"/>
                    <a:pt x="248" y="201"/>
                    <a:pt x="257" y="167"/>
                  </a:cubicBezTo>
                  <a:lnTo>
                    <a:pt x="257" y="166"/>
                  </a:lnTo>
                  <a:cubicBezTo>
                    <a:pt x="266" y="132"/>
                    <a:pt x="261" y="100"/>
                    <a:pt x="244" y="70"/>
                  </a:cubicBezTo>
                  <a:cubicBezTo>
                    <a:pt x="226" y="38"/>
                    <a:pt x="200" y="18"/>
                    <a:pt x="166" y="10"/>
                  </a:cubicBezTo>
                  <a:cubicBezTo>
                    <a:pt x="132" y="0"/>
                    <a:pt x="99" y="5"/>
                    <a:pt x="69" y="22"/>
                  </a:cubicBezTo>
                  <a:cubicBezTo>
                    <a:pt x="38" y="40"/>
                    <a:pt x="19" y="66"/>
                    <a:pt x="10" y="101"/>
                  </a:cubicBezTo>
                  <a:close/>
                  <a:moveTo>
                    <a:pt x="85" y="51"/>
                  </a:moveTo>
                  <a:cubicBezTo>
                    <a:pt x="109" y="37"/>
                    <a:pt x="133" y="34"/>
                    <a:pt x="158" y="41"/>
                  </a:cubicBezTo>
                  <a:cubicBezTo>
                    <a:pt x="183" y="47"/>
                    <a:pt x="203" y="62"/>
                    <a:pt x="216" y="86"/>
                  </a:cubicBezTo>
                  <a:cubicBezTo>
                    <a:pt x="230" y="109"/>
                    <a:pt x="233" y="134"/>
                    <a:pt x="226" y="159"/>
                  </a:cubicBezTo>
                  <a:cubicBezTo>
                    <a:pt x="219" y="184"/>
                    <a:pt x="204" y="203"/>
                    <a:pt x="181" y="216"/>
                  </a:cubicBezTo>
                  <a:lnTo>
                    <a:pt x="181" y="217"/>
                  </a:lnTo>
                  <a:cubicBezTo>
                    <a:pt x="158" y="230"/>
                    <a:pt x="134" y="233"/>
                    <a:pt x="109" y="226"/>
                  </a:cubicBezTo>
                  <a:cubicBezTo>
                    <a:pt x="83" y="220"/>
                    <a:pt x="64" y="205"/>
                    <a:pt x="50" y="181"/>
                  </a:cubicBezTo>
                  <a:cubicBezTo>
                    <a:pt x="38" y="159"/>
                    <a:pt x="34" y="135"/>
                    <a:pt x="40" y="109"/>
                  </a:cubicBezTo>
                  <a:cubicBezTo>
                    <a:pt x="48" y="84"/>
                    <a:pt x="63" y="65"/>
                    <a:pt x="85" y="51"/>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grpSp>
        <p:nvGrpSpPr>
          <p:cNvPr id="88" name="POWER_USER_ID_ICONS_Laptop"/>
          <p:cNvGrpSpPr>
            <a:grpSpLocks noChangeAspect="1"/>
          </p:cNvGrpSpPr>
          <p:nvPr>
            <p:custDataLst>
              <p:tags r:id="rId4"/>
            </p:custDataLst>
          </p:nvPr>
        </p:nvGrpSpPr>
        <p:grpSpPr bwMode="auto">
          <a:xfrm>
            <a:off x="4689830" y="2251162"/>
            <a:ext cx="1096492" cy="807552"/>
            <a:chOff x="24" y="83"/>
            <a:chExt cx="444" cy="327"/>
          </a:xfrm>
          <a:solidFill>
            <a:srgbClr val="C00000"/>
          </a:solidFill>
        </p:grpSpPr>
        <p:sp>
          <p:nvSpPr>
            <p:cNvPr id="89" name="POWER_USER_ID_ICONS_Laptop"/>
            <p:cNvSpPr>
              <a:spLocks noEditPoints="1"/>
            </p:cNvSpPr>
            <p:nvPr>
              <p:custDataLst>
                <p:tags r:id="rId11"/>
              </p:custDataLst>
            </p:nvPr>
          </p:nvSpPr>
          <p:spPr bwMode="auto">
            <a:xfrm>
              <a:off x="36" y="83"/>
              <a:ext cx="420" cy="291"/>
            </a:xfrm>
            <a:custGeom>
              <a:avLst/>
              <a:gdLst>
                <a:gd name="T0" fmla="*/ 931 w 996"/>
                <a:gd name="T1" fmla="*/ 0 h 689"/>
                <a:gd name="T2" fmla="*/ 64 w 996"/>
                <a:gd name="T3" fmla="*/ 0 h 689"/>
                <a:gd name="T4" fmla="*/ 0 w 996"/>
                <a:gd name="T5" fmla="*/ 64 h 689"/>
                <a:gd name="T6" fmla="*/ 0 w 996"/>
                <a:gd name="T7" fmla="*/ 627 h 689"/>
                <a:gd name="T8" fmla="*/ 44 w 996"/>
                <a:gd name="T9" fmla="*/ 687 h 689"/>
                <a:gd name="T10" fmla="*/ 81 w 996"/>
                <a:gd name="T11" fmla="*/ 656 h 689"/>
                <a:gd name="T12" fmla="*/ 131 w 996"/>
                <a:gd name="T13" fmla="*/ 656 h 689"/>
                <a:gd name="T14" fmla="*/ 170 w 996"/>
                <a:gd name="T15" fmla="*/ 689 h 689"/>
                <a:gd name="T16" fmla="*/ 171 w 996"/>
                <a:gd name="T17" fmla="*/ 689 h 689"/>
                <a:gd name="T18" fmla="*/ 210 w 996"/>
                <a:gd name="T19" fmla="*/ 656 h 689"/>
                <a:gd name="T20" fmla="*/ 260 w 996"/>
                <a:gd name="T21" fmla="*/ 656 h 689"/>
                <a:gd name="T22" fmla="*/ 299 w 996"/>
                <a:gd name="T23" fmla="*/ 689 h 689"/>
                <a:gd name="T24" fmla="*/ 311 w 996"/>
                <a:gd name="T25" fmla="*/ 689 h 689"/>
                <a:gd name="T26" fmla="*/ 353 w 996"/>
                <a:gd name="T27" fmla="*/ 656 h 689"/>
                <a:gd name="T28" fmla="*/ 645 w 996"/>
                <a:gd name="T29" fmla="*/ 656 h 689"/>
                <a:gd name="T30" fmla="*/ 686 w 996"/>
                <a:gd name="T31" fmla="*/ 689 h 689"/>
                <a:gd name="T32" fmla="*/ 699 w 996"/>
                <a:gd name="T33" fmla="*/ 689 h 689"/>
                <a:gd name="T34" fmla="*/ 738 w 996"/>
                <a:gd name="T35" fmla="*/ 656 h 689"/>
                <a:gd name="T36" fmla="*/ 788 w 996"/>
                <a:gd name="T37" fmla="*/ 656 h 689"/>
                <a:gd name="T38" fmla="*/ 826 w 996"/>
                <a:gd name="T39" fmla="*/ 689 h 689"/>
                <a:gd name="T40" fmla="*/ 823 w 996"/>
                <a:gd name="T41" fmla="*/ 689 h 689"/>
                <a:gd name="T42" fmla="*/ 861 w 996"/>
                <a:gd name="T43" fmla="*/ 656 h 689"/>
                <a:gd name="T44" fmla="*/ 911 w 996"/>
                <a:gd name="T45" fmla="*/ 656 h 689"/>
                <a:gd name="T46" fmla="*/ 949 w 996"/>
                <a:gd name="T47" fmla="*/ 688 h 689"/>
                <a:gd name="T48" fmla="*/ 996 w 996"/>
                <a:gd name="T49" fmla="*/ 626 h 689"/>
                <a:gd name="T50" fmla="*/ 996 w 996"/>
                <a:gd name="T51" fmla="*/ 64 h 689"/>
                <a:gd name="T52" fmla="*/ 931 w 996"/>
                <a:gd name="T53" fmla="*/ 0 h 689"/>
                <a:gd name="T54" fmla="*/ 945 w 996"/>
                <a:gd name="T55" fmla="*/ 613 h 689"/>
                <a:gd name="T56" fmla="*/ 924 w 996"/>
                <a:gd name="T57" fmla="*/ 634 h 689"/>
                <a:gd name="T58" fmla="*/ 71 w 996"/>
                <a:gd name="T59" fmla="*/ 634 h 689"/>
                <a:gd name="T60" fmla="*/ 50 w 996"/>
                <a:gd name="T61" fmla="*/ 613 h 689"/>
                <a:gd name="T62" fmla="*/ 50 w 996"/>
                <a:gd name="T63" fmla="*/ 78 h 689"/>
                <a:gd name="T64" fmla="*/ 71 w 996"/>
                <a:gd name="T65" fmla="*/ 57 h 689"/>
                <a:gd name="T66" fmla="*/ 924 w 996"/>
                <a:gd name="T67" fmla="*/ 57 h 689"/>
                <a:gd name="T68" fmla="*/ 945 w 996"/>
                <a:gd name="T69" fmla="*/ 78 h 689"/>
                <a:gd name="T70" fmla="*/ 945 w 996"/>
                <a:gd name="T71" fmla="*/ 613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6" h="689">
                  <a:moveTo>
                    <a:pt x="931" y="0"/>
                  </a:moveTo>
                  <a:lnTo>
                    <a:pt x="64" y="0"/>
                  </a:lnTo>
                  <a:cubicBezTo>
                    <a:pt x="29" y="0"/>
                    <a:pt x="0" y="29"/>
                    <a:pt x="0" y="64"/>
                  </a:cubicBezTo>
                  <a:lnTo>
                    <a:pt x="0" y="627"/>
                  </a:lnTo>
                  <a:cubicBezTo>
                    <a:pt x="0" y="655"/>
                    <a:pt x="19" y="679"/>
                    <a:pt x="44" y="687"/>
                  </a:cubicBezTo>
                  <a:cubicBezTo>
                    <a:pt x="48" y="669"/>
                    <a:pt x="63" y="656"/>
                    <a:pt x="81" y="656"/>
                  </a:cubicBezTo>
                  <a:lnTo>
                    <a:pt x="131" y="656"/>
                  </a:lnTo>
                  <a:cubicBezTo>
                    <a:pt x="150" y="656"/>
                    <a:pt x="166" y="670"/>
                    <a:pt x="170" y="689"/>
                  </a:cubicBezTo>
                  <a:lnTo>
                    <a:pt x="171" y="689"/>
                  </a:lnTo>
                  <a:cubicBezTo>
                    <a:pt x="174" y="670"/>
                    <a:pt x="190" y="656"/>
                    <a:pt x="210" y="656"/>
                  </a:cubicBezTo>
                  <a:lnTo>
                    <a:pt x="260" y="656"/>
                  </a:lnTo>
                  <a:cubicBezTo>
                    <a:pt x="279" y="656"/>
                    <a:pt x="295" y="670"/>
                    <a:pt x="299" y="689"/>
                  </a:cubicBezTo>
                  <a:lnTo>
                    <a:pt x="311" y="689"/>
                  </a:lnTo>
                  <a:cubicBezTo>
                    <a:pt x="315" y="670"/>
                    <a:pt x="333" y="656"/>
                    <a:pt x="353" y="656"/>
                  </a:cubicBezTo>
                  <a:lnTo>
                    <a:pt x="645" y="656"/>
                  </a:lnTo>
                  <a:cubicBezTo>
                    <a:pt x="665" y="656"/>
                    <a:pt x="683" y="670"/>
                    <a:pt x="686" y="689"/>
                  </a:cubicBezTo>
                  <a:lnTo>
                    <a:pt x="699" y="689"/>
                  </a:lnTo>
                  <a:cubicBezTo>
                    <a:pt x="701" y="670"/>
                    <a:pt x="718" y="656"/>
                    <a:pt x="738" y="656"/>
                  </a:cubicBezTo>
                  <a:lnTo>
                    <a:pt x="788" y="656"/>
                  </a:lnTo>
                  <a:cubicBezTo>
                    <a:pt x="806" y="656"/>
                    <a:pt x="823" y="670"/>
                    <a:pt x="826" y="689"/>
                  </a:cubicBezTo>
                  <a:lnTo>
                    <a:pt x="823" y="689"/>
                  </a:lnTo>
                  <a:cubicBezTo>
                    <a:pt x="825" y="670"/>
                    <a:pt x="841" y="656"/>
                    <a:pt x="861" y="656"/>
                  </a:cubicBezTo>
                  <a:lnTo>
                    <a:pt x="911" y="656"/>
                  </a:lnTo>
                  <a:cubicBezTo>
                    <a:pt x="930" y="656"/>
                    <a:pt x="945" y="670"/>
                    <a:pt x="949" y="688"/>
                  </a:cubicBezTo>
                  <a:cubicBezTo>
                    <a:pt x="976" y="680"/>
                    <a:pt x="996" y="656"/>
                    <a:pt x="996" y="626"/>
                  </a:cubicBezTo>
                  <a:lnTo>
                    <a:pt x="996" y="64"/>
                  </a:lnTo>
                  <a:cubicBezTo>
                    <a:pt x="995" y="29"/>
                    <a:pt x="966" y="0"/>
                    <a:pt x="931" y="0"/>
                  </a:cubicBezTo>
                  <a:close/>
                  <a:moveTo>
                    <a:pt x="945" y="613"/>
                  </a:moveTo>
                  <a:cubicBezTo>
                    <a:pt x="945" y="624"/>
                    <a:pt x="935" y="634"/>
                    <a:pt x="924" y="634"/>
                  </a:cubicBezTo>
                  <a:lnTo>
                    <a:pt x="71" y="634"/>
                  </a:lnTo>
                  <a:cubicBezTo>
                    <a:pt x="60" y="634"/>
                    <a:pt x="50" y="624"/>
                    <a:pt x="50" y="613"/>
                  </a:cubicBezTo>
                  <a:lnTo>
                    <a:pt x="50" y="78"/>
                  </a:lnTo>
                  <a:cubicBezTo>
                    <a:pt x="50" y="67"/>
                    <a:pt x="60" y="57"/>
                    <a:pt x="71" y="57"/>
                  </a:cubicBezTo>
                  <a:lnTo>
                    <a:pt x="924" y="57"/>
                  </a:lnTo>
                  <a:cubicBezTo>
                    <a:pt x="935" y="57"/>
                    <a:pt x="945" y="67"/>
                    <a:pt x="945" y="78"/>
                  </a:cubicBezTo>
                  <a:lnTo>
                    <a:pt x="945" y="613"/>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0" name="POWER_USER_ID_ICONS_Laptop"/>
            <p:cNvSpPr>
              <a:spLocks/>
            </p:cNvSpPr>
            <p:nvPr>
              <p:custDataLst>
                <p:tags r:id="rId12"/>
              </p:custDataLst>
            </p:nvPr>
          </p:nvSpPr>
          <p:spPr bwMode="auto">
            <a:xfrm>
              <a:off x="24" y="382"/>
              <a:ext cx="444" cy="28"/>
            </a:xfrm>
            <a:custGeom>
              <a:avLst/>
              <a:gdLst>
                <a:gd name="T0" fmla="*/ 1051 w 1052"/>
                <a:gd name="T1" fmla="*/ 26 h 65"/>
                <a:gd name="T2" fmla="*/ 1024 w 1052"/>
                <a:gd name="T3" fmla="*/ 0 h 65"/>
                <a:gd name="T4" fmla="*/ 27 w 1052"/>
                <a:gd name="T5" fmla="*/ 0 h 65"/>
                <a:gd name="T6" fmla="*/ 0 w 1052"/>
                <a:gd name="T7" fmla="*/ 26 h 65"/>
                <a:gd name="T8" fmla="*/ 0 w 1052"/>
                <a:gd name="T9" fmla="*/ 39 h 65"/>
                <a:gd name="T10" fmla="*/ 27 w 1052"/>
                <a:gd name="T11" fmla="*/ 65 h 65"/>
                <a:gd name="T12" fmla="*/ 1026 w 1052"/>
                <a:gd name="T13" fmla="*/ 65 h 65"/>
                <a:gd name="T14" fmla="*/ 1052 w 1052"/>
                <a:gd name="T15" fmla="*/ 39 h 65"/>
                <a:gd name="T16" fmla="*/ 1052 w 1052"/>
                <a:gd name="T17" fmla="*/ 26 h 65"/>
                <a:gd name="T18" fmla="*/ 1051 w 1052"/>
                <a:gd name="T19" fmla="*/ 2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5">
                  <a:moveTo>
                    <a:pt x="1051" y="26"/>
                  </a:moveTo>
                  <a:cubicBezTo>
                    <a:pt x="1051" y="12"/>
                    <a:pt x="1039" y="0"/>
                    <a:pt x="1024" y="0"/>
                  </a:cubicBezTo>
                  <a:lnTo>
                    <a:pt x="27" y="0"/>
                  </a:lnTo>
                  <a:cubicBezTo>
                    <a:pt x="13" y="0"/>
                    <a:pt x="0" y="11"/>
                    <a:pt x="0" y="26"/>
                  </a:cubicBezTo>
                  <a:lnTo>
                    <a:pt x="0" y="39"/>
                  </a:lnTo>
                  <a:cubicBezTo>
                    <a:pt x="0" y="52"/>
                    <a:pt x="12" y="65"/>
                    <a:pt x="27" y="65"/>
                  </a:cubicBezTo>
                  <a:lnTo>
                    <a:pt x="1026" y="65"/>
                  </a:lnTo>
                  <a:cubicBezTo>
                    <a:pt x="1039" y="65"/>
                    <a:pt x="1052" y="53"/>
                    <a:pt x="1052" y="39"/>
                  </a:cubicBezTo>
                  <a:lnTo>
                    <a:pt x="1052" y="26"/>
                  </a:lnTo>
                  <a:lnTo>
                    <a:pt x="1051" y="26"/>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1" name="POWER_USER_ID_ICONS_Laptop"/>
            <p:cNvSpPr>
              <a:spLocks/>
            </p:cNvSpPr>
            <p:nvPr>
              <p:custDataLst>
                <p:tags r:id="rId13"/>
              </p:custDataLst>
            </p:nvPr>
          </p:nvSpPr>
          <p:spPr bwMode="auto">
            <a:xfrm>
              <a:off x="173" y="368"/>
              <a:ext cx="145" cy="10"/>
            </a:xfrm>
            <a:custGeom>
              <a:avLst/>
              <a:gdLst>
                <a:gd name="T0" fmla="*/ 316 w 343"/>
                <a:gd name="T1" fmla="*/ 0 h 24"/>
                <a:gd name="T2" fmla="*/ 25 w 343"/>
                <a:gd name="T3" fmla="*/ 0 h 24"/>
                <a:gd name="T4" fmla="*/ 0 w 343"/>
                <a:gd name="T5" fmla="*/ 24 h 24"/>
                <a:gd name="T6" fmla="*/ 343 w 343"/>
                <a:gd name="T7" fmla="*/ 24 h 24"/>
                <a:gd name="T8" fmla="*/ 316 w 343"/>
                <a:gd name="T9" fmla="*/ 0 h 24"/>
              </a:gdLst>
              <a:ahLst/>
              <a:cxnLst>
                <a:cxn ang="0">
                  <a:pos x="T0" y="T1"/>
                </a:cxn>
                <a:cxn ang="0">
                  <a:pos x="T2" y="T3"/>
                </a:cxn>
                <a:cxn ang="0">
                  <a:pos x="T4" y="T5"/>
                </a:cxn>
                <a:cxn ang="0">
                  <a:pos x="T6" y="T7"/>
                </a:cxn>
                <a:cxn ang="0">
                  <a:pos x="T8" y="T9"/>
                </a:cxn>
              </a:cxnLst>
              <a:rect l="0" t="0" r="r" b="b"/>
              <a:pathLst>
                <a:path w="343" h="24">
                  <a:moveTo>
                    <a:pt x="316" y="0"/>
                  </a:moveTo>
                  <a:lnTo>
                    <a:pt x="25" y="0"/>
                  </a:lnTo>
                  <a:cubicBezTo>
                    <a:pt x="11" y="0"/>
                    <a:pt x="1" y="10"/>
                    <a:pt x="0" y="24"/>
                  </a:cubicBezTo>
                  <a:lnTo>
                    <a:pt x="343" y="24"/>
                  </a:lnTo>
                  <a:cubicBezTo>
                    <a:pt x="341" y="10"/>
                    <a:pt x="330" y="0"/>
                    <a:pt x="316"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2" name="POWER_USER_ID_ICONS_Laptop"/>
            <p:cNvSpPr>
              <a:spLocks/>
            </p:cNvSpPr>
            <p:nvPr>
              <p:custDataLst>
                <p:tags r:id="rId14"/>
              </p:custDataLst>
            </p:nvPr>
          </p:nvSpPr>
          <p:spPr bwMode="auto">
            <a:xfrm>
              <a:off x="336" y="368"/>
              <a:ext cx="40" cy="10"/>
            </a:xfrm>
            <a:custGeom>
              <a:avLst/>
              <a:gdLst>
                <a:gd name="T0" fmla="*/ 72 w 94"/>
                <a:gd name="T1" fmla="*/ 0 h 23"/>
                <a:gd name="T2" fmla="*/ 22 w 94"/>
                <a:gd name="T3" fmla="*/ 0 h 23"/>
                <a:gd name="T4" fmla="*/ 0 w 94"/>
                <a:gd name="T5" fmla="*/ 21 h 23"/>
                <a:gd name="T6" fmla="*/ 0 w 94"/>
                <a:gd name="T7" fmla="*/ 23 h 23"/>
                <a:gd name="T8" fmla="*/ 93 w 94"/>
                <a:gd name="T9" fmla="*/ 23 h 23"/>
                <a:gd name="T10" fmla="*/ 93 w 94"/>
                <a:gd name="T11" fmla="*/ 21 h 23"/>
                <a:gd name="T12" fmla="*/ 72 w 9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94" h="23">
                  <a:moveTo>
                    <a:pt x="72" y="0"/>
                  </a:moveTo>
                  <a:lnTo>
                    <a:pt x="22" y="0"/>
                  </a:lnTo>
                  <a:cubicBezTo>
                    <a:pt x="9" y="0"/>
                    <a:pt x="0" y="10"/>
                    <a:pt x="0" y="21"/>
                  </a:cubicBezTo>
                  <a:lnTo>
                    <a:pt x="0" y="23"/>
                  </a:lnTo>
                  <a:lnTo>
                    <a:pt x="93" y="23"/>
                  </a:lnTo>
                  <a:lnTo>
                    <a:pt x="93" y="21"/>
                  </a:lnTo>
                  <a:cubicBezTo>
                    <a:pt x="94" y="10"/>
                    <a:pt x="84" y="0"/>
                    <a:pt x="72"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3" name="POWER_USER_ID_ICONS_Laptop"/>
            <p:cNvSpPr>
              <a:spLocks/>
            </p:cNvSpPr>
            <p:nvPr>
              <p:custDataLst>
                <p:tags r:id="rId15"/>
              </p:custDataLst>
            </p:nvPr>
          </p:nvSpPr>
          <p:spPr bwMode="auto">
            <a:xfrm>
              <a:off x="390" y="368"/>
              <a:ext cx="39" cy="10"/>
            </a:xfrm>
            <a:custGeom>
              <a:avLst/>
              <a:gdLst>
                <a:gd name="T0" fmla="*/ 92 w 92"/>
                <a:gd name="T1" fmla="*/ 21 h 23"/>
                <a:gd name="T2" fmla="*/ 71 w 92"/>
                <a:gd name="T3" fmla="*/ 0 h 23"/>
                <a:gd name="T4" fmla="*/ 21 w 92"/>
                <a:gd name="T5" fmla="*/ 0 h 23"/>
                <a:gd name="T6" fmla="*/ 0 w 92"/>
                <a:gd name="T7" fmla="*/ 21 h 23"/>
                <a:gd name="T8" fmla="*/ 0 w 92"/>
                <a:gd name="T9" fmla="*/ 23 h 23"/>
                <a:gd name="T10" fmla="*/ 92 w 92"/>
                <a:gd name="T11" fmla="*/ 23 h 23"/>
                <a:gd name="T12" fmla="*/ 92 w 92"/>
                <a:gd name="T13" fmla="*/ 21 h 23"/>
              </a:gdLst>
              <a:ahLst/>
              <a:cxnLst>
                <a:cxn ang="0">
                  <a:pos x="T0" y="T1"/>
                </a:cxn>
                <a:cxn ang="0">
                  <a:pos x="T2" y="T3"/>
                </a:cxn>
                <a:cxn ang="0">
                  <a:pos x="T4" y="T5"/>
                </a:cxn>
                <a:cxn ang="0">
                  <a:pos x="T6" y="T7"/>
                </a:cxn>
                <a:cxn ang="0">
                  <a:pos x="T8" y="T9"/>
                </a:cxn>
                <a:cxn ang="0">
                  <a:pos x="T10" y="T11"/>
                </a:cxn>
                <a:cxn ang="0">
                  <a:pos x="T12" y="T13"/>
                </a:cxn>
              </a:cxnLst>
              <a:rect l="0" t="0" r="r" b="b"/>
              <a:pathLst>
                <a:path w="92" h="23">
                  <a:moveTo>
                    <a:pt x="92" y="21"/>
                  </a:moveTo>
                  <a:cubicBezTo>
                    <a:pt x="92" y="9"/>
                    <a:pt x="82" y="0"/>
                    <a:pt x="71" y="0"/>
                  </a:cubicBezTo>
                  <a:lnTo>
                    <a:pt x="21" y="0"/>
                  </a:lnTo>
                  <a:cubicBezTo>
                    <a:pt x="9" y="0"/>
                    <a:pt x="0" y="10"/>
                    <a:pt x="0" y="21"/>
                  </a:cubicBezTo>
                  <a:lnTo>
                    <a:pt x="0" y="23"/>
                  </a:lnTo>
                  <a:lnTo>
                    <a:pt x="92" y="23"/>
                  </a:lnTo>
                  <a:lnTo>
                    <a:pt x="92" y="21"/>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4" name="POWER_USER_ID_ICONS_Laptop"/>
            <p:cNvSpPr>
              <a:spLocks/>
            </p:cNvSpPr>
            <p:nvPr>
              <p:custDataLst>
                <p:tags r:id="rId16"/>
              </p:custDataLst>
            </p:nvPr>
          </p:nvSpPr>
          <p:spPr bwMode="auto">
            <a:xfrm>
              <a:off x="61" y="368"/>
              <a:ext cx="39" cy="10"/>
            </a:xfrm>
            <a:custGeom>
              <a:avLst/>
              <a:gdLst>
                <a:gd name="T0" fmla="*/ 71 w 92"/>
                <a:gd name="T1" fmla="*/ 0 h 23"/>
                <a:gd name="T2" fmla="*/ 21 w 92"/>
                <a:gd name="T3" fmla="*/ 0 h 23"/>
                <a:gd name="T4" fmla="*/ 0 w 92"/>
                <a:gd name="T5" fmla="*/ 21 h 23"/>
                <a:gd name="T6" fmla="*/ 0 w 92"/>
                <a:gd name="T7" fmla="*/ 23 h 23"/>
                <a:gd name="T8" fmla="*/ 92 w 92"/>
                <a:gd name="T9" fmla="*/ 23 h 23"/>
                <a:gd name="T10" fmla="*/ 92 w 92"/>
                <a:gd name="T11" fmla="*/ 21 h 23"/>
                <a:gd name="T12" fmla="*/ 71 w 9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92" h="23">
                  <a:moveTo>
                    <a:pt x="71" y="0"/>
                  </a:moveTo>
                  <a:lnTo>
                    <a:pt x="21" y="0"/>
                  </a:lnTo>
                  <a:cubicBezTo>
                    <a:pt x="9" y="0"/>
                    <a:pt x="0" y="10"/>
                    <a:pt x="0" y="21"/>
                  </a:cubicBezTo>
                  <a:lnTo>
                    <a:pt x="0" y="23"/>
                  </a:lnTo>
                  <a:lnTo>
                    <a:pt x="92" y="23"/>
                  </a:lnTo>
                  <a:lnTo>
                    <a:pt x="92" y="21"/>
                  </a:lnTo>
                  <a:cubicBezTo>
                    <a:pt x="92" y="10"/>
                    <a:pt x="83" y="0"/>
                    <a:pt x="71"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5" name="POWER_USER_ID_ICONS_Laptop"/>
            <p:cNvSpPr>
              <a:spLocks/>
            </p:cNvSpPr>
            <p:nvPr>
              <p:custDataLst>
                <p:tags r:id="rId17"/>
              </p:custDataLst>
            </p:nvPr>
          </p:nvSpPr>
          <p:spPr bwMode="auto">
            <a:xfrm>
              <a:off x="114" y="368"/>
              <a:ext cx="40" cy="10"/>
            </a:xfrm>
            <a:custGeom>
              <a:avLst/>
              <a:gdLst>
                <a:gd name="T0" fmla="*/ 72 w 94"/>
                <a:gd name="T1" fmla="*/ 0 h 23"/>
                <a:gd name="T2" fmla="*/ 22 w 94"/>
                <a:gd name="T3" fmla="*/ 0 h 23"/>
                <a:gd name="T4" fmla="*/ 0 w 94"/>
                <a:gd name="T5" fmla="*/ 21 h 23"/>
                <a:gd name="T6" fmla="*/ 0 w 94"/>
                <a:gd name="T7" fmla="*/ 23 h 23"/>
                <a:gd name="T8" fmla="*/ 93 w 94"/>
                <a:gd name="T9" fmla="*/ 23 h 23"/>
                <a:gd name="T10" fmla="*/ 93 w 94"/>
                <a:gd name="T11" fmla="*/ 21 h 23"/>
                <a:gd name="T12" fmla="*/ 72 w 9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94" h="23">
                  <a:moveTo>
                    <a:pt x="72" y="0"/>
                  </a:moveTo>
                  <a:lnTo>
                    <a:pt x="22" y="0"/>
                  </a:lnTo>
                  <a:cubicBezTo>
                    <a:pt x="9" y="0"/>
                    <a:pt x="0" y="10"/>
                    <a:pt x="0" y="21"/>
                  </a:cubicBezTo>
                  <a:lnTo>
                    <a:pt x="0" y="23"/>
                  </a:lnTo>
                  <a:lnTo>
                    <a:pt x="93" y="23"/>
                  </a:lnTo>
                  <a:lnTo>
                    <a:pt x="93" y="21"/>
                  </a:lnTo>
                  <a:cubicBezTo>
                    <a:pt x="94" y="10"/>
                    <a:pt x="84" y="0"/>
                    <a:pt x="72"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grpSp>
        <p:nvGrpSpPr>
          <p:cNvPr id="96" name="POWER_USER_ID_ICONS_Main_Office"/>
          <p:cNvGrpSpPr>
            <a:grpSpLocks noChangeAspect="1"/>
          </p:cNvGrpSpPr>
          <p:nvPr>
            <p:custDataLst>
              <p:tags r:id="rId5"/>
            </p:custDataLst>
          </p:nvPr>
        </p:nvGrpSpPr>
        <p:grpSpPr bwMode="auto">
          <a:xfrm flipH="1">
            <a:off x="6633270" y="2328392"/>
            <a:ext cx="819924" cy="707035"/>
            <a:chOff x="8" y="8"/>
            <a:chExt cx="552" cy="476"/>
          </a:xfrm>
          <a:solidFill>
            <a:schemeClr val="accent3">
              <a:lumMod val="75000"/>
            </a:schemeClr>
          </a:solidFill>
        </p:grpSpPr>
        <p:sp>
          <p:nvSpPr>
            <p:cNvPr id="97" name="POWER_USER_ID_ICONS_Main_Office"/>
            <p:cNvSpPr>
              <a:spLocks noEditPoints="1"/>
            </p:cNvSpPr>
            <p:nvPr>
              <p:custDataLst>
                <p:tags r:id="rId8"/>
              </p:custDataLst>
            </p:nvPr>
          </p:nvSpPr>
          <p:spPr bwMode="auto">
            <a:xfrm>
              <a:off x="8" y="254"/>
              <a:ext cx="552" cy="230"/>
            </a:xfrm>
            <a:custGeom>
              <a:avLst/>
              <a:gdLst>
                <a:gd name="T0" fmla="*/ 1181 w 1250"/>
                <a:gd name="T1" fmla="*/ 0 h 520"/>
                <a:gd name="T2" fmla="*/ 69 w 1250"/>
                <a:gd name="T3" fmla="*/ 0 h 520"/>
                <a:gd name="T4" fmla="*/ 0 w 1250"/>
                <a:gd name="T5" fmla="*/ 0 h 520"/>
                <a:gd name="T6" fmla="*/ 0 w 1250"/>
                <a:gd name="T7" fmla="*/ 86 h 520"/>
                <a:gd name="T8" fmla="*/ 69 w 1250"/>
                <a:gd name="T9" fmla="*/ 86 h 520"/>
                <a:gd name="T10" fmla="*/ 69 w 1250"/>
                <a:gd name="T11" fmla="*/ 520 h 520"/>
                <a:gd name="T12" fmla="*/ 1181 w 1250"/>
                <a:gd name="T13" fmla="*/ 520 h 520"/>
                <a:gd name="T14" fmla="*/ 1181 w 1250"/>
                <a:gd name="T15" fmla="*/ 86 h 520"/>
                <a:gd name="T16" fmla="*/ 1250 w 1250"/>
                <a:gd name="T17" fmla="*/ 86 h 520"/>
                <a:gd name="T18" fmla="*/ 1250 w 1250"/>
                <a:gd name="T19" fmla="*/ 0 h 520"/>
                <a:gd name="T20" fmla="*/ 1181 w 1250"/>
                <a:gd name="T21" fmla="*/ 0 h 520"/>
                <a:gd name="T22" fmla="*/ 727 w 1250"/>
                <a:gd name="T23" fmla="*/ 418 h 520"/>
                <a:gd name="T24" fmla="*/ 625 w 1250"/>
                <a:gd name="T25" fmla="*/ 344 h 520"/>
                <a:gd name="T26" fmla="*/ 523 w 1250"/>
                <a:gd name="T27" fmla="*/ 418 h 520"/>
                <a:gd name="T28" fmla="*/ 562 w 1250"/>
                <a:gd name="T29" fmla="*/ 298 h 520"/>
                <a:gd name="T30" fmla="*/ 460 w 1250"/>
                <a:gd name="T31" fmla="*/ 224 h 520"/>
                <a:gd name="T32" fmla="*/ 586 w 1250"/>
                <a:gd name="T33" fmla="*/ 224 h 520"/>
                <a:gd name="T34" fmla="*/ 625 w 1250"/>
                <a:gd name="T35" fmla="*/ 104 h 520"/>
                <a:gd name="T36" fmla="*/ 664 w 1250"/>
                <a:gd name="T37" fmla="*/ 224 h 520"/>
                <a:gd name="T38" fmla="*/ 790 w 1250"/>
                <a:gd name="T39" fmla="*/ 224 h 520"/>
                <a:gd name="T40" fmla="*/ 688 w 1250"/>
                <a:gd name="T41" fmla="*/ 298 h 520"/>
                <a:gd name="T42" fmla="*/ 727 w 1250"/>
                <a:gd name="T43" fmla="*/ 418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0" h="520">
                  <a:moveTo>
                    <a:pt x="1181" y="0"/>
                  </a:moveTo>
                  <a:lnTo>
                    <a:pt x="69" y="0"/>
                  </a:lnTo>
                  <a:lnTo>
                    <a:pt x="0" y="0"/>
                  </a:lnTo>
                  <a:lnTo>
                    <a:pt x="0" y="86"/>
                  </a:lnTo>
                  <a:lnTo>
                    <a:pt x="69" y="86"/>
                  </a:lnTo>
                  <a:lnTo>
                    <a:pt x="69" y="520"/>
                  </a:lnTo>
                  <a:lnTo>
                    <a:pt x="1181" y="520"/>
                  </a:lnTo>
                  <a:lnTo>
                    <a:pt x="1181" y="86"/>
                  </a:lnTo>
                  <a:lnTo>
                    <a:pt x="1250" y="86"/>
                  </a:lnTo>
                  <a:lnTo>
                    <a:pt x="1250" y="0"/>
                  </a:lnTo>
                  <a:lnTo>
                    <a:pt x="1181" y="0"/>
                  </a:lnTo>
                  <a:close/>
                  <a:moveTo>
                    <a:pt x="727" y="418"/>
                  </a:moveTo>
                  <a:lnTo>
                    <a:pt x="625" y="344"/>
                  </a:lnTo>
                  <a:lnTo>
                    <a:pt x="523" y="418"/>
                  </a:lnTo>
                  <a:lnTo>
                    <a:pt x="562" y="298"/>
                  </a:lnTo>
                  <a:lnTo>
                    <a:pt x="460" y="224"/>
                  </a:lnTo>
                  <a:lnTo>
                    <a:pt x="586" y="224"/>
                  </a:lnTo>
                  <a:lnTo>
                    <a:pt x="625" y="104"/>
                  </a:lnTo>
                  <a:lnTo>
                    <a:pt x="664" y="224"/>
                  </a:lnTo>
                  <a:lnTo>
                    <a:pt x="790" y="224"/>
                  </a:lnTo>
                  <a:lnTo>
                    <a:pt x="688" y="298"/>
                  </a:lnTo>
                  <a:lnTo>
                    <a:pt x="727" y="418"/>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8" name="POWER_USER_ID_ICONS_Main_Office"/>
            <p:cNvSpPr>
              <a:spLocks noChangeArrowheads="1"/>
            </p:cNvSpPr>
            <p:nvPr>
              <p:custDataLst>
                <p:tags r:id="rId9"/>
              </p:custDataLst>
            </p:nvPr>
          </p:nvSpPr>
          <p:spPr bwMode="auto">
            <a:xfrm>
              <a:off x="238" y="8"/>
              <a:ext cx="92" cy="92"/>
            </a:xfrm>
            <a:prstGeom prst="ellipse">
              <a:avLst/>
            </a:pr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9" name="POWER_USER_ID_ICONS_Main_Office"/>
            <p:cNvSpPr>
              <a:spLocks/>
            </p:cNvSpPr>
            <p:nvPr>
              <p:custDataLst>
                <p:tags r:id="rId10"/>
              </p:custDataLst>
            </p:nvPr>
          </p:nvSpPr>
          <p:spPr bwMode="auto">
            <a:xfrm>
              <a:off x="169" y="115"/>
              <a:ext cx="230" cy="123"/>
            </a:xfrm>
            <a:custGeom>
              <a:avLst/>
              <a:gdLst>
                <a:gd name="T0" fmla="*/ 399 w 520"/>
                <a:gd name="T1" fmla="*/ 0 h 278"/>
                <a:gd name="T2" fmla="*/ 121 w 520"/>
                <a:gd name="T3" fmla="*/ 0 h 278"/>
                <a:gd name="T4" fmla="*/ 0 w 520"/>
                <a:gd name="T5" fmla="*/ 122 h 278"/>
                <a:gd name="T6" fmla="*/ 0 w 520"/>
                <a:gd name="T7" fmla="*/ 243 h 278"/>
                <a:gd name="T8" fmla="*/ 0 w 520"/>
                <a:gd name="T9" fmla="*/ 278 h 278"/>
                <a:gd name="T10" fmla="*/ 86 w 520"/>
                <a:gd name="T11" fmla="*/ 278 h 278"/>
                <a:gd name="T12" fmla="*/ 86 w 520"/>
                <a:gd name="T13" fmla="*/ 243 h 278"/>
                <a:gd name="T14" fmla="*/ 86 w 520"/>
                <a:gd name="T15" fmla="*/ 139 h 278"/>
                <a:gd name="T16" fmla="*/ 121 w 520"/>
                <a:gd name="T17" fmla="*/ 139 h 278"/>
                <a:gd name="T18" fmla="*/ 121 w 520"/>
                <a:gd name="T19" fmla="*/ 243 h 278"/>
                <a:gd name="T20" fmla="*/ 121 w 520"/>
                <a:gd name="T21" fmla="*/ 278 h 278"/>
                <a:gd name="T22" fmla="*/ 399 w 520"/>
                <a:gd name="T23" fmla="*/ 278 h 278"/>
                <a:gd name="T24" fmla="*/ 399 w 520"/>
                <a:gd name="T25" fmla="*/ 243 h 278"/>
                <a:gd name="T26" fmla="*/ 399 w 520"/>
                <a:gd name="T27" fmla="*/ 139 h 278"/>
                <a:gd name="T28" fmla="*/ 434 w 520"/>
                <a:gd name="T29" fmla="*/ 139 h 278"/>
                <a:gd name="T30" fmla="*/ 434 w 520"/>
                <a:gd name="T31" fmla="*/ 243 h 278"/>
                <a:gd name="T32" fmla="*/ 434 w 520"/>
                <a:gd name="T33" fmla="*/ 278 h 278"/>
                <a:gd name="T34" fmla="*/ 520 w 520"/>
                <a:gd name="T35" fmla="*/ 278 h 278"/>
                <a:gd name="T36" fmla="*/ 520 w 520"/>
                <a:gd name="T37" fmla="*/ 243 h 278"/>
                <a:gd name="T38" fmla="*/ 520 w 520"/>
                <a:gd name="T39" fmla="*/ 122 h 278"/>
                <a:gd name="T40" fmla="*/ 399 w 520"/>
                <a:gd name="T41"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0" h="278">
                  <a:moveTo>
                    <a:pt x="399" y="0"/>
                  </a:moveTo>
                  <a:lnTo>
                    <a:pt x="121" y="0"/>
                  </a:lnTo>
                  <a:cubicBezTo>
                    <a:pt x="34" y="0"/>
                    <a:pt x="0" y="70"/>
                    <a:pt x="0" y="122"/>
                  </a:cubicBezTo>
                  <a:lnTo>
                    <a:pt x="0" y="243"/>
                  </a:lnTo>
                  <a:lnTo>
                    <a:pt x="0" y="278"/>
                  </a:lnTo>
                  <a:lnTo>
                    <a:pt x="86" y="278"/>
                  </a:lnTo>
                  <a:lnTo>
                    <a:pt x="86" y="243"/>
                  </a:lnTo>
                  <a:lnTo>
                    <a:pt x="86" y="139"/>
                  </a:lnTo>
                  <a:lnTo>
                    <a:pt x="121" y="139"/>
                  </a:lnTo>
                  <a:lnTo>
                    <a:pt x="121" y="243"/>
                  </a:lnTo>
                  <a:lnTo>
                    <a:pt x="121" y="278"/>
                  </a:lnTo>
                  <a:lnTo>
                    <a:pt x="399" y="278"/>
                  </a:lnTo>
                  <a:lnTo>
                    <a:pt x="399" y="243"/>
                  </a:lnTo>
                  <a:lnTo>
                    <a:pt x="399" y="139"/>
                  </a:lnTo>
                  <a:lnTo>
                    <a:pt x="434" y="139"/>
                  </a:lnTo>
                  <a:lnTo>
                    <a:pt x="434" y="243"/>
                  </a:lnTo>
                  <a:lnTo>
                    <a:pt x="434" y="278"/>
                  </a:lnTo>
                  <a:lnTo>
                    <a:pt x="520" y="278"/>
                  </a:lnTo>
                  <a:lnTo>
                    <a:pt x="520" y="243"/>
                  </a:lnTo>
                  <a:lnTo>
                    <a:pt x="520" y="122"/>
                  </a:lnTo>
                  <a:cubicBezTo>
                    <a:pt x="520" y="70"/>
                    <a:pt x="486" y="0"/>
                    <a:pt x="399"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sp>
        <p:nvSpPr>
          <p:cNvPr id="100" name="Brain"/>
          <p:cNvSpPr>
            <a:spLocks noChangeAspect="1"/>
          </p:cNvSpPr>
          <p:nvPr>
            <p:custDataLst>
              <p:tags r:id="rId6"/>
            </p:custDataLst>
          </p:nvPr>
        </p:nvSpPr>
        <p:spPr bwMode="auto">
          <a:xfrm>
            <a:off x="8415074" y="2326303"/>
            <a:ext cx="716707" cy="632942"/>
          </a:xfrm>
          <a:custGeom>
            <a:avLst/>
            <a:gdLst>
              <a:gd name="T0" fmla="*/ 1195 w 1250"/>
              <a:gd name="T1" fmla="*/ 671 h 1068"/>
              <a:gd name="T2" fmla="*/ 1074 w 1250"/>
              <a:gd name="T3" fmla="*/ 841 h 1068"/>
              <a:gd name="T4" fmla="*/ 853 w 1250"/>
              <a:gd name="T5" fmla="*/ 1068 h 1068"/>
              <a:gd name="T6" fmla="*/ 922 w 1250"/>
              <a:gd name="T7" fmla="*/ 697 h 1068"/>
              <a:gd name="T8" fmla="*/ 1052 w 1250"/>
              <a:gd name="T9" fmla="*/ 735 h 1068"/>
              <a:gd name="T10" fmla="*/ 1081 w 1250"/>
              <a:gd name="T11" fmla="*/ 743 h 1068"/>
              <a:gd name="T12" fmla="*/ 1089 w 1250"/>
              <a:gd name="T13" fmla="*/ 714 h 1068"/>
              <a:gd name="T14" fmla="*/ 1026 w 1250"/>
              <a:gd name="T15" fmla="*/ 522 h 1068"/>
              <a:gd name="T16" fmla="*/ 1018 w 1250"/>
              <a:gd name="T17" fmla="*/ 466 h 1068"/>
              <a:gd name="T18" fmla="*/ 1129 w 1250"/>
              <a:gd name="T19" fmla="*/ 374 h 1068"/>
              <a:gd name="T20" fmla="*/ 1002 w 1250"/>
              <a:gd name="T21" fmla="*/ 426 h 1068"/>
              <a:gd name="T22" fmla="*/ 892 w 1250"/>
              <a:gd name="T23" fmla="*/ 228 h 1068"/>
              <a:gd name="T24" fmla="*/ 862 w 1250"/>
              <a:gd name="T25" fmla="*/ 198 h 1068"/>
              <a:gd name="T26" fmla="*/ 665 w 1250"/>
              <a:gd name="T27" fmla="*/ 160 h 1068"/>
              <a:gd name="T28" fmla="*/ 622 w 1250"/>
              <a:gd name="T29" fmla="*/ 160 h 1068"/>
              <a:gd name="T30" fmla="*/ 522 w 1250"/>
              <a:gd name="T31" fmla="*/ 239 h 1068"/>
              <a:gd name="T32" fmla="*/ 467 w 1250"/>
              <a:gd name="T33" fmla="*/ 229 h 1068"/>
              <a:gd name="T34" fmla="*/ 379 w 1250"/>
              <a:gd name="T35" fmla="*/ 192 h 1068"/>
              <a:gd name="T36" fmla="*/ 437 w 1250"/>
              <a:gd name="T37" fmla="*/ 262 h 1068"/>
              <a:gd name="T38" fmla="*/ 251 w 1250"/>
              <a:gd name="T39" fmla="*/ 304 h 1068"/>
              <a:gd name="T40" fmla="*/ 238 w 1250"/>
              <a:gd name="T41" fmla="*/ 344 h 1068"/>
              <a:gd name="T42" fmla="*/ 278 w 1250"/>
              <a:gd name="T43" fmla="*/ 408 h 1068"/>
              <a:gd name="T44" fmla="*/ 276 w 1250"/>
              <a:gd name="T45" fmla="*/ 408 h 1068"/>
              <a:gd name="T46" fmla="*/ 135 w 1250"/>
              <a:gd name="T47" fmla="*/ 495 h 1068"/>
              <a:gd name="T48" fmla="*/ 164 w 1250"/>
              <a:gd name="T49" fmla="*/ 496 h 1068"/>
              <a:gd name="T50" fmla="*/ 278 w 1250"/>
              <a:gd name="T51" fmla="*/ 450 h 1068"/>
              <a:gd name="T52" fmla="*/ 278 w 1250"/>
              <a:gd name="T53" fmla="*/ 450 h 1068"/>
              <a:gd name="T54" fmla="*/ 522 w 1250"/>
              <a:gd name="T55" fmla="*/ 281 h 1068"/>
              <a:gd name="T56" fmla="*/ 698 w 1250"/>
              <a:gd name="T57" fmla="*/ 318 h 1068"/>
              <a:gd name="T58" fmla="*/ 621 w 1250"/>
              <a:gd name="T59" fmla="*/ 420 h 1068"/>
              <a:gd name="T60" fmla="*/ 518 w 1250"/>
              <a:gd name="T61" fmla="*/ 473 h 1068"/>
              <a:gd name="T62" fmla="*/ 546 w 1250"/>
              <a:gd name="T63" fmla="*/ 481 h 1068"/>
              <a:gd name="T64" fmla="*/ 654 w 1250"/>
              <a:gd name="T65" fmla="*/ 466 h 1068"/>
              <a:gd name="T66" fmla="*/ 724 w 1250"/>
              <a:gd name="T67" fmla="*/ 591 h 1068"/>
              <a:gd name="T68" fmla="*/ 740 w 1250"/>
              <a:gd name="T69" fmla="*/ 555 h 1068"/>
              <a:gd name="T70" fmla="*/ 695 w 1250"/>
              <a:gd name="T71" fmla="*/ 449 h 1068"/>
              <a:gd name="T72" fmla="*/ 695 w 1250"/>
              <a:gd name="T73" fmla="*/ 445 h 1068"/>
              <a:gd name="T74" fmla="*/ 824 w 1250"/>
              <a:gd name="T75" fmla="*/ 362 h 1068"/>
              <a:gd name="T76" fmla="*/ 825 w 1250"/>
              <a:gd name="T77" fmla="*/ 362 h 1068"/>
              <a:gd name="T78" fmla="*/ 932 w 1250"/>
              <a:gd name="T79" fmla="*/ 514 h 1068"/>
              <a:gd name="T80" fmla="*/ 845 w 1250"/>
              <a:gd name="T81" fmla="*/ 557 h 1068"/>
              <a:gd name="T82" fmla="*/ 932 w 1250"/>
              <a:gd name="T83" fmla="*/ 557 h 1068"/>
              <a:gd name="T84" fmla="*/ 948 w 1250"/>
              <a:gd name="T85" fmla="*/ 623 h 1068"/>
              <a:gd name="T86" fmla="*/ 900 w 1250"/>
              <a:gd name="T87" fmla="*/ 661 h 1068"/>
              <a:gd name="T88" fmla="*/ 810 w 1250"/>
              <a:gd name="T89" fmla="*/ 1068 h 1068"/>
              <a:gd name="T90" fmla="*/ 738 w 1250"/>
              <a:gd name="T91" fmla="*/ 852 h 1068"/>
              <a:gd name="T92" fmla="*/ 542 w 1250"/>
              <a:gd name="T93" fmla="*/ 615 h 1068"/>
              <a:gd name="T94" fmla="*/ 317 w 1250"/>
              <a:gd name="T95" fmla="*/ 615 h 1068"/>
              <a:gd name="T96" fmla="*/ 0 w 1250"/>
              <a:gd name="T97" fmla="*/ 443 h 1068"/>
              <a:gd name="T98" fmla="*/ 321 w 1250"/>
              <a:gd name="T99" fmla="*/ 97 h 1068"/>
              <a:gd name="T100" fmla="*/ 501 w 1250"/>
              <a:gd name="T101" fmla="*/ 10 h 1068"/>
              <a:gd name="T102" fmla="*/ 707 w 1250"/>
              <a:gd name="T103" fmla="*/ 0 h 1068"/>
              <a:gd name="T104" fmla="*/ 890 w 1250"/>
              <a:gd name="T105" fmla="*/ 48 h 1068"/>
              <a:gd name="T106" fmla="*/ 1216 w 1250"/>
              <a:gd name="T107" fmla="*/ 359 h 1068"/>
              <a:gd name="T108" fmla="*/ 1250 w 1250"/>
              <a:gd name="T109" fmla="*/ 533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0" h="1068">
                <a:moveTo>
                  <a:pt x="1250" y="533"/>
                </a:moveTo>
                <a:cubicBezTo>
                  <a:pt x="1250" y="587"/>
                  <a:pt x="1229" y="635"/>
                  <a:pt x="1195" y="671"/>
                </a:cubicBezTo>
                <a:cubicBezTo>
                  <a:pt x="1189" y="747"/>
                  <a:pt x="1141" y="811"/>
                  <a:pt x="1074" y="840"/>
                </a:cubicBezTo>
                <a:lnTo>
                  <a:pt x="1074" y="841"/>
                </a:lnTo>
                <a:cubicBezTo>
                  <a:pt x="992" y="888"/>
                  <a:pt x="943" y="970"/>
                  <a:pt x="928" y="1068"/>
                </a:cubicBezTo>
                <a:lnTo>
                  <a:pt x="853" y="1068"/>
                </a:lnTo>
                <a:lnTo>
                  <a:pt x="853" y="841"/>
                </a:lnTo>
                <a:cubicBezTo>
                  <a:pt x="853" y="770"/>
                  <a:pt x="875" y="725"/>
                  <a:pt x="922" y="697"/>
                </a:cubicBezTo>
                <a:cubicBezTo>
                  <a:pt x="939" y="687"/>
                  <a:pt x="954" y="676"/>
                  <a:pt x="968" y="664"/>
                </a:cubicBezTo>
                <a:cubicBezTo>
                  <a:pt x="1002" y="676"/>
                  <a:pt x="1033" y="700"/>
                  <a:pt x="1052" y="735"/>
                </a:cubicBezTo>
                <a:cubicBezTo>
                  <a:pt x="1056" y="742"/>
                  <a:pt x="1063" y="746"/>
                  <a:pt x="1071" y="746"/>
                </a:cubicBezTo>
                <a:cubicBezTo>
                  <a:pt x="1074" y="746"/>
                  <a:pt x="1078" y="745"/>
                  <a:pt x="1081" y="743"/>
                </a:cubicBezTo>
                <a:cubicBezTo>
                  <a:pt x="1091" y="737"/>
                  <a:pt x="1095" y="724"/>
                  <a:pt x="1089" y="714"/>
                </a:cubicBezTo>
                <a:lnTo>
                  <a:pt x="1089" y="714"/>
                </a:lnTo>
                <a:cubicBezTo>
                  <a:pt x="1067" y="675"/>
                  <a:pt x="1034" y="647"/>
                  <a:pt x="997" y="630"/>
                </a:cubicBezTo>
                <a:cubicBezTo>
                  <a:pt x="1016" y="600"/>
                  <a:pt x="1027" y="565"/>
                  <a:pt x="1026" y="522"/>
                </a:cubicBezTo>
                <a:cubicBezTo>
                  <a:pt x="1026" y="522"/>
                  <a:pt x="1026" y="522"/>
                  <a:pt x="1026" y="522"/>
                </a:cubicBezTo>
                <a:cubicBezTo>
                  <a:pt x="1026" y="502"/>
                  <a:pt x="1024" y="484"/>
                  <a:pt x="1018" y="466"/>
                </a:cubicBezTo>
                <a:cubicBezTo>
                  <a:pt x="1063" y="458"/>
                  <a:pt x="1102" y="435"/>
                  <a:pt x="1130" y="404"/>
                </a:cubicBezTo>
                <a:cubicBezTo>
                  <a:pt x="1138" y="395"/>
                  <a:pt x="1138" y="382"/>
                  <a:pt x="1129" y="374"/>
                </a:cubicBezTo>
                <a:cubicBezTo>
                  <a:pt x="1120" y="366"/>
                  <a:pt x="1107" y="367"/>
                  <a:pt x="1099" y="375"/>
                </a:cubicBezTo>
                <a:cubicBezTo>
                  <a:pt x="1074" y="402"/>
                  <a:pt x="1040" y="421"/>
                  <a:pt x="1002" y="426"/>
                </a:cubicBezTo>
                <a:cubicBezTo>
                  <a:pt x="971" y="369"/>
                  <a:pt x="914" y="328"/>
                  <a:pt x="847" y="321"/>
                </a:cubicBezTo>
                <a:cubicBezTo>
                  <a:pt x="851" y="285"/>
                  <a:pt x="868" y="252"/>
                  <a:pt x="892" y="228"/>
                </a:cubicBezTo>
                <a:cubicBezTo>
                  <a:pt x="900" y="220"/>
                  <a:pt x="900" y="206"/>
                  <a:pt x="892" y="198"/>
                </a:cubicBezTo>
                <a:cubicBezTo>
                  <a:pt x="884" y="190"/>
                  <a:pt x="870" y="190"/>
                  <a:pt x="862" y="198"/>
                </a:cubicBezTo>
                <a:cubicBezTo>
                  <a:pt x="831" y="229"/>
                  <a:pt x="810" y="272"/>
                  <a:pt x="804" y="318"/>
                </a:cubicBezTo>
                <a:cubicBezTo>
                  <a:pt x="725" y="308"/>
                  <a:pt x="665" y="241"/>
                  <a:pt x="665" y="160"/>
                </a:cubicBezTo>
                <a:cubicBezTo>
                  <a:pt x="665" y="148"/>
                  <a:pt x="655" y="139"/>
                  <a:pt x="644" y="139"/>
                </a:cubicBezTo>
                <a:cubicBezTo>
                  <a:pt x="632" y="139"/>
                  <a:pt x="622" y="148"/>
                  <a:pt x="622" y="160"/>
                </a:cubicBezTo>
                <a:cubicBezTo>
                  <a:pt x="622" y="174"/>
                  <a:pt x="624" y="187"/>
                  <a:pt x="626" y="200"/>
                </a:cubicBezTo>
                <a:cubicBezTo>
                  <a:pt x="596" y="226"/>
                  <a:pt x="559" y="239"/>
                  <a:pt x="522" y="239"/>
                </a:cubicBezTo>
                <a:cubicBezTo>
                  <a:pt x="503" y="239"/>
                  <a:pt x="485" y="235"/>
                  <a:pt x="468" y="229"/>
                </a:cubicBezTo>
                <a:cubicBezTo>
                  <a:pt x="468" y="229"/>
                  <a:pt x="467" y="229"/>
                  <a:pt x="467" y="229"/>
                </a:cubicBezTo>
                <a:cubicBezTo>
                  <a:pt x="446" y="221"/>
                  <a:pt x="426" y="209"/>
                  <a:pt x="409" y="192"/>
                </a:cubicBezTo>
                <a:cubicBezTo>
                  <a:pt x="401" y="184"/>
                  <a:pt x="387" y="184"/>
                  <a:pt x="379" y="192"/>
                </a:cubicBezTo>
                <a:cubicBezTo>
                  <a:pt x="371" y="200"/>
                  <a:pt x="371" y="213"/>
                  <a:pt x="379" y="222"/>
                </a:cubicBezTo>
                <a:cubicBezTo>
                  <a:pt x="396" y="239"/>
                  <a:pt x="416" y="253"/>
                  <a:pt x="437" y="262"/>
                </a:cubicBezTo>
                <a:cubicBezTo>
                  <a:pt x="433" y="315"/>
                  <a:pt x="402" y="360"/>
                  <a:pt x="359" y="386"/>
                </a:cubicBezTo>
                <a:cubicBezTo>
                  <a:pt x="335" y="348"/>
                  <a:pt x="297" y="319"/>
                  <a:pt x="251" y="304"/>
                </a:cubicBezTo>
                <a:cubicBezTo>
                  <a:pt x="240" y="300"/>
                  <a:pt x="228" y="307"/>
                  <a:pt x="225" y="318"/>
                </a:cubicBezTo>
                <a:cubicBezTo>
                  <a:pt x="221" y="329"/>
                  <a:pt x="227" y="341"/>
                  <a:pt x="238" y="344"/>
                </a:cubicBezTo>
                <a:cubicBezTo>
                  <a:pt x="272" y="355"/>
                  <a:pt x="300" y="376"/>
                  <a:pt x="319" y="403"/>
                </a:cubicBezTo>
                <a:cubicBezTo>
                  <a:pt x="306" y="406"/>
                  <a:pt x="293" y="408"/>
                  <a:pt x="278" y="408"/>
                </a:cubicBezTo>
                <a:lnTo>
                  <a:pt x="278" y="408"/>
                </a:lnTo>
                <a:lnTo>
                  <a:pt x="276" y="408"/>
                </a:lnTo>
                <a:cubicBezTo>
                  <a:pt x="221" y="408"/>
                  <a:pt x="171" y="430"/>
                  <a:pt x="135" y="465"/>
                </a:cubicBezTo>
                <a:cubicBezTo>
                  <a:pt x="126" y="473"/>
                  <a:pt x="126" y="487"/>
                  <a:pt x="135" y="495"/>
                </a:cubicBezTo>
                <a:cubicBezTo>
                  <a:pt x="139" y="499"/>
                  <a:pt x="144" y="502"/>
                  <a:pt x="150" y="502"/>
                </a:cubicBezTo>
                <a:cubicBezTo>
                  <a:pt x="155" y="502"/>
                  <a:pt x="160" y="500"/>
                  <a:pt x="164" y="496"/>
                </a:cubicBezTo>
                <a:cubicBezTo>
                  <a:pt x="193" y="467"/>
                  <a:pt x="232" y="450"/>
                  <a:pt x="276" y="450"/>
                </a:cubicBezTo>
                <a:lnTo>
                  <a:pt x="278" y="450"/>
                </a:lnTo>
                <a:lnTo>
                  <a:pt x="278" y="450"/>
                </a:lnTo>
                <a:lnTo>
                  <a:pt x="278" y="450"/>
                </a:lnTo>
                <a:cubicBezTo>
                  <a:pt x="380" y="450"/>
                  <a:pt x="465" y="375"/>
                  <a:pt x="478" y="276"/>
                </a:cubicBezTo>
                <a:cubicBezTo>
                  <a:pt x="493" y="279"/>
                  <a:pt x="507" y="281"/>
                  <a:pt x="522" y="281"/>
                </a:cubicBezTo>
                <a:cubicBezTo>
                  <a:pt x="563" y="281"/>
                  <a:pt x="605" y="268"/>
                  <a:pt x="640" y="243"/>
                </a:cubicBezTo>
                <a:cubicBezTo>
                  <a:pt x="653" y="272"/>
                  <a:pt x="673" y="298"/>
                  <a:pt x="698" y="318"/>
                </a:cubicBezTo>
                <a:cubicBezTo>
                  <a:pt x="673" y="348"/>
                  <a:pt x="658" y="385"/>
                  <a:pt x="654" y="423"/>
                </a:cubicBezTo>
                <a:cubicBezTo>
                  <a:pt x="644" y="421"/>
                  <a:pt x="632" y="420"/>
                  <a:pt x="621" y="420"/>
                </a:cubicBezTo>
                <a:cubicBezTo>
                  <a:pt x="589" y="420"/>
                  <a:pt x="557" y="428"/>
                  <a:pt x="527" y="444"/>
                </a:cubicBezTo>
                <a:cubicBezTo>
                  <a:pt x="516" y="449"/>
                  <a:pt x="512" y="462"/>
                  <a:pt x="518" y="473"/>
                </a:cubicBezTo>
                <a:cubicBezTo>
                  <a:pt x="522" y="480"/>
                  <a:pt x="529" y="484"/>
                  <a:pt x="537" y="484"/>
                </a:cubicBezTo>
                <a:cubicBezTo>
                  <a:pt x="540" y="484"/>
                  <a:pt x="543" y="483"/>
                  <a:pt x="546" y="481"/>
                </a:cubicBezTo>
                <a:cubicBezTo>
                  <a:pt x="571" y="469"/>
                  <a:pt x="596" y="463"/>
                  <a:pt x="621" y="463"/>
                </a:cubicBezTo>
                <a:cubicBezTo>
                  <a:pt x="632" y="463"/>
                  <a:pt x="644" y="464"/>
                  <a:pt x="654" y="466"/>
                </a:cubicBezTo>
                <a:cubicBezTo>
                  <a:pt x="659" y="509"/>
                  <a:pt x="677" y="551"/>
                  <a:pt x="709" y="584"/>
                </a:cubicBezTo>
                <a:cubicBezTo>
                  <a:pt x="713" y="589"/>
                  <a:pt x="719" y="591"/>
                  <a:pt x="724" y="591"/>
                </a:cubicBezTo>
                <a:cubicBezTo>
                  <a:pt x="730" y="591"/>
                  <a:pt x="735" y="589"/>
                  <a:pt x="739" y="585"/>
                </a:cubicBezTo>
                <a:cubicBezTo>
                  <a:pt x="748" y="577"/>
                  <a:pt x="748" y="563"/>
                  <a:pt x="740" y="555"/>
                </a:cubicBezTo>
                <a:lnTo>
                  <a:pt x="740" y="555"/>
                </a:lnTo>
                <a:cubicBezTo>
                  <a:pt x="711" y="525"/>
                  <a:pt x="696" y="487"/>
                  <a:pt x="695" y="449"/>
                </a:cubicBezTo>
                <a:cubicBezTo>
                  <a:pt x="695" y="448"/>
                  <a:pt x="695" y="448"/>
                  <a:pt x="695" y="447"/>
                </a:cubicBezTo>
                <a:lnTo>
                  <a:pt x="695" y="445"/>
                </a:lnTo>
                <a:cubicBezTo>
                  <a:pt x="695" y="407"/>
                  <a:pt x="708" y="370"/>
                  <a:pt x="734" y="341"/>
                </a:cubicBezTo>
                <a:cubicBezTo>
                  <a:pt x="761" y="354"/>
                  <a:pt x="791" y="362"/>
                  <a:pt x="824" y="362"/>
                </a:cubicBezTo>
                <a:cubicBezTo>
                  <a:pt x="824" y="362"/>
                  <a:pt x="824" y="362"/>
                  <a:pt x="824" y="362"/>
                </a:cubicBezTo>
                <a:lnTo>
                  <a:pt x="825" y="362"/>
                </a:lnTo>
                <a:cubicBezTo>
                  <a:pt x="912" y="362"/>
                  <a:pt x="984" y="433"/>
                  <a:pt x="984" y="521"/>
                </a:cubicBezTo>
                <a:cubicBezTo>
                  <a:pt x="967" y="517"/>
                  <a:pt x="950" y="514"/>
                  <a:pt x="932" y="514"/>
                </a:cubicBezTo>
                <a:cubicBezTo>
                  <a:pt x="907" y="514"/>
                  <a:pt x="882" y="519"/>
                  <a:pt x="857" y="529"/>
                </a:cubicBezTo>
                <a:cubicBezTo>
                  <a:pt x="846" y="534"/>
                  <a:pt x="841" y="546"/>
                  <a:pt x="845" y="557"/>
                </a:cubicBezTo>
                <a:cubicBezTo>
                  <a:pt x="850" y="568"/>
                  <a:pt x="862" y="573"/>
                  <a:pt x="873" y="568"/>
                </a:cubicBezTo>
                <a:cubicBezTo>
                  <a:pt x="893" y="561"/>
                  <a:pt x="913" y="557"/>
                  <a:pt x="932" y="557"/>
                </a:cubicBezTo>
                <a:cubicBezTo>
                  <a:pt x="948" y="557"/>
                  <a:pt x="964" y="559"/>
                  <a:pt x="979" y="564"/>
                </a:cubicBezTo>
                <a:cubicBezTo>
                  <a:pt x="974" y="587"/>
                  <a:pt x="964" y="606"/>
                  <a:pt x="948" y="623"/>
                </a:cubicBezTo>
                <a:cubicBezTo>
                  <a:pt x="947" y="624"/>
                  <a:pt x="946" y="626"/>
                  <a:pt x="945" y="627"/>
                </a:cubicBezTo>
                <a:cubicBezTo>
                  <a:pt x="933" y="639"/>
                  <a:pt x="918" y="650"/>
                  <a:pt x="900" y="661"/>
                </a:cubicBezTo>
                <a:cubicBezTo>
                  <a:pt x="839" y="696"/>
                  <a:pt x="810" y="761"/>
                  <a:pt x="810" y="841"/>
                </a:cubicBezTo>
                <a:lnTo>
                  <a:pt x="810" y="1068"/>
                </a:lnTo>
                <a:lnTo>
                  <a:pt x="738" y="1068"/>
                </a:lnTo>
                <a:lnTo>
                  <a:pt x="738" y="852"/>
                </a:lnTo>
                <a:cubicBezTo>
                  <a:pt x="738" y="773"/>
                  <a:pt x="688" y="698"/>
                  <a:pt x="626" y="671"/>
                </a:cubicBezTo>
                <a:cubicBezTo>
                  <a:pt x="596" y="660"/>
                  <a:pt x="565" y="640"/>
                  <a:pt x="542" y="615"/>
                </a:cubicBezTo>
                <a:cubicBezTo>
                  <a:pt x="510" y="637"/>
                  <a:pt x="471" y="650"/>
                  <a:pt x="430" y="650"/>
                </a:cubicBezTo>
                <a:cubicBezTo>
                  <a:pt x="388" y="650"/>
                  <a:pt x="349" y="637"/>
                  <a:pt x="317" y="615"/>
                </a:cubicBezTo>
                <a:cubicBezTo>
                  <a:pt x="285" y="636"/>
                  <a:pt x="246" y="648"/>
                  <a:pt x="205" y="648"/>
                </a:cubicBezTo>
                <a:cubicBezTo>
                  <a:pt x="92" y="648"/>
                  <a:pt x="0" y="557"/>
                  <a:pt x="0" y="443"/>
                </a:cubicBezTo>
                <a:cubicBezTo>
                  <a:pt x="0" y="359"/>
                  <a:pt x="51" y="286"/>
                  <a:pt x="124" y="255"/>
                </a:cubicBezTo>
                <a:cubicBezTo>
                  <a:pt x="144" y="164"/>
                  <a:pt x="224" y="97"/>
                  <a:pt x="321" y="97"/>
                </a:cubicBezTo>
                <a:cubicBezTo>
                  <a:pt x="326" y="97"/>
                  <a:pt x="330" y="97"/>
                  <a:pt x="335" y="98"/>
                </a:cubicBezTo>
                <a:cubicBezTo>
                  <a:pt x="371" y="45"/>
                  <a:pt x="432" y="10"/>
                  <a:pt x="501" y="10"/>
                </a:cubicBezTo>
                <a:cubicBezTo>
                  <a:pt x="536" y="10"/>
                  <a:pt x="568" y="18"/>
                  <a:pt x="596" y="33"/>
                </a:cubicBezTo>
                <a:cubicBezTo>
                  <a:pt x="628" y="12"/>
                  <a:pt x="666" y="0"/>
                  <a:pt x="707" y="0"/>
                </a:cubicBezTo>
                <a:cubicBezTo>
                  <a:pt x="759" y="0"/>
                  <a:pt x="807" y="21"/>
                  <a:pt x="843" y="54"/>
                </a:cubicBezTo>
                <a:cubicBezTo>
                  <a:pt x="858" y="50"/>
                  <a:pt x="874" y="48"/>
                  <a:pt x="890" y="48"/>
                </a:cubicBezTo>
                <a:cubicBezTo>
                  <a:pt x="971" y="48"/>
                  <a:pt x="1042" y="97"/>
                  <a:pt x="1073" y="167"/>
                </a:cubicBezTo>
                <a:cubicBezTo>
                  <a:pt x="1156" y="192"/>
                  <a:pt x="1216" y="269"/>
                  <a:pt x="1216" y="359"/>
                </a:cubicBezTo>
                <a:cubicBezTo>
                  <a:pt x="1216" y="377"/>
                  <a:pt x="1213" y="395"/>
                  <a:pt x="1209" y="412"/>
                </a:cubicBezTo>
                <a:cubicBezTo>
                  <a:pt x="1235" y="445"/>
                  <a:pt x="1250" y="488"/>
                  <a:pt x="1250" y="533"/>
                </a:cubicBezTo>
                <a:close/>
              </a:path>
            </a:pathLst>
          </a:custGeom>
          <a:solidFill>
            <a:schemeClr val="accent4">
              <a:lumMod val="75000"/>
            </a:schemeClr>
          </a:solid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101" name="Business_People3"/>
          <p:cNvSpPr>
            <a:spLocks noChangeAspect="1"/>
          </p:cNvSpPr>
          <p:nvPr>
            <p:custDataLst>
              <p:tags r:id="rId7"/>
            </p:custDataLst>
          </p:nvPr>
        </p:nvSpPr>
        <p:spPr bwMode="auto">
          <a:xfrm>
            <a:off x="10214407" y="2227498"/>
            <a:ext cx="730443" cy="954048"/>
          </a:xfrm>
          <a:custGeom>
            <a:avLst/>
            <a:gdLst>
              <a:gd name="connsiteX0" fmla="*/ 865613 w 2208433"/>
              <a:gd name="connsiteY0" fmla="*/ 1682726 h 2884488"/>
              <a:gd name="connsiteX1" fmla="*/ 866321 w 2208433"/>
              <a:gd name="connsiteY1" fmla="*/ 1704565 h 2884488"/>
              <a:gd name="connsiteX2" fmla="*/ 789393 w 2208433"/>
              <a:gd name="connsiteY2" fmla="*/ 1963819 h 2884488"/>
              <a:gd name="connsiteX3" fmla="*/ 876381 w 2208433"/>
              <a:gd name="connsiteY3" fmla="*/ 1971514 h 2884488"/>
              <a:gd name="connsiteX4" fmla="*/ 926215 w 2208433"/>
              <a:gd name="connsiteY4" fmla="*/ 1963293 h 2884488"/>
              <a:gd name="connsiteX5" fmla="*/ 919070 w 2208433"/>
              <a:gd name="connsiteY5" fmla="*/ 1737369 h 2884488"/>
              <a:gd name="connsiteX6" fmla="*/ 905769 w 2208433"/>
              <a:gd name="connsiteY6" fmla="*/ 1736436 h 2884488"/>
              <a:gd name="connsiteX7" fmla="*/ 892172 w 2208433"/>
              <a:gd name="connsiteY7" fmla="*/ 1728167 h 2884488"/>
              <a:gd name="connsiteX8" fmla="*/ 880348 w 2208433"/>
              <a:gd name="connsiteY8" fmla="*/ 1696274 h 2884488"/>
              <a:gd name="connsiteX9" fmla="*/ 867342 w 2208433"/>
              <a:gd name="connsiteY9" fmla="*/ 1683280 h 2884488"/>
              <a:gd name="connsiteX10" fmla="*/ 1058756 w 2208433"/>
              <a:gd name="connsiteY10" fmla="*/ 1643194 h 2884488"/>
              <a:gd name="connsiteX11" fmla="*/ 1059247 w 2208433"/>
              <a:gd name="connsiteY11" fmla="*/ 1654350 h 2884488"/>
              <a:gd name="connsiteX12" fmla="*/ 1061428 w 2208433"/>
              <a:gd name="connsiteY12" fmla="*/ 1661003 h 2884488"/>
              <a:gd name="connsiteX13" fmla="*/ 1062361 w 2208433"/>
              <a:gd name="connsiteY13" fmla="*/ 1682247 h 2884488"/>
              <a:gd name="connsiteX14" fmla="*/ 1061988 w 2208433"/>
              <a:gd name="connsiteY14" fmla="*/ 1716610 h 2884488"/>
              <a:gd name="connsiteX15" fmla="*/ 1071681 w 2208433"/>
              <a:gd name="connsiteY15" fmla="*/ 1936797 h 2884488"/>
              <a:gd name="connsiteX16" fmla="*/ 1074500 w 2208433"/>
              <a:gd name="connsiteY16" fmla="*/ 1936157 h 2884488"/>
              <a:gd name="connsiteX17" fmla="*/ 1119001 w 2208433"/>
              <a:gd name="connsiteY17" fmla="*/ 1915875 h 2884488"/>
              <a:gd name="connsiteX18" fmla="*/ 1106008 w 2208433"/>
              <a:gd name="connsiteY18" fmla="*/ 1829854 h 2884488"/>
              <a:gd name="connsiteX19" fmla="*/ 1160857 w 2208433"/>
              <a:gd name="connsiteY19" fmla="*/ 1837531 h 2884488"/>
              <a:gd name="connsiteX20" fmla="*/ 1207548 w 2208433"/>
              <a:gd name="connsiteY20" fmla="*/ 1812208 h 2884488"/>
              <a:gd name="connsiteX21" fmla="*/ 1345848 w 2208433"/>
              <a:gd name="connsiteY21" fmla="*/ 1859910 h 2884488"/>
              <a:gd name="connsiteX22" fmla="*/ 1479421 w 2208433"/>
              <a:gd name="connsiteY22" fmla="*/ 1882289 h 2884488"/>
              <a:gd name="connsiteX23" fmla="*/ 1547389 w 2208433"/>
              <a:gd name="connsiteY23" fmla="*/ 1892300 h 2884488"/>
              <a:gd name="connsiteX24" fmla="*/ 1706375 w 2208433"/>
              <a:gd name="connsiteY24" fmla="*/ 1823398 h 2884488"/>
              <a:gd name="connsiteX25" fmla="*/ 1200196 w 2208433"/>
              <a:gd name="connsiteY25" fmla="*/ 1766926 h 2884488"/>
              <a:gd name="connsiteX26" fmla="*/ 1203138 w 2208433"/>
              <a:gd name="connsiteY26" fmla="*/ 1774826 h 2884488"/>
              <a:gd name="connsiteX27" fmla="*/ 1153478 w 2208433"/>
              <a:gd name="connsiteY27" fmla="*/ 1768920 h 2884488"/>
              <a:gd name="connsiteX28" fmla="*/ 1150427 w 2208433"/>
              <a:gd name="connsiteY28" fmla="*/ 1761374 h 2884488"/>
              <a:gd name="connsiteX29" fmla="*/ 1094725 w 2208433"/>
              <a:gd name="connsiteY29" fmla="*/ 1755159 h 2884488"/>
              <a:gd name="connsiteX30" fmla="*/ 1080538 w 2208433"/>
              <a:gd name="connsiteY30" fmla="*/ 1661239 h 2884488"/>
              <a:gd name="connsiteX31" fmla="*/ 1062435 w 2208433"/>
              <a:gd name="connsiteY31" fmla="*/ 1646071 h 2884488"/>
              <a:gd name="connsiteX32" fmla="*/ 1516881 w 2208433"/>
              <a:gd name="connsiteY32" fmla="*/ 1057046 h 2884488"/>
              <a:gd name="connsiteX33" fmla="*/ 1481659 w 2208433"/>
              <a:gd name="connsiteY33" fmla="*/ 1080602 h 2884488"/>
              <a:gd name="connsiteX34" fmla="*/ 1481773 w 2208433"/>
              <a:gd name="connsiteY34" fmla="*/ 1089589 h 2884488"/>
              <a:gd name="connsiteX35" fmla="*/ 1480754 w 2208433"/>
              <a:gd name="connsiteY35" fmla="*/ 1080499 h 2884488"/>
              <a:gd name="connsiteX36" fmla="*/ 860404 w 2208433"/>
              <a:gd name="connsiteY36" fmla="*/ 495300 h 2884488"/>
              <a:gd name="connsiteX37" fmla="*/ 836142 w 2208433"/>
              <a:gd name="connsiteY37" fmla="*/ 529631 h 2884488"/>
              <a:gd name="connsiteX38" fmla="*/ 816614 w 2208433"/>
              <a:gd name="connsiteY38" fmla="*/ 529039 h 2884488"/>
              <a:gd name="connsiteX39" fmla="*/ 855392 w 2208433"/>
              <a:gd name="connsiteY39" fmla="*/ 1367817 h 2884488"/>
              <a:gd name="connsiteX40" fmla="*/ 860030 w 2208433"/>
              <a:gd name="connsiteY40" fmla="*/ 1510704 h 2884488"/>
              <a:gd name="connsiteX41" fmla="*/ 871480 w 2208433"/>
              <a:gd name="connsiteY41" fmla="*/ 1500188 h 2884488"/>
              <a:gd name="connsiteX42" fmla="*/ 904596 w 2208433"/>
              <a:gd name="connsiteY42" fmla="*/ 1509850 h 2884488"/>
              <a:gd name="connsiteX43" fmla="*/ 911955 w 2208433"/>
              <a:gd name="connsiteY43" fmla="*/ 1512368 h 2884488"/>
              <a:gd name="connsiteX44" fmla="*/ 911627 w 2208433"/>
              <a:gd name="connsiteY44" fmla="*/ 1502004 h 2884488"/>
              <a:gd name="connsiteX45" fmla="*/ 917573 w 2208433"/>
              <a:gd name="connsiteY45" fmla="*/ 943459 h 2884488"/>
              <a:gd name="connsiteX46" fmla="*/ 906275 w 2208433"/>
              <a:gd name="connsiteY46" fmla="*/ 807964 h 2884488"/>
              <a:gd name="connsiteX47" fmla="*/ 967520 w 2208433"/>
              <a:gd name="connsiteY47" fmla="*/ 763588 h 2884488"/>
              <a:gd name="connsiteX48" fmla="*/ 1027576 w 2208433"/>
              <a:gd name="connsiteY48" fmla="*/ 764771 h 2884488"/>
              <a:gd name="connsiteX49" fmla="*/ 1055523 w 2208433"/>
              <a:gd name="connsiteY49" fmla="*/ 785480 h 2884488"/>
              <a:gd name="connsiteX50" fmla="*/ 1000818 w 2208433"/>
              <a:gd name="connsiteY50" fmla="*/ 852340 h 2884488"/>
              <a:gd name="connsiteX51" fmla="*/ 1013900 w 2208433"/>
              <a:gd name="connsiteY51" fmla="*/ 915058 h 2884488"/>
              <a:gd name="connsiteX52" fmla="*/ 1034117 w 2208433"/>
              <a:gd name="connsiteY52" fmla="*/ 1019785 h 2884488"/>
              <a:gd name="connsiteX53" fmla="*/ 1053739 w 2208433"/>
              <a:gd name="connsiteY53" fmla="*/ 1529222 h 2884488"/>
              <a:gd name="connsiteX54" fmla="*/ 1054178 w 2208433"/>
              <a:gd name="connsiteY54" fmla="*/ 1539189 h 2884488"/>
              <a:gd name="connsiteX55" fmla="*/ 1063559 w 2208433"/>
              <a:gd name="connsiteY55" fmla="*/ 1548835 h 2884488"/>
              <a:gd name="connsiteX56" fmla="*/ 1061601 w 2208433"/>
              <a:gd name="connsiteY56" fmla="*/ 1535871 h 2884488"/>
              <a:gd name="connsiteX57" fmla="*/ 1101249 w 2208433"/>
              <a:gd name="connsiteY57" fmla="*/ 1133967 h 2884488"/>
              <a:gd name="connsiteX58" fmla="*/ 1106574 w 2208433"/>
              <a:gd name="connsiteY58" fmla="*/ 762842 h 2884488"/>
              <a:gd name="connsiteX59" fmla="*/ 1107758 w 2208433"/>
              <a:gd name="connsiteY59" fmla="*/ 723776 h 2884488"/>
              <a:gd name="connsiteX60" fmla="*/ 1057459 w 2208433"/>
              <a:gd name="connsiteY60" fmla="*/ 723184 h 2884488"/>
              <a:gd name="connsiteX61" fmla="*/ 1036747 w 2208433"/>
              <a:gd name="connsiteY61" fmla="*/ 735022 h 2884488"/>
              <a:gd name="connsiteX62" fmla="*/ 996508 w 2208433"/>
              <a:gd name="connsiteY62" fmla="*/ 736206 h 2884488"/>
              <a:gd name="connsiteX63" fmla="*/ 865138 w 2208433"/>
              <a:gd name="connsiteY63" fmla="*/ 549164 h 2884488"/>
              <a:gd name="connsiteX64" fmla="*/ 862771 w 2208433"/>
              <a:gd name="connsiteY64" fmla="*/ 495892 h 2884488"/>
              <a:gd name="connsiteX65" fmla="*/ 1211378 w 2208433"/>
              <a:gd name="connsiteY65" fmla="*/ 0 h 2884488"/>
              <a:gd name="connsiteX66" fmla="*/ 1411638 w 2208433"/>
              <a:gd name="connsiteY66" fmla="*/ 238006 h 2884488"/>
              <a:gd name="connsiteX67" fmla="*/ 1366742 w 2208433"/>
              <a:gd name="connsiteY67" fmla="*/ 364706 h 2884488"/>
              <a:gd name="connsiteX68" fmla="*/ 1324209 w 2208433"/>
              <a:gd name="connsiteY68" fmla="*/ 457658 h 2884488"/>
              <a:gd name="connsiteX69" fmla="*/ 1325981 w 2208433"/>
              <a:gd name="connsiteY69" fmla="*/ 481932 h 2884488"/>
              <a:gd name="connsiteX70" fmla="*/ 1297626 w 2208433"/>
              <a:gd name="connsiteY70" fmla="*/ 509759 h 2884488"/>
              <a:gd name="connsiteX71" fmla="*/ 1258637 w 2208433"/>
              <a:gd name="connsiteY71" fmla="*/ 594423 h 2884488"/>
              <a:gd name="connsiteX72" fmla="*/ 1137536 w 2208433"/>
              <a:gd name="connsiteY72" fmla="*/ 721714 h 2884488"/>
              <a:gd name="connsiteX73" fmla="*/ 1131629 w 2208433"/>
              <a:gd name="connsiteY73" fmla="*/ 724674 h 2884488"/>
              <a:gd name="connsiteX74" fmla="*/ 1131629 w 2208433"/>
              <a:gd name="connsiteY74" fmla="*/ 728227 h 2884488"/>
              <a:gd name="connsiteX75" fmla="*/ 1377375 w 2208433"/>
              <a:gd name="connsiteY75" fmla="*/ 930709 h 2884488"/>
              <a:gd name="connsiteX76" fmla="*/ 1348429 w 2208433"/>
              <a:gd name="connsiteY76" fmla="*/ 1343371 h 2884488"/>
              <a:gd name="connsiteX77" fmla="*/ 1450627 w 2208433"/>
              <a:gd name="connsiteY77" fmla="*/ 1183517 h 2884488"/>
              <a:gd name="connsiteX78" fmla="*/ 1481345 w 2208433"/>
              <a:gd name="connsiteY78" fmla="*/ 1134968 h 2884488"/>
              <a:gd name="connsiteX79" fmla="*/ 1482280 w 2208433"/>
              <a:gd name="connsiteY79" fmla="*/ 1123842 h 2884488"/>
              <a:gd name="connsiteX80" fmla="*/ 1483207 w 2208433"/>
              <a:gd name="connsiteY80" fmla="*/ 1143551 h 2884488"/>
              <a:gd name="connsiteX81" fmla="*/ 1488736 w 2208433"/>
              <a:gd name="connsiteY81" fmla="*/ 1168287 h 2884488"/>
              <a:gd name="connsiteX82" fmla="*/ 1540044 w 2208433"/>
              <a:gd name="connsiteY82" fmla="*/ 1137479 h 2884488"/>
              <a:gd name="connsiteX83" fmla="*/ 1564813 w 2208433"/>
              <a:gd name="connsiteY83" fmla="*/ 1178951 h 2884488"/>
              <a:gd name="connsiteX84" fmla="*/ 1325375 w 2208433"/>
              <a:gd name="connsiteY84" fmla="*/ 1455632 h 2884488"/>
              <a:gd name="connsiteX85" fmla="*/ 1440966 w 2208433"/>
              <a:gd name="connsiteY85" fmla="*/ 1763713 h 2884488"/>
              <a:gd name="connsiteX86" fmla="*/ 1830200 w 2208433"/>
              <a:gd name="connsiteY86" fmla="*/ 1031427 h 2884488"/>
              <a:gd name="connsiteX87" fmla="*/ 1788918 w 2208433"/>
              <a:gd name="connsiteY87" fmla="*/ 1023725 h 2884488"/>
              <a:gd name="connsiteX88" fmla="*/ 1697507 w 2208433"/>
              <a:gd name="connsiteY88" fmla="*/ 1104301 h 2884488"/>
              <a:gd name="connsiteX89" fmla="*/ 1672737 w 2208433"/>
              <a:gd name="connsiteY89" fmla="*/ 1185468 h 2884488"/>
              <a:gd name="connsiteX90" fmla="*/ 1646199 w 2208433"/>
              <a:gd name="connsiteY90" fmla="*/ 1190208 h 2884488"/>
              <a:gd name="connsiteX91" fmla="*/ 1645609 w 2208433"/>
              <a:gd name="connsiteY91" fmla="*/ 1212722 h 2884488"/>
              <a:gd name="connsiteX92" fmla="*/ 1645019 w 2208433"/>
              <a:gd name="connsiteY92" fmla="*/ 1221016 h 2884488"/>
              <a:gd name="connsiteX93" fmla="*/ 1591352 w 2208433"/>
              <a:gd name="connsiteY93" fmla="*/ 1297444 h 2884488"/>
              <a:gd name="connsiteX94" fmla="*/ 1610814 w 2208433"/>
              <a:gd name="connsiteY94" fmla="*/ 1217461 h 2884488"/>
              <a:gd name="connsiteX95" fmla="*/ 1614352 w 2208433"/>
              <a:gd name="connsiteY95" fmla="*/ 1057496 h 2884488"/>
              <a:gd name="connsiteX96" fmla="*/ 1590172 w 2208433"/>
              <a:gd name="connsiteY96" fmla="*/ 1020763 h 2884488"/>
              <a:gd name="connsiteX97" fmla="*/ 1534598 w 2208433"/>
              <a:gd name="connsiteY97" fmla="*/ 1045544 h 2884488"/>
              <a:gd name="connsiteX98" fmla="*/ 1537982 w 2208433"/>
              <a:gd name="connsiteY98" fmla="*/ 1043348 h 2884488"/>
              <a:gd name="connsiteX99" fmla="*/ 1591222 w 2208433"/>
              <a:gd name="connsiteY99" fmla="*/ 1017741 h 2884488"/>
              <a:gd name="connsiteX100" fmla="*/ 1591813 w 2208433"/>
              <a:gd name="connsiteY100" fmla="*/ 996427 h 2884488"/>
              <a:gd name="connsiteX101" fmla="*/ 1533330 w 2208433"/>
              <a:gd name="connsiteY101" fmla="*/ 820587 h 2884488"/>
              <a:gd name="connsiteX102" fmla="*/ 1526241 w 2208433"/>
              <a:gd name="connsiteY102" fmla="*/ 732371 h 2884488"/>
              <a:gd name="connsiteX103" fmla="*/ 1524469 w 2208433"/>
              <a:gd name="connsiteY103" fmla="*/ 716978 h 2884488"/>
              <a:gd name="connsiteX104" fmla="*/ 1762536 w 2208433"/>
              <a:gd name="connsiteY104" fmla="*/ 412662 h 2884488"/>
              <a:gd name="connsiteX105" fmla="*/ 2034865 w 2208433"/>
              <a:gd name="connsiteY105" fmla="*/ 657180 h 2884488"/>
              <a:gd name="connsiteX106" fmla="*/ 2067947 w 2208433"/>
              <a:gd name="connsiteY106" fmla="*/ 722306 h 2884488"/>
              <a:gd name="connsiteX107" fmla="*/ 2072673 w 2208433"/>
              <a:gd name="connsiteY107" fmla="*/ 772631 h 2884488"/>
              <a:gd name="connsiteX108" fmla="*/ 2057313 w 2208433"/>
              <a:gd name="connsiteY108" fmla="*/ 722306 h 2884488"/>
              <a:gd name="connsiteX109" fmla="*/ 2053178 w 2208433"/>
              <a:gd name="connsiteY109" fmla="*/ 768486 h 2884488"/>
              <a:gd name="connsiteX110" fmla="*/ 2031912 w 2208433"/>
              <a:gd name="connsiteY110" fmla="*/ 989323 h 2884488"/>
              <a:gd name="connsiteX111" fmla="*/ 2018325 w 2208433"/>
              <a:gd name="connsiteY111" fmla="*/ 1002348 h 2884488"/>
              <a:gd name="connsiteX112" fmla="*/ 2021278 w 2208433"/>
              <a:gd name="connsiteY112" fmla="*/ 1042016 h 2884488"/>
              <a:gd name="connsiteX113" fmla="*/ 2098074 w 2208433"/>
              <a:gd name="connsiteY113" fmla="*/ 1080499 h 2884488"/>
              <a:gd name="connsiteX114" fmla="*/ 2202044 w 2208433"/>
              <a:gd name="connsiteY114" fmla="*/ 1191805 h 2884488"/>
              <a:gd name="connsiteX115" fmla="*/ 2203816 w 2208433"/>
              <a:gd name="connsiteY115" fmla="*/ 1435140 h 2884488"/>
              <a:gd name="connsiteX116" fmla="*/ 2194955 w 2208433"/>
              <a:gd name="connsiteY116" fmla="*/ 1661896 h 2884488"/>
              <a:gd name="connsiteX117" fmla="*/ 2178414 w 2208433"/>
              <a:gd name="connsiteY117" fmla="*/ 1764914 h 2884488"/>
              <a:gd name="connsiteX118" fmla="*/ 2196727 w 2208433"/>
              <a:gd name="connsiteY118" fmla="*/ 1927729 h 2884488"/>
              <a:gd name="connsiteX119" fmla="*/ 2190229 w 2208433"/>
              <a:gd name="connsiteY119" fmla="*/ 1962660 h 2884488"/>
              <a:gd name="connsiteX120" fmla="*/ 2113433 w 2208433"/>
              <a:gd name="connsiteY120" fmla="*/ 2049692 h 2884488"/>
              <a:gd name="connsiteX121" fmla="*/ 2089804 w 2208433"/>
              <a:gd name="connsiteY121" fmla="*/ 2055612 h 2884488"/>
              <a:gd name="connsiteX122" fmla="*/ 1926170 w 2208433"/>
              <a:gd name="connsiteY122" fmla="*/ 2044363 h 2884488"/>
              <a:gd name="connsiteX123" fmla="*/ 1962796 w 2208433"/>
              <a:gd name="connsiteY123" fmla="*/ 2303091 h 2884488"/>
              <a:gd name="connsiteX124" fmla="*/ 1934440 w 2208433"/>
              <a:gd name="connsiteY124" fmla="*/ 2454657 h 2884488"/>
              <a:gd name="connsiteX125" fmla="*/ 1917900 w 2208433"/>
              <a:gd name="connsiteY125" fmla="*/ 2684374 h 2884488"/>
              <a:gd name="connsiteX126" fmla="*/ 1865324 w 2208433"/>
              <a:gd name="connsiteY126" fmla="*/ 2883896 h 2884488"/>
              <a:gd name="connsiteX127" fmla="*/ 1167073 w 2208433"/>
              <a:gd name="connsiteY127" fmla="*/ 2883896 h 2884488"/>
              <a:gd name="connsiteX128" fmla="*/ 1240915 w 2208433"/>
              <a:gd name="connsiteY128" fmla="*/ 2271712 h 2884488"/>
              <a:gd name="connsiteX129" fmla="*/ 1218467 w 2208433"/>
              <a:gd name="connsiteY129" fmla="*/ 2255135 h 2884488"/>
              <a:gd name="connsiteX130" fmla="*/ 1246822 w 2208433"/>
              <a:gd name="connsiteY130" fmla="*/ 2143236 h 2884488"/>
              <a:gd name="connsiteX131" fmla="*/ 1207243 w 2208433"/>
              <a:gd name="connsiteY131" fmla="*/ 2156854 h 2884488"/>
              <a:gd name="connsiteX132" fmla="*/ 1190702 w 2208433"/>
              <a:gd name="connsiteY132" fmla="*/ 2107121 h 2884488"/>
              <a:gd name="connsiteX133" fmla="*/ 1175343 w 2208433"/>
              <a:gd name="connsiteY133" fmla="*/ 2107121 h 2884488"/>
              <a:gd name="connsiteX134" fmla="*/ 1164119 w 2208433"/>
              <a:gd name="connsiteY134" fmla="*/ 2600894 h 2884488"/>
              <a:gd name="connsiteX135" fmla="*/ 1140490 w 2208433"/>
              <a:gd name="connsiteY135" fmla="*/ 2639378 h 2884488"/>
              <a:gd name="connsiteX136" fmla="*/ 1108590 w 2208433"/>
              <a:gd name="connsiteY136" fmla="*/ 2884488 h 2884488"/>
              <a:gd name="connsiteX137" fmla="*/ 220122 w 2208433"/>
              <a:gd name="connsiteY137" fmla="*/ 2882712 h 2884488"/>
              <a:gd name="connsiteX138" fmla="*/ 260292 w 2208433"/>
              <a:gd name="connsiteY138" fmla="*/ 2571884 h 2884488"/>
              <a:gd name="connsiteX139" fmla="*/ 83662 w 2208433"/>
              <a:gd name="connsiteY139" fmla="*/ 2416765 h 2884488"/>
              <a:gd name="connsiteX140" fmla="*/ 331180 w 2208433"/>
              <a:gd name="connsiteY140" fmla="*/ 1677882 h 2884488"/>
              <a:gd name="connsiteX141" fmla="*/ 317003 w 2208433"/>
              <a:gd name="connsiteY141" fmla="*/ 1655976 h 2884488"/>
              <a:gd name="connsiteX142" fmla="*/ 959 w 2208433"/>
              <a:gd name="connsiteY142" fmla="*/ 1463558 h 2884488"/>
              <a:gd name="connsiteX143" fmla="*/ 39947 w 2208433"/>
              <a:gd name="connsiteY143" fmla="*/ 1331530 h 2884488"/>
              <a:gd name="connsiteX144" fmla="*/ 386710 w 2208433"/>
              <a:gd name="connsiteY144" fmla="*/ 654220 h 2884488"/>
              <a:gd name="connsiteX145" fmla="*/ 720476 w 2208433"/>
              <a:gd name="connsiteY145" fmla="*/ 592646 h 2884488"/>
              <a:gd name="connsiteX146" fmla="*/ 809677 w 2208433"/>
              <a:gd name="connsiteY146" fmla="*/ 525152 h 2884488"/>
              <a:gd name="connsiteX147" fmla="*/ 835670 w 2208433"/>
              <a:gd name="connsiteY147" fmla="*/ 526336 h 2884488"/>
              <a:gd name="connsiteX148" fmla="*/ 860481 w 2208433"/>
              <a:gd name="connsiteY148" fmla="*/ 491997 h 2884488"/>
              <a:gd name="connsiteX149" fmla="*/ 895334 w 2208433"/>
              <a:gd name="connsiteY149" fmla="*/ 487261 h 2884488"/>
              <a:gd name="connsiteX150" fmla="*/ 901832 w 2208433"/>
              <a:gd name="connsiteY150" fmla="*/ 424503 h 2884488"/>
              <a:gd name="connsiteX151" fmla="*/ 905967 w 2208433"/>
              <a:gd name="connsiteY151" fmla="*/ 257544 h 2884488"/>
              <a:gd name="connsiteX152" fmla="*/ 1211378 w 2208433"/>
              <a:gd name="connsiteY152" fmla="*/ 0 h 288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08433" h="2884488">
                <a:moveTo>
                  <a:pt x="865613" y="1682726"/>
                </a:moveTo>
                <a:lnTo>
                  <a:pt x="866321" y="1704565"/>
                </a:lnTo>
                <a:cubicBezTo>
                  <a:pt x="866321" y="1716403"/>
                  <a:pt x="788801" y="1952573"/>
                  <a:pt x="789393" y="1963819"/>
                </a:cubicBezTo>
                <a:cubicBezTo>
                  <a:pt x="814247" y="1968555"/>
                  <a:pt x="847385" y="1978025"/>
                  <a:pt x="876381" y="1971514"/>
                </a:cubicBezTo>
                <a:lnTo>
                  <a:pt x="926215" y="1963293"/>
                </a:lnTo>
                <a:lnTo>
                  <a:pt x="919070" y="1737369"/>
                </a:lnTo>
                <a:lnTo>
                  <a:pt x="905769" y="1736436"/>
                </a:lnTo>
                <a:cubicBezTo>
                  <a:pt x="898083" y="1737026"/>
                  <a:pt x="893354" y="1735845"/>
                  <a:pt x="892172" y="1728167"/>
                </a:cubicBezTo>
                <a:lnTo>
                  <a:pt x="880348" y="1696274"/>
                </a:lnTo>
                <a:cubicBezTo>
                  <a:pt x="877983" y="1686824"/>
                  <a:pt x="876209" y="1686233"/>
                  <a:pt x="867342" y="1683280"/>
                </a:cubicBezTo>
                <a:close/>
                <a:moveTo>
                  <a:pt x="1058756" y="1643194"/>
                </a:moveTo>
                <a:lnTo>
                  <a:pt x="1059247" y="1654350"/>
                </a:lnTo>
                <a:lnTo>
                  <a:pt x="1061428" y="1661003"/>
                </a:lnTo>
                <a:cubicBezTo>
                  <a:pt x="1062195" y="1667002"/>
                  <a:pt x="1062398" y="1674347"/>
                  <a:pt x="1062361" y="1682247"/>
                </a:cubicBezTo>
                <a:lnTo>
                  <a:pt x="1061988" y="1716610"/>
                </a:lnTo>
                <a:lnTo>
                  <a:pt x="1071681" y="1936797"/>
                </a:lnTo>
                <a:lnTo>
                  <a:pt x="1074500" y="1936157"/>
                </a:lnTo>
                <a:cubicBezTo>
                  <a:pt x="1089746" y="1931339"/>
                  <a:pt x="1104651" y="1924902"/>
                  <a:pt x="1119001" y="1915875"/>
                </a:cubicBezTo>
                <a:lnTo>
                  <a:pt x="1106008" y="1829854"/>
                </a:lnTo>
                <a:lnTo>
                  <a:pt x="1160857" y="1837531"/>
                </a:lnTo>
                <a:cubicBezTo>
                  <a:pt x="1211094" y="1856377"/>
                  <a:pt x="1179179" y="1821631"/>
                  <a:pt x="1207548" y="1812208"/>
                </a:cubicBezTo>
                <a:cubicBezTo>
                  <a:pt x="1241237" y="1801019"/>
                  <a:pt x="1300930" y="1799841"/>
                  <a:pt x="1345848" y="1859910"/>
                </a:cubicBezTo>
                <a:cubicBezTo>
                  <a:pt x="1365352" y="1885233"/>
                  <a:pt x="1441004" y="1864032"/>
                  <a:pt x="1479421" y="1882289"/>
                </a:cubicBezTo>
                <a:lnTo>
                  <a:pt x="1547389" y="1892300"/>
                </a:lnTo>
                <a:lnTo>
                  <a:pt x="1706375" y="1823398"/>
                </a:lnTo>
                <a:lnTo>
                  <a:pt x="1200196" y="1766926"/>
                </a:lnTo>
                <a:lnTo>
                  <a:pt x="1203138" y="1774826"/>
                </a:lnTo>
                <a:cubicBezTo>
                  <a:pt x="1188358" y="1774826"/>
                  <a:pt x="1175352" y="1770101"/>
                  <a:pt x="1153478" y="1768920"/>
                </a:cubicBezTo>
                <a:lnTo>
                  <a:pt x="1150427" y="1761374"/>
                </a:lnTo>
                <a:lnTo>
                  <a:pt x="1094725" y="1755159"/>
                </a:lnTo>
                <a:lnTo>
                  <a:pt x="1080538" y="1661239"/>
                </a:lnTo>
                <a:lnTo>
                  <a:pt x="1062435" y="1646071"/>
                </a:lnTo>
                <a:close/>
                <a:moveTo>
                  <a:pt x="1516881" y="1057046"/>
                </a:moveTo>
                <a:lnTo>
                  <a:pt x="1481659" y="1080602"/>
                </a:lnTo>
                <a:lnTo>
                  <a:pt x="1481773" y="1089589"/>
                </a:lnTo>
                <a:lnTo>
                  <a:pt x="1480754" y="1080499"/>
                </a:lnTo>
                <a:close/>
                <a:moveTo>
                  <a:pt x="860404" y="495300"/>
                </a:moveTo>
                <a:lnTo>
                  <a:pt x="836142" y="529631"/>
                </a:lnTo>
                <a:lnTo>
                  <a:pt x="816614" y="529039"/>
                </a:lnTo>
                <a:cubicBezTo>
                  <a:pt x="841024" y="728808"/>
                  <a:pt x="846461" y="1036118"/>
                  <a:pt x="855392" y="1367817"/>
                </a:cubicBezTo>
                <a:lnTo>
                  <a:pt x="860030" y="1510704"/>
                </a:lnTo>
                <a:lnTo>
                  <a:pt x="871480" y="1500188"/>
                </a:lnTo>
                <a:cubicBezTo>
                  <a:pt x="888181" y="1504322"/>
                  <a:pt x="897456" y="1507312"/>
                  <a:pt x="904596" y="1509850"/>
                </a:cubicBezTo>
                <a:lnTo>
                  <a:pt x="911955" y="1512368"/>
                </a:lnTo>
                <a:lnTo>
                  <a:pt x="911627" y="1502004"/>
                </a:lnTo>
                <a:lnTo>
                  <a:pt x="917573" y="943459"/>
                </a:lnTo>
                <a:cubicBezTo>
                  <a:pt x="924708" y="877191"/>
                  <a:pt x="938384" y="825714"/>
                  <a:pt x="906275" y="807964"/>
                </a:cubicBezTo>
                <a:cubicBezTo>
                  <a:pt x="924708" y="796722"/>
                  <a:pt x="945520" y="781930"/>
                  <a:pt x="967520" y="763588"/>
                </a:cubicBezTo>
                <a:cubicBezTo>
                  <a:pt x="978818" y="774238"/>
                  <a:pt x="993683" y="776605"/>
                  <a:pt x="1027576" y="764771"/>
                </a:cubicBezTo>
                <a:lnTo>
                  <a:pt x="1055523" y="785480"/>
                </a:lnTo>
                <a:cubicBezTo>
                  <a:pt x="1032333" y="795539"/>
                  <a:pt x="1016873" y="824531"/>
                  <a:pt x="1000818" y="852340"/>
                </a:cubicBezTo>
                <a:cubicBezTo>
                  <a:pt x="1004386" y="864174"/>
                  <a:pt x="1004386" y="890208"/>
                  <a:pt x="1013900" y="915058"/>
                </a:cubicBezTo>
                <a:cubicBezTo>
                  <a:pt x="1024008" y="942867"/>
                  <a:pt x="1025792" y="981326"/>
                  <a:pt x="1034117" y="1019785"/>
                </a:cubicBezTo>
                <a:lnTo>
                  <a:pt x="1053739" y="1529222"/>
                </a:lnTo>
                <a:lnTo>
                  <a:pt x="1054178" y="1539189"/>
                </a:lnTo>
                <a:lnTo>
                  <a:pt x="1063559" y="1548835"/>
                </a:lnTo>
                <a:lnTo>
                  <a:pt x="1061601" y="1535871"/>
                </a:lnTo>
                <a:lnTo>
                  <a:pt x="1101249" y="1133967"/>
                </a:lnTo>
                <a:lnTo>
                  <a:pt x="1106574" y="762842"/>
                </a:lnTo>
                <a:lnTo>
                  <a:pt x="1107758" y="723776"/>
                </a:lnTo>
                <a:cubicBezTo>
                  <a:pt x="1094147" y="723184"/>
                  <a:pt x="1083496" y="722000"/>
                  <a:pt x="1057459" y="723184"/>
                </a:cubicBezTo>
                <a:lnTo>
                  <a:pt x="1036747" y="735022"/>
                </a:lnTo>
                <a:cubicBezTo>
                  <a:pt x="1029054" y="739757"/>
                  <a:pt x="1018994" y="742717"/>
                  <a:pt x="996508" y="736206"/>
                </a:cubicBezTo>
                <a:cubicBezTo>
                  <a:pt x="958635" y="671688"/>
                  <a:pt x="911887" y="610722"/>
                  <a:pt x="865138" y="549164"/>
                </a:cubicBezTo>
                <a:cubicBezTo>
                  <a:pt x="858037" y="534958"/>
                  <a:pt x="856853" y="517793"/>
                  <a:pt x="862771" y="495892"/>
                </a:cubicBezTo>
                <a:close/>
                <a:moveTo>
                  <a:pt x="1211378" y="0"/>
                </a:moveTo>
                <a:cubicBezTo>
                  <a:pt x="1301170" y="5921"/>
                  <a:pt x="1420499" y="103017"/>
                  <a:pt x="1411638" y="238006"/>
                </a:cubicBezTo>
                <a:cubicBezTo>
                  <a:pt x="1399823" y="279450"/>
                  <a:pt x="1395097" y="320301"/>
                  <a:pt x="1366742" y="364706"/>
                </a:cubicBezTo>
                <a:lnTo>
                  <a:pt x="1324209" y="457658"/>
                </a:lnTo>
                <a:cubicBezTo>
                  <a:pt x="1325981" y="473051"/>
                  <a:pt x="1326572" y="480156"/>
                  <a:pt x="1325981" y="481932"/>
                </a:cubicBezTo>
                <a:lnTo>
                  <a:pt x="1297626" y="509759"/>
                </a:lnTo>
                <a:cubicBezTo>
                  <a:pt x="1293491" y="575477"/>
                  <a:pt x="1288174" y="569556"/>
                  <a:pt x="1258637" y="594423"/>
                </a:cubicBezTo>
                <a:cubicBezTo>
                  <a:pt x="1209015" y="635866"/>
                  <a:pt x="1170617" y="671390"/>
                  <a:pt x="1137536" y="721714"/>
                </a:cubicBezTo>
                <a:lnTo>
                  <a:pt x="1131629" y="724674"/>
                </a:lnTo>
                <a:lnTo>
                  <a:pt x="1131629" y="728227"/>
                </a:lnTo>
                <a:cubicBezTo>
                  <a:pt x="1222012" y="792169"/>
                  <a:pt x="1299398" y="861439"/>
                  <a:pt x="1377375" y="930709"/>
                </a:cubicBezTo>
                <a:lnTo>
                  <a:pt x="1348429" y="1343371"/>
                </a:lnTo>
                <a:lnTo>
                  <a:pt x="1450627" y="1183517"/>
                </a:lnTo>
                <a:cubicBezTo>
                  <a:pt x="1455353" y="1153914"/>
                  <a:pt x="1469530" y="1147401"/>
                  <a:pt x="1481345" y="1134968"/>
                </a:cubicBezTo>
                <a:lnTo>
                  <a:pt x="1482280" y="1123842"/>
                </a:lnTo>
                <a:lnTo>
                  <a:pt x="1483207" y="1143551"/>
                </a:lnTo>
                <a:cubicBezTo>
                  <a:pt x="1484165" y="1153771"/>
                  <a:pt x="1485787" y="1157622"/>
                  <a:pt x="1488736" y="1168287"/>
                </a:cubicBezTo>
                <a:cubicBezTo>
                  <a:pt x="1506428" y="1151698"/>
                  <a:pt x="1521762" y="1143403"/>
                  <a:pt x="1540044" y="1137479"/>
                </a:cubicBezTo>
                <a:cubicBezTo>
                  <a:pt x="1553608" y="1151105"/>
                  <a:pt x="1561275" y="1165324"/>
                  <a:pt x="1564813" y="1178951"/>
                </a:cubicBezTo>
                <a:cubicBezTo>
                  <a:pt x="1442735" y="1253009"/>
                  <a:pt x="1453351" y="1318773"/>
                  <a:pt x="1325375" y="1455632"/>
                </a:cubicBezTo>
                <a:cubicBezTo>
                  <a:pt x="1373145" y="1649960"/>
                  <a:pt x="1403222" y="1628631"/>
                  <a:pt x="1440966" y="1763713"/>
                </a:cubicBezTo>
                <a:cubicBezTo>
                  <a:pt x="1536505" y="1469258"/>
                  <a:pt x="1512326" y="1486440"/>
                  <a:pt x="1830200" y="1031427"/>
                </a:cubicBezTo>
                <a:cubicBezTo>
                  <a:pt x="1817816" y="1029650"/>
                  <a:pt x="1810149" y="1030243"/>
                  <a:pt x="1788918" y="1023725"/>
                </a:cubicBezTo>
                <a:lnTo>
                  <a:pt x="1697507" y="1104301"/>
                </a:lnTo>
                <a:lnTo>
                  <a:pt x="1672737" y="1185468"/>
                </a:lnTo>
                <a:cubicBezTo>
                  <a:pt x="1658583" y="1182506"/>
                  <a:pt x="1652686" y="1188430"/>
                  <a:pt x="1646199" y="1190208"/>
                </a:cubicBezTo>
                <a:lnTo>
                  <a:pt x="1645609" y="1212722"/>
                </a:lnTo>
                <a:cubicBezTo>
                  <a:pt x="1646788" y="1215684"/>
                  <a:pt x="1645609" y="1218646"/>
                  <a:pt x="1645019" y="1221016"/>
                </a:cubicBezTo>
                <a:lnTo>
                  <a:pt x="1591352" y="1297444"/>
                </a:lnTo>
                <a:lnTo>
                  <a:pt x="1610814" y="1217461"/>
                </a:lnTo>
                <a:lnTo>
                  <a:pt x="1614352" y="1057496"/>
                </a:lnTo>
                <a:cubicBezTo>
                  <a:pt x="1613173" y="1055126"/>
                  <a:pt x="1604326" y="1042092"/>
                  <a:pt x="1590172" y="1020763"/>
                </a:cubicBezTo>
                <a:lnTo>
                  <a:pt x="1534598" y="1045544"/>
                </a:lnTo>
                <a:lnTo>
                  <a:pt x="1537982" y="1043348"/>
                </a:lnTo>
                <a:cubicBezTo>
                  <a:pt x="1556369" y="1033135"/>
                  <a:pt x="1574091" y="1024846"/>
                  <a:pt x="1591222" y="1017741"/>
                </a:cubicBezTo>
                <a:lnTo>
                  <a:pt x="1591813" y="996427"/>
                </a:lnTo>
                <a:cubicBezTo>
                  <a:pt x="1554596" y="935446"/>
                  <a:pt x="1526832" y="876240"/>
                  <a:pt x="1533330" y="820587"/>
                </a:cubicBezTo>
                <a:cubicBezTo>
                  <a:pt x="1535102" y="799273"/>
                  <a:pt x="1544554" y="756645"/>
                  <a:pt x="1526241" y="732371"/>
                </a:cubicBezTo>
                <a:lnTo>
                  <a:pt x="1524469" y="716978"/>
                </a:lnTo>
                <a:cubicBezTo>
                  <a:pt x="1503793" y="574885"/>
                  <a:pt x="1543963" y="458842"/>
                  <a:pt x="1762536" y="412662"/>
                </a:cubicBezTo>
                <a:cubicBezTo>
                  <a:pt x="2040773" y="442265"/>
                  <a:pt x="2028958" y="548834"/>
                  <a:pt x="2034865" y="657180"/>
                </a:cubicBezTo>
                <a:cubicBezTo>
                  <a:pt x="2046680" y="678494"/>
                  <a:pt x="2058495" y="698624"/>
                  <a:pt x="2067947" y="722306"/>
                </a:cubicBezTo>
                <a:lnTo>
                  <a:pt x="2072673" y="772631"/>
                </a:lnTo>
                <a:lnTo>
                  <a:pt x="2057313" y="722306"/>
                </a:lnTo>
                <a:lnTo>
                  <a:pt x="2053178" y="768486"/>
                </a:lnTo>
                <a:cubicBezTo>
                  <a:pt x="2072673" y="845454"/>
                  <a:pt x="2072082" y="920052"/>
                  <a:pt x="2031912" y="989323"/>
                </a:cubicBezTo>
                <a:lnTo>
                  <a:pt x="2018325" y="1002348"/>
                </a:lnTo>
                <a:lnTo>
                  <a:pt x="2021278" y="1042016"/>
                </a:lnTo>
                <a:cubicBezTo>
                  <a:pt x="2066765" y="1062145"/>
                  <a:pt x="2081534" y="1062145"/>
                  <a:pt x="2098074" y="1080499"/>
                </a:cubicBezTo>
                <a:cubicBezTo>
                  <a:pt x="2127020" y="1112470"/>
                  <a:pt x="2173688" y="1126679"/>
                  <a:pt x="2202044" y="1191805"/>
                </a:cubicBezTo>
                <a:cubicBezTo>
                  <a:pt x="2223901" y="1260484"/>
                  <a:pt x="2180777" y="1378302"/>
                  <a:pt x="2203816" y="1435140"/>
                </a:cubicBezTo>
                <a:cubicBezTo>
                  <a:pt x="2170144" y="1582561"/>
                  <a:pt x="2201453" y="1573088"/>
                  <a:pt x="2194955" y="1661896"/>
                </a:cubicBezTo>
                <a:cubicBezTo>
                  <a:pt x="2180777" y="1712813"/>
                  <a:pt x="2173688" y="1720510"/>
                  <a:pt x="2178414" y="1764914"/>
                </a:cubicBezTo>
                <a:cubicBezTo>
                  <a:pt x="2163646" y="1864971"/>
                  <a:pt x="2193774" y="1850170"/>
                  <a:pt x="2196727" y="1927729"/>
                </a:cubicBezTo>
                <a:cubicBezTo>
                  <a:pt x="2198499" y="1942530"/>
                  <a:pt x="2197318" y="1951411"/>
                  <a:pt x="2190229" y="1962660"/>
                </a:cubicBezTo>
                <a:cubicBezTo>
                  <a:pt x="2143561" y="2036667"/>
                  <a:pt x="2129974" y="2039627"/>
                  <a:pt x="2113433" y="2049692"/>
                </a:cubicBezTo>
                <a:cubicBezTo>
                  <a:pt x="2105163" y="2056796"/>
                  <a:pt x="2099256" y="2056204"/>
                  <a:pt x="2089804" y="2055612"/>
                </a:cubicBezTo>
                <a:cubicBezTo>
                  <a:pt x="1987016" y="2043771"/>
                  <a:pt x="1960433" y="2044955"/>
                  <a:pt x="1926170" y="2044363"/>
                </a:cubicBezTo>
                <a:lnTo>
                  <a:pt x="1962796" y="2303091"/>
                </a:lnTo>
                <a:lnTo>
                  <a:pt x="1934440" y="2454657"/>
                </a:lnTo>
                <a:lnTo>
                  <a:pt x="1917900" y="2684374"/>
                </a:lnTo>
                <a:lnTo>
                  <a:pt x="1865324" y="2883896"/>
                </a:lnTo>
                <a:lnTo>
                  <a:pt x="1167073" y="2883896"/>
                </a:lnTo>
                <a:cubicBezTo>
                  <a:pt x="1165892" y="2801601"/>
                  <a:pt x="1217876" y="2466498"/>
                  <a:pt x="1240915" y="2271712"/>
                </a:cubicBezTo>
                <a:cubicBezTo>
                  <a:pt x="1242097" y="2260463"/>
                  <a:pt x="1217286" y="2265199"/>
                  <a:pt x="1218467" y="2255135"/>
                </a:cubicBezTo>
                <a:cubicBezTo>
                  <a:pt x="1224374" y="2200666"/>
                  <a:pt x="1239143" y="2221979"/>
                  <a:pt x="1246822" y="2143236"/>
                </a:cubicBezTo>
                <a:cubicBezTo>
                  <a:pt x="1248004" y="2131395"/>
                  <a:pt x="1209015" y="2157446"/>
                  <a:pt x="1207243" y="2156854"/>
                </a:cubicBezTo>
                <a:cubicBezTo>
                  <a:pt x="1196019" y="2149157"/>
                  <a:pt x="1192475" y="2127251"/>
                  <a:pt x="1190702" y="2107121"/>
                </a:cubicBezTo>
                <a:cubicBezTo>
                  <a:pt x="1190112" y="2100016"/>
                  <a:pt x="1174753" y="2101792"/>
                  <a:pt x="1175343" y="2107121"/>
                </a:cubicBezTo>
                <a:cubicBezTo>
                  <a:pt x="1185977" y="2170471"/>
                  <a:pt x="1184204" y="2415581"/>
                  <a:pt x="1164119" y="2600894"/>
                </a:cubicBezTo>
                <a:cubicBezTo>
                  <a:pt x="1162938" y="2621024"/>
                  <a:pt x="1141081" y="2619840"/>
                  <a:pt x="1140490" y="2639378"/>
                </a:cubicBezTo>
                <a:cubicBezTo>
                  <a:pt x="1136945" y="2756012"/>
                  <a:pt x="1120996" y="2797456"/>
                  <a:pt x="1108590" y="2884488"/>
                </a:cubicBezTo>
                <a:lnTo>
                  <a:pt x="220122" y="2882712"/>
                </a:lnTo>
                <a:cubicBezTo>
                  <a:pt x="231346" y="2775550"/>
                  <a:pt x="246705" y="2654179"/>
                  <a:pt x="260292" y="2571884"/>
                </a:cubicBezTo>
                <a:cubicBezTo>
                  <a:pt x="185859" y="2547609"/>
                  <a:pt x="142145" y="2469458"/>
                  <a:pt x="83662" y="2416765"/>
                </a:cubicBezTo>
                <a:cubicBezTo>
                  <a:pt x="191176" y="1980421"/>
                  <a:pt x="200037" y="1868523"/>
                  <a:pt x="331180" y="1677882"/>
                </a:cubicBezTo>
                <a:lnTo>
                  <a:pt x="317003" y="1655976"/>
                </a:lnTo>
                <a:cubicBezTo>
                  <a:pt x="-3177" y="1612164"/>
                  <a:pt x="21044" y="1489016"/>
                  <a:pt x="959" y="1463558"/>
                </a:cubicBezTo>
                <a:cubicBezTo>
                  <a:pt x="-4949" y="1395472"/>
                  <a:pt x="17499" y="1364093"/>
                  <a:pt x="39947" y="1331530"/>
                </a:cubicBezTo>
                <a:cubicBezTo>
                  <a:pt x="119697" y="1081091"/>
                  <a:pt x="249068" y="863215"/>
                  <a:pt x="386710" y="654220"/>
                </a:cubicBezTo>
                <a:cubicBezTo>
                  <a:pt x="419200" y="618697"/>
                  <a:pt x="589923" y="608040"/>
                  <a:pt x="720476" y="592646"/>
                </a:cubicBezTo>
                <a:cubicBezTo>
                  <a:pt x="757692" y="574885"/>
                  <a:pt x="785457" y="550611"/>
                  <a:pt x="809677" y="525152"/>
                </a:cubicBezTo>
                <a:lnTo>
                  <a:pt x="835670" y="526336"/>
                </a:lnTo>
                <a:lnTo>
                  <a:pt x="860481" y="491997"/>
                </a:lnTo>
                <a:cubicBezTo>
                  <a:pt x="871705" y="487853"/>
                  <a:pt x="883519" y="486077"/>
                  <a:pt x="895334" y="487261"/>
                </a:cubicBezTo>
                <a:cubicBezTo>
                  <a:pt x="903014" y="448777"/>
                  <a:pt x="901241" y="441081"/>
                  <a:pt x="901832" y="424503"/>
                </a:cubicBezTo>
                <a:cubicBezTo>
                  <a:pt x="867569" y="369442"/>
                  <a:pt x="878203" y="309644"/>
                  <a:pt x="905967" y="257544"/>
                </a:cubicBezTo>
                <a:cubicBezTo>
                  <a:pt x="937867" y="97689"/>
                  <a:pt x="973311" y="15986"/>
                  <a:pt x="1211378" y="0"/>
                </a:cubicBezTo>
                <a:close/>
              </a:path>
            </a:pathLst>
          </a:custGeom>
          <a:solidFill>
            <a:srgbClr val="00BAD5"/>
          </a:solidFill>
          <a:ln w="6350" cap="flat">
            <a:noFill/>
            <a:prstDash val="solid"/>
            <a:miter lim="800000"/>
            <a:headEnd/>
            <a:tailEnd/>
          </a:ln>
        </p:spPr>
        <p:txBody>
          <a:bodyPr vert="horz" wrap="square" lIns="91775" tIns="45887" rIns="91775" bIns="45887" numCol="1" anchor="t" anchorCtr="0" compatLnSpc="1">
            <a:prstTxWarp prst="textNoShape">
              <a:avLst/>
            </a:prstTxWarp>
            <a:noAutofit/>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58" name="4 Metin kutusu"/>
          <p:cNvSpPr txBox="1"/>
          <p:nvPr/>
        </p:nvSpPr>
        <p:spPr>
          <a:xfrm>
            <a:off x="95645" y="-4025"/>
            <a:ext cx="10849205"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3600" b="1" i="0" u="none" strike="noStrike" kern="1200" cap="none" spc="0" normalizeH="0" baseline="0" noProof="0" dirty="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rPr>
              <a:t>KOBİ TEKNOYATIRIM DESTEK PROGRAMI</a:t>
            </a:r>
          </a:p>
        </p:txBody>
      </p:sp>
      <p:sp>
        <p:nvSpPr>
          <p:cNvPr id="2" name="Slayt Numarası Yer Tutucusu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17BAC-AD27-4367-93BC-03BF7B01E6B3}" type="slidenum">
              <a:rPr kumimoji="0" lang="en-US" sz="1200" b="0" i="0" u="none" strike="noStrike" kern="1200" cap="none" spc="0" normalizeH="0" baseline="0" noProof="0" smtClean="0">
                <a:ln>
                  <a:noFill/>
                </a:ln>
                <a:solidFill>
                  <a:srgbClr val="445469">
                    <a:tint val="75000"/>
                  </a:srgbClr>
                </a:solidFill>
                <a:effectLst/>
                <a:uLnTx/>
                <a:uFillTx/>
                <a:latin typeface="Robo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srgbClr val="445469">
                  <a:tint val="75000"/>
                </a:srgbClr>
              </a:solidFill>
              <a:effectLst/>
              <a:uLnTx/>
              <a:uFillTx/>
              <a:latin typeface="Roboto Light"/>
              <a:ea typeface="+mn-ea"/>
              <a:cs typeface="+mn-cs"/>
            </a:endParaRPr>
          </a:p>
        </p:txBody>
      </p:sp>
    </p:spTree>
    <p:custDataLst>
      <p:tags r:id="rId1"/>
    </p:custDataLst>
    <p:extLst>
      <p:ext uri="{BB962C8B-B14F-4D97-AF65-F5344CB8AC3E}">
        <p14:creationId xmlns:p14="http://schemas.microsoft.com/office/powerpoint/2010/main" val="1376859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left)">
                                      <p:cBhvr>
                                        <p:cTn id="19" dur="500"/>
                                        <p:tgtEl>
                                          <p:spTgt spid="11"/>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wipe(left)">
                                      <p:cBhvr>
                                        <p:cTn id="23" dur="500"/>
                                        <p:tgtEl>
                                          <p:spTgt spid="12"/>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animBg="1"/>
      <p:bldP spid="11" grpId="0" animBg="1"/>
      <p:bldP spid="12" grpId="0" animBg="1"/>
      <p:bldP spid="1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5" name="Straight Connector 7"/>
          <p:cNvCxnSpPr/>
          <p:nvPr/>
        </p:nvCxnSpPr>
        <p:spPr>
          <a:xfrm>
            <a:off x="1945305" y="2077729"/>
            <a:ext cx="7663622"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102" name="4 Metin kutusu"/>
          <p:cNvSpPr txBox="1"/>
          <p:nvPr/>
        </p:nvSpPr>
        <p:spPr>
          <a:xfrm>
            <a:off x="1284970" y="672156"/>
            <a:ext cx="4503462" cy="400874"/>
          </a:xfrm>
          <a:prstGeom prst="rect">
            <a:avLst/>
          </a:prstGeom>
          <a:noFill/>
        </p:spPr>
        <p:txBody>
          <a:bodyPr wrap="square" lIns="62352" tIns="31176" rIns="62352" bIns="31176" rtlCol="0">
            <a:spAutoFit/>
          </a:bodyPr>
          <a:lstStyle/>
          <a:p>
            <a:pPr marL="0" marR="0" lvl="0" indent="0" algn="l" defTabSz="987698" rtl="0" eaLnBrk="1" fontAlgn="base" latinLnBrk="0" hangingPunct="1">
              <a:lnSpc>
                <a:spcPct val="100000"/>
              </a:lnSpc>
              <a:spcBef>
                <a:spcPct val="0"/>
              </a:spcBef>
              <a:spcAft>
                <a:spcPct val="0"/>
              </a:spcAft>
              <a:buClrTx/>
              <a:buSzTx/>
              <a:buFontTx/>
              <a:buNone/>
              <a:tabLst/>
              <a:defRPr/>
            </a:pPr>
            <a:r>
              <a:rPr kumimoji="0" lang="tr-TR" sz="2196" b="1" i="0" u="none" strike="noStrike" kern="1200" cap="none" spc="0" normalizeH="0" baseline="0" noProof="0" dirty="0">
                <a:ln>
                  <a:noFill/>
                </a:ln>
                <a:solidFill>
                  <a:srgbClr val="00BAD5"/>
                </a:solidFill>
                <a:effectLst/>
                <a:uLnTx/>
                <a:uFillTx/>
                <a:latin typeface="Calibri"/>
                <a:ea typeface="+mn-ea"/>
                <a:cs typeface="+mn-cs"/>
              </a:rPr>
              <a:t>KOBİ Teknoyatırım Destek Programı</a:t>
            </a:r>
          </a:p>
        </p:txBody>
      </p:sp>
      <p:pic>
        <p:nvPicPr>
          <p:cNvPr id="103" name="Picture 3"/>
          <p:cNvPicPr>
            <a:picLocks noChangeAspect="1" noChangeArrowheads="1"/>
          </p:cNvPicPr>
          <p:nvPr/>
        </p:nvPicPr>
        <p:blipFill>
          <a:blip r:embed="rId55" cstate="print"/>
          <a:srcRect/>
          <a:stretch>
            <a:fillRect/>
          </a:stretch>
        </p:blipFill>
        <p:spPr bwMode="auto">
          <a:xfrm>
            <a:off x="9958411" y="859686"/>
            <a:ext cx="581256" cy="409993"/>
          </a:xfrm>
          <a:prstGeom prst="rect">
            <a:avLst/>
          </a:prstGeom>
          <a:noFill/>
          <a:ln w="9525">
            <a:noFill/>
            <a:miter lim="800000"/>
            <a:headEnd/>
            <a:tailEnd/>
          </a:ln>
        </p:spPr>
      </p:pic>
      <p:grpSp>
        <p:nvGrpSpPr>
          <p:cNvPr id="106" name="Group 67"/>
          <p:cNvGrpSpPr>
            <a:grpSpLocks noChangeAspect="1"/>
          </p:cNvGrpSpPr>
          <p:nvPr/>
        </p:nvGrpSpPr>
        <p:grpSpPr>
          <a:xfrm>
            <a:off x="8698709" y="2078067"/>
            <a:ext cx="1714192" cy="1469890"/>
            <a:chOff x="9268877" y="1596791"/>
            <a:chExt cx="1005840" cy="1014737"/>
          </a:xfrm>
        </p:grpSpPr>
        <p:sp>
          <p:nvSpPr>
            <p:cNvPr id="254"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55"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108" name="Oval 107"/>
          <p:cNvSpPr>
            <a:spLocks noChangeAspect="1"/>
          </p:cNvSpPr>
          <p:nvPr/>
        </p:nvSpPr>
        <p:spPr>
          <a:xfrm>
            <a:off x="2674407" y="2005897"/>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20" name="Oval 119"/>
          <p:cNvSpPr>
            <a:spLocks noChangeAspect="1"/>
          </p:cNvSpPr>
          <p:nvPr/>
        </p:nvSpPr>
        <p:spPr>
          <a:xfrm>
            <a:off x="4897776" y="2005897"/>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21" name="Oval 120"/>
          <p:cNvSpPr>
            <a:spLocks noChangeAspect="1"/>
          </p:cNvSpPr>
          <p:nvPr/>
        </p:nvSpPr>
        <p:spPr>
          <a:xfrm>
            <a:off x="7026163" y="2005897"/>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dirty="0">
              <a:ln>
                <a:noFill/>
              </a:ln>
              <a:solidFill>
                <a:sysClr val="windowText" lastClr="000000"/>
              </a:solidFill>
              <a:effectLst/>
              <a:uLnTx/>
              <a:uFillTx/>
              <a:latin typeface="Calibri"/>
              <a:ea typeface="+mn-ea"/>
              <a:cs typeface="+mn-cs"/>
            </a:endParaRPr>
          </a:p>
        </p:txBody>
      </p:sp>
      <p:cxnSp>
        <p:nvCxnSpPr>
          <p:cNvPr id="122" name="Straight Connector 7"/>
          <p:cNvCxnSpPr/>
          <p:nvPr/>
        </p:nvCxnSpPr>
        <p:spPr>
          <a:xfrm>
            <a:off x="2209309" y="3544162"/>
            <a:ext cx="7339139" cy="5104"/>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3" name="Straight Connector 14"/>
          <p:cNvCxnSpPr/>
          <p:nvPr/>
        </p:nvCxnSpPr>
        <p:spPr>
          <a:xfrm flipV="1">
            <a:off x="2315968" y="5019155"/>
            <a:ext cx="7241219" cy="50"/>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4" name="TextBox 91"/>
          <p:cNvSpPr txBox="1"/>
          <p:nvPr/>
        </p:nvSpPr>
        <p:spPr>
          <a:xfrm>
            <a:off x="2333750" y="2129562"/>
            <a:ext cx="883575"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dirty="0">
                <a:ln>
                  <a:noFill/>
                </a:ln>
                <a:solidFill>
                  <a:srgbClr val="1F497D"/>
                </a:solidFill>
                <a:effectLst/>
                <a:uLnTx/>
                <a:uFillTx/>
                <a:latin typeface="Calibri"/>
                <a:ea typeface="+mn-ea"/>
                <a:cs typeface="+mn-cs"/>
              </a:rPr>
              <a:t>Başvuru</a:t>
            </a:r>
            <a:endParaRPr kumimoji="0" lang="en-US" sz="1620" b="1" i="0" u="none" strike="noStrike" kern="0" cap="none" spc="0" normalizeH="0" baseline="0" noProof="0" dirty="0">
              <a:ln>
                <a:noFill/>
              </a:ln>
              <a:solidFill>
                <a:srgbClr val="1F497D"/>
              </a:solidFill>
              <a:effectLst/>
              <a:uLnTx/>
              <a:uFillTx/>
              <a:latin typeface="Calibri"/>
              <a:ea typeface="+mn-ea"/>
              <a:cs typeface="+mn-cs"/>
            </a:endParaRPr>
          </a:p>
        </p:txBody>
      </p:sp>
      <p:sp>
        <p:nvSpPr>
          <p:cNvPr id="125" name="TextBox 92"/>
          <p:cNvSpPr txBox="1"/>
          <p:nvPr/>
        </p:nvSpPr>
        <p:spPr>
          <a:xfrm>
            <a:off x="3811649" y="2124981"/>
            <a:ext cx="2073003"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dirty="0">
                <a:ln>
                  <a:noFill/>
                </a:ln>
                <a:solidFill>
                  <a:srgbClr val="1F497D"/>
                </a:solidFill>
                <a:effectLst/>
                <a:uLnTx/>
                <a:uFillTx/>
                <a:latin typeface="Calibri"/>
                <a:ea typeface="+mn-ea"/>
                <a:cs typeface="+mn-cs"/>
              </a:rPr>
              <a:t>Başvurunun Kontrolü</a:t>
            </a:r>
            <a:r>
              <a:rPr kumimoji="0" lang="en-US" sz="1620" b="1" i="0" u="none" strike="noStrike" kern="0" cap="none" spc="0" normalizeH="0" baseline="0" noProof="0" dirty="0">
                <a:ln>
                  <a:noFill/>
                </a:ln>
                <a:solidFill>
                  <a:srgbClr val="1F497D"/>
                </a:solidFill>
                <a:effectLst/>
                <a:uLnTx/>
                <a:uFillTx/>
                <a:latin typeface="Calibri"/>
                <a:ea typeface="+mn-ea"/>
                <a:cs typeface="+mn-cs"/>
              </a:rPr>
              <a:t> </a:t>
            </a:r>
          </a:p>
        </p:txBody>
      </p:sp>
      <p:sp>
        <p:nvSpPr>
          <p:cNvPr id="127" name="TextBox 94"/>
          <p:cNvSpPr txBox="1"/>
          <p:nvPr/>
        </p:nvSpPr>
        <p:spPr>
          <a:xfrm>
            <a:off x="1378759" y="2359014"/>
            <a:ext cx="2650950" cy="690574"/>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296" b="0" i="0" u="none" strike="noStrike" kern="0" cap="none" spc="0" normalizeH="0" baseline="0" noProof="0" dirty="0">
                <a:ln>
                  <a:noFill/>
                </a:ln>
                <a:solidFill>
                  <a:srgbClr val="445469"/>
                </a:solidFill>
                <a:effectLst/>
                <a:uLnTx/>
                <a:uFillTx/>
                <a:latin typeface="Calibri"/>
                <a:ea typeface="+mn-ea"/>
                <a:cs typeface="+mn-cs"/>
              </a:rPr>
              <a:t>KOBİ </a:t>
            </a:r>
            <a:r>
              <a:rPr kumimoji="0" lang="en-US" sz="1296" b="0" i="0" u="none" strike="noStrike" kern="0" cap="none" spc="0" normalizeH="0" baseline="0" noProof="0" dirty="0" err="1">
                <a:ln>
                  <a:noFill/>
                </a:ln>
                <a:solidFill>
                  <a:srgbClr val="445469"/>
                </a:solidFill>
                <a:effectLst/>
                <a:uLnTx/>
                <a:uFillTx/>
                <a:latin typeface="Calibri"/>
                <a:ea typeface="+mn-ea"/>
                <a:cs typeface="+mn-cs"/>
              </a:rPr>
              <a:t>Bilgi</a:t>
            </a:r>
            <a:r>
              <a:rPr kumimoji="0" lang="en-US" sz="1296" b="0" i="0" u="none" strike="noStrike" kern="0" cap="none" spc="0" normalizeH="0" baseline="0" noProof="0" dirty="0">
                <a:ln>
                  <a:noFill/>
                </a:ln>
                <a:solidFill>
                  <a:srgbClr val="445469"/>
                </a:solidFill>
                <a:effectLst/>
                <a:uLnTx/>
                <a:uFillTx/>
                <a:latin typeface="Calibri"/>
                <a:ea typeface="+mn-ea"/>
                <a:cs typeface="+mn-cs"/>
              </a:rPr>
              <a:t> </a:t>
            </a:r>
            <a:r>
              <a:rPr kumimoji="0" lang="en-US" sz="1296" b="0" i="0" u="none" strike="noStrike" kern="0" cap="none" spc="0" normalizeH="0" baseline="0" noProof="0" dirty="0" err="1">
                <a:ln>
                  <a:noFill/>
                </a:ln>
                <a:solidFill>
                  <a:srgbClr val="445469"/>
                </a:solidFill>
                <a:effectLst/>
                <a:uLnTx/>
                <a:uFillTx/>
                <a:latin typeface="Calibri"/>
                <a:ea typeface="+mn-ea"/>
                <a:cs typeface="+mn-cs"/>
              </a:rPr>
              <a:t>Sistemi</a:t>
            </a:r>
            <a:r>
              <a:rPr kumimoji="0" lang="en-US" sz="1296" b="0" i="0" u="none" strike="noStrike" kern="0" cap="none" spc="0" normalizeH="0" baseline="0" noProof="0" dirty="0">
                <a:ln>
                  <a:noFill/>
                </a:ln>
                <a:solidFill>
                  <a:srgbClr val="445469"/>
                </a:solidFill>
                <a:effectLst/>
                <a:uLnTx/>
                <a:uFillTx/>
                <a:latin typeface="Calibri"/>
                <a:ea typeface="+mn-ea"/>
                <a:cs typeface="+mn-cs"/>
              </a:rPr>
              <a:t> </a:t>
            </a:r>
            <a:r>
              <a:rPr kumimoji="0" lang="en-US" sz="1296" b="0" i="0" u="none" strike="noStrike" kern="0" cap="none" spc="0" normalizeH="0" baseline="0" noProof="0" dirty="0" err="1">
                <a:ln>
                  <a:noFill/>
                </a:ln>
                <a:solidFill>
                  <a:srgbClr val="445469"/>
                </a:solidFill>
                <a:effectLst/>
                <a:uLnTx/>
                <a:uFillTx/>
                <a:latin typeface="Calibri"/>
                <a:ea typeface="+mn-ea"/>
                <a:cs typeface="+mn-cs"/>
              </a:rPr>
              <a:t>üzerinden</a:t>
            </a:r>
            <a:r>
              <a:rPr kumimoji="0" lang="en-US" sz="1296" b="0" i="0" u="none" strike="noStrike" kern="0" cap="none" spc="0" normalizeH="0" baseline="0" noProof="0" dirty="0">
                <a:ln>
                  <a:noFill/>
                </a:ln>
                <a:solidFill>
                  <a:srgbClr val="445469"/>
                </a:solidFill>
                <a:effectLst/>
                <a:uLnTx/>
                <a:uFillTx/>
                <a:latin typeface="Calibri"/>
                <a:ea typeface="+mn-ea"/>
                <a:cs typeface="+mn-cs"/>
              </a:rPr>
              <a:t>; </a:t>
            </a:r>
            <a:r>
              <a:rPr kumimoji="0" lang="en-US" sz="1296" b="0" i="0" u="none" strike="noStrike" kern="0" cap="none" spc="0" normalizeH="0" baseline="0" noProof="0" dirty="0" err="1">
                <a:ln>
                  <a:noFill/>
                </a:ln>
                <a:solidFill>
                  <a:srgbClr val="445469"/>
                </a:solidFill>
                <a:effectLst/>
                <a:uLnTx/>
                <a:uFillTx/>
                <a:latin typeface="Calibri"/>
                <a:ea typeface="+mn-ea"/>
                <a:cs typeface="+mn-cs"/>
              </a:rPr>
              <a:t>Uygulama</a:t>
            </a:r>
            <a:r>
              <a:rPr kumimoji="0" lang="en-US" sz="1296" b="0" i="0" u="none" strike="noStrike" kern="0" cap="none" spc="0" normalizeH="0" baseline="0" noProof="0" dirty="0">
                <a:ln>
                  <a:noFill/>
                </a:ln>
                <a:solidFill>
                  <a:srgbClr val="445469"/>
                </a:solidFill>
                <a:effectLst/>
                <a:uLnTx/>
                <a:uFillTx/>
                <a:latin typeface="Calibri"/>
                <a:ea typeface="+mn-ea"/>
                <a:cs typeface="+mn-cs"/>
              </a:rPr>
              <a:t> </a:t>
            </a:r>
            <a:r>
              <a:rPr kumimoji="0" lang="en-US" sz="1296" b="0" i="0" u="none" strike="noStrike" kern="0" cap="none" spc="0" normalizeH="0" baseline="0" noProof="0" dirty="0" err="1">
                <a:ln>
                  <a:noFill/>
                </a:ln>
                <a:solidFill>
                  <a:srgbClr val="445469"/>
                </a:solidFill>
                <a:effectLst/>
                <a:uLnTx/>
                <a:uFillTx/>
                <a:latin typeface="Calibri"/>
                <a:ea typeface="+mn-ea"/>
                <a:cs typeface="+mn-cs"/>
              </a:rPr>
              <a:t>Birimlerine</a:t>
            </a:r>
            <a:endParaRPr kumimoji="0" lang="tr-TR" sz="1296" b="0" i="0" u="none" strike="noStrike" kern="0" cap="none" spc="0" normalizeH="0" baseline="0" noProof="0" dirty="0">
              <a:ln>
                <a:noFill/>
              </a:ln>
              <a:solidFill>
                <a:srgbClr val="445469"/>
              </a:solidFill>
              <a:effectLst/>
              <a:uLnTx/>
              <a:uFillTx/>
              <a:latin typeface="Calibri"/>
              <a:ea typeface="+mn-ea"/>
              <a:cs typeface="+mn-cs"/>
            </a:endParaRPr>
          </a:p>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Sürekli açık program)</a:t>
            </a:r>
            <a:endPar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endParaRPr>
          </a:p>
        </p:txBody>
      </p:sp>
      <p:sp>
        <p:nvSpPr>
          <p:cNvPr id="128" name="TextBox 95"/>
          <p:cNvSpPr txBox="1"/>
          <p:nvPr/>
        </p:nvSpPr>
        <p:spPr>
          <a:xfrm>
            <a:off x="3632685" y="2391414"/>
            <a:ext cx="2350303" cy="889987"/>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srgbClr val="445469"/>
                </a:solidFill>
                <a:effectLst/>
                <a:uLnTx/>
                <a:uFillTx/>
                <a:latin typeface="Calibri"/>
                <a:ea typeface="+mn-ea"/>
                <a:cs typeface="+mn-cs"/>
              </a:rPr>
              <a:t>Değerlendirme için sevk, Düzeltme İstenmesi, Ret</a:t>
            </a:r>
          </a:p>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KOBİ Uzmanı: en geç 1 ay,</a:t>
            </a:r>
          </a:p>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KOBİ düzeltmesi: en geç 1 ay)</a:t>
            </a:r>
            <a:endPar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endParaRPr>
          </a:p>
        </p:txBody>
      </p:sp>
      <p:grpSp>
        <p:nvGrpSpPr>
          <p:cNvPr id="168" name="POWER_USER_ID_ICONS_Big_Idea"/>
          <p:cNvGrpSpPr>
            <a:grpSpLocks noChangeAspect="1"/>
          </p:cNvGrpSpPr>
          <p:nvPr>
            <p:custDataLst>
              <p:tags r:id="rId2"/>
            </p:custDataLst>
          </p:nvPr>
        </p:nvGrpSpPr>
        <p:grpSpPr bwMode="auto">
          <a:xfrm>
            <a:off x="2577747" y="1498290"/>
            <a:ext cx="412520" cy="369053"/>
            <a:chOff x="3544" y="-299"/>
            <a:chExt cx="4110" cy="4326"/>
          </a:xfrm>
          <a:solidFill>
            <a:schemeClr val="tx2"/>
          </a:solidFill>
        </p:grpSpPr>
        <p:sp>
          <p:nvSpPr>
            <p:cNvPr id="245" name="Freeform 1368"/>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6" name="Freeform 1369"/>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7" name="Freeform 1370"/>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8" name="Freeform 1371"/>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9" name="Freeform 1372"/>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0" name="Freeform 1373"/>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1" name="Freeform 1374"/>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2" name="Freeform 1375"/>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3" name="Freeform 1376"/>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71" name="POWER_USER_ID_ICONS_Crossroads"/>
          <p:cNvSpPr>
            <a:spLocks noChangeAspect="1"/>
          </p:cNvSpPr>
          <p:nvPr>
            <p:custDataLst>
              <p:tags r:id="rId3"/>
            </p:custDataLst>
          </p:nvPr>
        </p:nvSpPr>
        <p:spPr bwMode="auto">
          <a:xfrm>
            <a:off x="4796333" y="1501293"/>
            <a:ext cx="463331" cy="428710"/>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tx2"/>
          </a:solidFill>
          <a:ln>
            <a:noFill/>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173" name="POWER_USER_ID_ICONS_Cup"/>
          <p:cNvGrpSpPr>
            <a:grpSpLocks noChangeAspect="1"/>
          </p:cNvGrpSpPr>
          <p:nvPr>
            <p:custDataLst>
              <p:tags r:id="rId4"/>
            </p:custDataLst>
          </p:nvPr>
        </p:nvGrpSpPr>
        <p:grpSpPr bwMode="auto">
          <a:xfrm>
            <a:off x="9747871" y="4881387"/>
            <a:ext cx="652303" cy="598411"/>
            <a:chOff x="69" y="56"/>
            <a:chExt cx="353" cy="381"/>
          </a:xfrm>
          <a:solidFill>
            <a:schemeClr val="tx2"/>
          </a:solidFill>
        </p:grpSpPr>
        <p:sp>
          <p:nvSpPr>
            <p:cNvPr id="240" name="POWER_USER_ID_ICONS_Cup"/>
            <p:cNvSpPr>
              <a:spLocks/>
            </p:cNvSpPr>
            <p:nvPr>
              <p:custDataLst>
                <p:tags r:id="rId49"/>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1" name="POWER_USER_ID_ICONS_Cup"/>
            <p:cNvSpPr>
              <a:spLocks/>
            </p:cNvSpPr>
            <p:nvPr>
              <p:custDataLst>
                <p:tags r:id="rId50"/>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2" name="POWER_USER_ID_ICONS_Cup"/>
            <p:cNvSpPr>
              <a:spLocks/>
            </p:cNvSpPr>
            <p:nvPr>
              <p:custDataLst>
                <p:tags r:id="rId51"/>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3" name="POWER_USER_ID_ICONS_Cup"/>
            <p:cNvSpPr>
              <a:spLocks/>
            </p:cNvSpPr>
            <p:nvPr>
              <p:custDataLst>
                <p:tags r:id="rId52"/>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4" name="POWER_USER_ID_ICONS_Cup"/>
            <p:cNvSpPr>
              <a:spLocks/>
            </p:cNvSpPr>
            <p:nvPr>
              <p:custDataLst>
                <p:tags r:id="rId53"/>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177" name="POWER_USER_ID_ICONS_Flag5"/>
          <p:cNvGrpSpPr>
            <a:grpSpLocks noChangeAspect="1"/>
          </p:cNvGrpSpPr>
          <p:nvPr>
            <p:custDataLst>
              <p:tags r:id="rId5"/>
            </p:custDataLst>
          </p:nvPr>
        </p:nvGrpSpPr>
        <p:grpSpPr bwMode="auto">
          <a:xfrm>
            <a:off x="1363842" y="1670255"/>
            <a:ext cx="422239" cy="462263"/>
            <a:chOff x="8" y="5"/>
            <a:chExt cx="368" cy="474"/>
          </a:xfrm>
          <a:solidFill>
            <a:schemeClr val="tx2"/>
          </a:solidFill>
        </p:grpSpPr>
        <p:sp>
          <p:nvSpPr>
            <p:cNvPr id="226" name="POWER_USER_ID_ICONS_Flag5"/>
            <p:cNvSpPr>
              <a:spLocks/>
            </p:cNvSpPr>
            <p:nvPr>
              <p:custDataLst>
                <p:tags r:id="rId35"/>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7" name="POWER_USER_ID_ICONS_Flag5"/>
            <p:cNvSpPr>
              <a:spLocks noChangeArrowheads="1"/>
            </p:cNvSpPr>
            <p:nvPr>
              <p:custDataLst>
                <p:tags r:id="rId36"/>
              </p:custDataLst>
            </p:nvPr>
          </p:nvSpPr>
          <p:spPr bwMode="auto">
            <a:xfrm>
              <a:off x="34" y="26"/>
              <a:ext cx="55"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8" name="POWER_USER_ID_ICONS_Flag5"/>
            <p:cNvSpPr>
              <a:spLocks noChangeArrowheads="1"/>
            </p:cNvSpPr>
            <p:nvPr>
              <p:custDataLst>
                <p:tags r:id="rId37"/>
              </p:custDataLst>
            </p:nvPr>
          </p:nvSpPr>
          <p:spPr bwMode="auto">
            <a:xfrm>
              <a:off x="88" y="81"/>
              <a:ext cx="56"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9" name="POWER_USER_ID_ICONS_Flag5"/>
            <p:cNvSpPr>
              <a:spLocks noChangeArrowheads="1"/>
            </p:cNvSpPr>
            <p:nvPr>
              <p:custDataLst>
                <p:tags r:id="rId38"/>
              </p:custDataLst>
            </p:nvPr>
          </p:nvSpPr>
          <p:spPr bwMode="auto">
            <a:xfrm>
              <a:off x="34" y="136"/>
              <a:ext cx="55"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0" name="POWER_USER_ID_ICONS_Flag5"/>
            <p:cNvSpPr>
              <a:spLocks noChangeArrowheads="1"/>
            </p:cNvSpPr>
            <p:nvPr>
              <p:custDataLst>
                <p:tags r:id="rId39"/>
              </p:custDataLst>
            </p:nvPr>
          </p:nvSpPr>
          <p:spPr bwMode="auto">
            <a:xfrm>
              <a:off x="88" y="191"/>
              <a:ext cx="56"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1" name="POWER_USER_ID_ICONS_Flag5"/>
            <p:cNvSpPr>
              <a:spLocks noChangeArrowheads="1"/>
            </p:cNvSpPr>
            <p:nvPr>
              <p:custDataLst>
                <p:tags r:id="rId40"/>
              </p:custDataLst>
            </p:nvPr>
          </p:nvSpPr>
          <p:spPr bwMode="auto">
            <a:xfrm>
              <a:off x="144" y="26"/>
              <a:ext cx="54"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2" name="POWER_USER_ID_ICONS_Flag5"/>
            <p:cNvSpPr>
              <a:spLocks noChangeArrowheads="1"/>
            </p:cNvSpPr>
            <p:nvPr>
              <p:custDataLst>
                <p:tags r:id="rId41"/>
              </p:custDataLst>
            </p:nvPr>
          </p:nvSpPr>
          <p:spPr bwMode="auto">
            <a:xfrm>
              <a:off x="198" y="81"/>
              <a:ext cx="55"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3" name="POWER_USER_ID_ICONS_Flag5"/>
            <p:cNvSpPr>
              <a:spLocks noChangeArrowheads="1"/>
            </p:cNvSpPr>
            <p:nvPr>
              <p:custDataLst>
                <p:tags r:id="rId42"/>
              </p:custDataLst>
            </p:nvPr>
          </p:nvSpPr>
          <p:spPr bwMode="auto">
            <a:xfrm>
              <a:off x="144" y="136"/>
              <a:ext cx="54"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4" name="POWER_USER_ID_ICONS_Flag5"/>
            <p:cNvSpPr>
              <a:spLocks noChangeArrowheads="1"/>
            </p:cNvSpPr>
            <p:nvPr>
              <p:custDataLst>
                <p:tags r:id="rId43"/>
              </p:custDataLst>
            </p:nvPr>
          </p:nvSpPr>
          <p:spPr bwMode="auto">
            <a:xfrm>
              <a:off x="198" y="191"/>
              <a:ext cx="55"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5" name="POWER_USER_ID_ICONS_Flag5"/>
            <p:cNvSpPr>
              <a:spLocks noChangeArrowheads="1"/>
            </p:cNvSpPr>
            <p:nvPr>
              <p:custDataLst>
                <p:tags r:id="rId44"/>
              </p:custDataLst>
            </p:nvPr>
          </p:nvSpPr>
          <p:spPr bwMode="auto">
            <a:xfrm>
              <a:off x="253" y="26"/>
              <a:ext cx="56"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6" name="POWER_USER_ID_ICONS_Flag5"/>
            <p:cNvSpPr>
              <a:spLocks noChangeArrowheads="1"/>
            </p:cNvSpPr>
            <p:nvPr>
              <p:custDataLst>
                <p:tags r:id="rId45"/>
              </p:custDataLst>
            </p:nvPr>
          </p:nvSpPr>
          <p:spPr bwMode="auto">
            <a:xfrm>
              <a:off x="309" y="81"/>
              <a:ext cx="54"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7" name="POWER_USER_ID_ICONS_Flag5"/>
            <p:cNvSpPr>
              <a:spLocks noChangeArrowheads="1"/>
            </p:cNvSpPr>
            <p:nvPr>
              <p:custDataLst>
                <p:tags r:id="rId46"/>
              </p:custDataLst>
            </p:nvPr>
          </p:nvSpPr>
          <p:spPr bwMode="auto">
            <a:xfrm>
              <a:off x="253" y="136"/>
              <a:ext cx="56"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8" name="POWER_USER_ID_ICONS_Flag5"/>
            <p:cNvSpPr>
              <a:spLocks noChangeArrowheads="1"/>
            </p:cNvSpPr>
            <p:nvPr>
              <p:custDataLst>
                <p:tags r:id="rId47"/>
              </p:custDataLst>
            </p:nvPr>
          </p:nvSpPr>
          <p:spPr bwMode="auto">
            <a:xfrm>
              <a:off x="309" y="191"/>
              <a:ext cx="54" cy="56"/>
            </a:xfrm>
            <a:prstGeom prst="rect">
              <a:avLst/>
            </a:prstGeom>
            <a:grpFill/>
            <a:ln w="0">
              <a:noFill/>
              <a:prstDash val="solid"/>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9" name="POWER_USER_ID_ICONS_Flag5"/>
            <p:cNvSpPr>
              <a:spLocks noEditPoints="1"/>
            </p:cNvSpPr>
            <p:nvPr>
              <p:custDataLst>
                <p:tags r:id="rId48"/>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178" name="Group 154"/>
          <p:cNvGrpSpPr>
            <a:grpSpLocks noChangeAspect="1"/>
          </p:cNvGrpSpPr>
          <p:nvPr/>
        </p:nvGrpSpPr>
        <p:grpSpPr>
          <a:xfrm rot="10800000">
            <a:off x="1492089" y="3549314"/>
            <a:ext cx="1714192" cy="1469890"/>
            <a:chOff x="9268877" y="1596791"/>
            <a:chExt cx="1005840" cy="1014737"/>
          </a:xfrm>
        </p:grpSpPr>
        <p:sp>
          <p:nvSpPr>
            <p:cNvPr id="224"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5" name="Arc 156"/>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79" name="Oval 178"/>
          <p:cNvSpPr>
            <a:spLocks noChangeAspect="1"/>
          </p:cNvSpPr>
          <p:nvPr/>
        </p:nvSpPr>
        <p:spPr>
          <a:xfrm>
            <a:off x="3195819" y="4943325"/>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0" name="Oval 179"/>
          <p:cNvSpPr>
            <a:spLocks noChangeAspect="1"/>
          </p:cNvSpPr>
          <p:nvPr/>
        </p:nvSpPr>
        <p:spPr>
          <a:xfrm>
            <a:off x="4748227" y="3462805"/>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1" name="Oval 180"/>
          <p:cNvSpPr>
            <a:spLocks noChangeAspect="1"/>
          </p:cNvSpPr>
          <p:nvPr/>
        </p:nvSpPr>
        <p:spPr>
          <a:xfrm>
            <a:off x="6770361" y="3457599"/>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4" name="TextBox 160"/>
          <p:cNvSpPr txBox="1"/>
          <p:nvPr/>
        </p:nvSpPr>
        <p:spPr>
          <a:xfrm>
            <a:off x="6410756" y="3620916"/>
            <a:ext cx="853119"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620" b="1" i="0" u="none" strike="noStrike" kern="0" cap="none" spc="0" normalizeH="0" baseline="0" noProof="0">
                <a:ln>
                  <a:noFill/>
                </a:ln>
                <a:solidFill>
                  <a:srgbClr val="1F497D"/>
                </a:solidFill>
                <a:effectLst/>
                <a:uLnTx/>
                <a:uFillTx/>
                <a:latin typeface="Calibri"/>
                <a:ea typeface="+mn-ea"/>
                <a:cs typeface="+mn-cs"/>
              </a:rPr>
              <a:t>K</a:t>
            </a:r>
            <a:r>
              <a:rPr kumimoji="0" lang="tr-TR" sz="1620" b="1" i="0" u="none" strike="noStrike" kern="0" cap="none" spc="0" normalizeH="0" baseline="0" noProof="0">
                <a:ln>
                  <a:noFill/>
                </a:ln>
                <a:solidFill>
                  <a:srgbClr val="1F497D"/>
                </a:solidFill>
                <a:effectLst/>
                <a:uLnTx/>
                <a:uFillTx/>
                <a:latin typeface="Calibri"/>
                <a:ea typeface="+mn-ea"/>
                <a:cs typeface="+mn-cs"/>
              </a:rPr>
              <a:t>omite</a:t>
            </a:r>
            <a:r>
              <a:rPr kumimoji="0" lang="en-US" sz="1620" b="1" i="0" u="none" strike="noStrike" kern="0" cap="none" spc="0" normalizeH="0" baseline="0" noProof="0">
                <a:ln>
                  <a:noFill/>
                </a:ln>
                <a:solidFill>
                  <a:srgbClr val="1F497D"/>
                </a:solidFill>
                <a:effectLst/>
                <a:uLnTx/>
                <a:uFillTx/>
                <a:latin typeface="Calibri"/>
                <a:ea typeface="+mn-ea"/>
                <a:cs typeface="+mn-cs"/>
              </a:rPr>
              <a:t> </a:t>
            </a:r>
          </a:p>
        </p:txBody>
      </p:sp>
      <p:sp>
        <p:nvSpPr>
          <p:cNvPr id="185" name="TextBox 161"/>
          <p:cNvSpPr txBox="1"/>
          <p:nvPr/>
        </p:nvSpPr>
        <p:spPr>
          <a:xfrm>
            <a:off x="3749074" y="3645174"/>
            <a:ext cx="2348720"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a:ln>
                  <a:noFill/>
                </a:ln>
                <a:solidFill>
                  <a:srgbClr val="1F497D"/>
                </a:solidFill>
                <a:effectLst/>
                <a:uLnTx/>
                <a:uFillTx/>
                <a:latin typeface="Calibri"/>
                <a:ea typeface="+mn-ea"/>
                <a:cs typeface="+mn-cs"/>
              </a:rPr>
              <a:t>Faaliyetlerin Yürütülmesi</a:t>
            </a:r>
            <a:endParaRPr kumimoji="0" lang="en-US" sz="1620" b="1" i="0" u="none" strike="noStrike" kern="0" cap="none" spc="0" normalizeH="0" baseline="0" noProof="0">
              <a:ln>
                <a:noFill/>
              </a:ln>
              <a:solidFill>
                <a:srgbClr val="1F497D"/>
              </a:solidFill>
              <a:effectLst/>
              <a:uLnTx/>
              <a:uFillTx/>
              <a:latin typeface="Calibri"/>
              <a:ea typeface="+mn-ea"/>
              <a:cs typeface="+mn-cs"/>
            </a:endParaRPr>
          </a:p>
        </p:txBody>
      </p:sp>
      <p:sp>
        <p:nvSpPr>
          <p:cNvPr id="186" name="TextBox 164"/>
          <p:cNvSpPr txBox="1"/>
          <p:nvPr/>
        </p:nvSpPr>
        <p:spPr>
          <a:xfrm>
            <a:off x="2846178" y="5156434"/>
            <a:ext cx="861133"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620" b="1" i="0" u="none" strike="noStrike" kern="0" cap="none" spc="0" normalizeH="0" baseline="0" noProof="0">
                <a:ln>
                  <a:noFill/>
                </a:ln>
                <a:solidFill>
                  <a:srgbClr val="1F497D"/>
                </a:solidFill>
                <a:effectLst/>
                <a:uLnTx/>
                <a:uFillTx/>
                <a:latin typeface="Calibri"/>
                <a:ea typeface="+mn-ea"/>
                <a:cs typeface="+mn-cs"/>
              </a:rPr>
              <a:t>Ödeme </a:t>
            </a:r>
          </a:p>
        </p:txBody>
      </p:sp>
      <p:sp>
        <p:nvSpPr>
          <p:cNvPr id="205" name="Oval 204"/>
          <p:cNvSpPr>
            <a:spLocks noChangeAspect="1"/>
          </p:cNvSpPr>
          <p:nvPr/>
        </p:nvSpPr>
        <p:spPr>
          <a:xfrm>
            <a:off x="5351235" y="4937796"/>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6" name="Oval 205"/>
          <p:cNvSpPr>
            <a:spLocks noChangeAspect="1"/>
          </p:cNvSpPr>
          <p:nvPr/>
        </p:nvSpPr>
        <p:spPr>
          <a:xfrm>
            <a:off x="8007157" y="4911084"/>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7" name="TextBox 169"/>
          <p:cNvSpPr txBox="1"/>
          <p:nvPr/>
        </p:nvSpPr>
        <p:spPr>
          <a:xfrm>
            <a:off x="4376167" y="5127268"/>
            <a:ext cx="2276585"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a:ln>
                  <a:noFill/>
                </a:ln>
                <a:solidFill>
                  <a:srgbClr val="1F497D"/>
                </a:solidFill>
                <a:effectLst/>
                <a:uLnTx/>
                <a:uFillTx/>
                <a:latin typeface="Calibri"/>
                <a:ea typeface="+mn-ea"/>
                <a:cs typeface="+mn-cs"/>
              </a:rPr>
              <a:t>Projenin Tamamlanması</a:t>
            </a:r>
            <a:endParaRPr kumimoji="0" lang="en-US" sz="1620" b="1" i="0" u="none" strike="noStrike" kern="0" cap="none" spc="0" normalizeH="0" baseline="0" noProof="0">
              <a:ln>
                <a:noFill/>
              </a:ln>
              <a:solidFill>
                <a:srgbClr val="1F497D"/>
              </a:solidFill>
              <a:effectLst/>
              <a:uLnTx/>
              <a:uFillTx/>
              <a:latin typeface="Calibri"/>
              <a:ea typeface="+mn-ea"/>
              <a:cs typeface="+mn-cs"/>
            </a:endParaRPr>
          </a:p>
        </p:txBody>
      </p:sp>
      <p:sp>
        <p:nvSpPr>
          <p:cNvPr id="208" name="TextBox 171"/>
          <p:cNvSpPr txBox="1"/>
          <p:nvPr/>
        </p:nvSpPr>
        <p:spPr>
          <a:xfrm>
            <a:off x="3982906" y="5436127"/>
            <a:ext cx="2978713" cy="291747"/>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296" b="1" i="0" u="none" strike="noStrike" kern="0" cap="none" spc="0" normalizeH="0" baseline="0" noProof="0" dirty="0">
                <a:ln>
                  <a:noFill/>
                </a:ln>
                <a:solidFill>
                  <a:srgbClr val="445469"/>
                </a:solidFill>
                <a:effectLst/>
                <a:uLnTx/>
                <a:uFillTx/>
                <a:latin typeface="Calibri"/>
                <a:ea typeface="+mn-ea"/>
                <a:cs typeface="+mn-cs"/>
              </a:rPr>
              <a:t>Yatırım </a:t>
            </a:r>
            <a:r>
              <a:rPr kumimoji="0" lang="en-US" sz="1296" b="1" i="0" u="none" strike="noStrike" kern="0" cap="none" spc="0" normalizeH="0" baseline="0" noProof="0" dirty="0" err="1">
                <a:ln>
                  <a:noFill/>
                </a:ln>
                <a:solidFill>
                  <a:srgbClr val="445469"/>
                </a:solidFill>
                <a:effectLst/>
                <a:uLnTx/>
                <a:uFillTx/>
                <a:latin typeface="Calibri"/>
                <a:ea typeface="+mn-ea"/>
                <a:cs typeface="+mn-cs"/>
              </a:rPr>
              <a:t>projesin</a:t>
            </a:r>
            <a:r>
              <a:rPr kumimoji="0" lang="tr-TR" sz="1296" b="1" i="0" u="none" strike="noStrike" kern="0" cap="none" spc="0" normalizeH="0" baseline="0" noProof="0" dirty="0">
                <a:ln>
                  <a:noFill/>
                </a:ln>
                <a:solidFill>
                  <a:srgbClr val="445469"/>
                </a:solidFill>
                <a:effectLst/>
                <a:uLnTx/>
                <a:uFillTx/>
                <a:latin typeface="Calibri"/>
                <a:ea typeface="+mn-ea"/>
                <a:cs typeface="+mn-cs"/>
              </a:rPr>
              <a:t>in</a:t>
            </a:r>
            <a:r>
              <a:rPr kumimoji="0" lang="en-US" sz="1296" b="1" i="0" u="none" strike="noStrike" kern="0" cap="none" spc="0" normalizeH="0" baseline="0" noProof="0" dirty="0">
                <a:ln>
                  <a:noFill/>
                </a:ln>
                <a:solidFill>
                  <a:srgbClr val="445469"/>
                </a:solidFill>
                <a:effectLst/>
                <a:uLnTx/>
                <a:uFillTx/>
                <a:latin typeface="Calibri"/>
                <a:ea typeface="+mn-ea"/>
                <a:cs typeface="+mn-cs"/>
              </a:rPr>
              <a:t> </a:t>
            </a:r>
            <a:r>
              <a:rPr kumimoji="0" lang="en-US" sz="1296" b="1" i="0" u="none" strike="noStrike" kern="0" cap="none" spc="0" normalizeH="0" baseline="0" noProof="0" dirty="0" err="1">
                <a:ln>
                  <a:noFill/>
                </a:ln>
                <a:solidFill>
                  <a:srgbClr val="445469"/>
                </a:solidFill>
                <a:effectLst/>
                <a:uLnTx/>
                <a:uFillTx/>
                <a:latin typeface="Calibri"/>
                <a:ea typeface="+mn-ea"/>
                <a:cs typeface="+mn-cs"/>
              </a:rPr>
              <a:t>tamamlanması</a:t>
            </a:r>
            <a:endParaRPr kumimoji="0" lang="en-US" sz="1296" b="1" i="0" u="none" strike="noStrike" kern="0" cap="none" spc="0" normalizeH="0" baseline="0" noProof="0" dirty="0">
              <a:ln>
                <a:noFill/>
              </a:ln>
              <a:solidFill>
                <a:srgbClr val="445469"/>
              </a:solidFill>
              <a:effectLst/>
              <a:uLnTx/>
              <a:uFillTx/>
              <a:latin typeface="Calibri"/>
              <a:ea typeface="+mn-ea"/>
              <a:cs typeface="+mn-cs"/>
            </a:endParaRPr>
          </a:p>
        </p:txBody>
      </p:sp>
      <p:sp>
        <p:nvSpPr>
          <p:cNvPr id="209" name="TextBox 173"/>
          <p:cNvSpPr txBox="1"/>
          <p:nvPr/>
        </p:nvSpPr>
        <p:spPr>
          <a:xfrm>
            <a:off x="7340950" y="5087831"/>
            <a:ext cx="1774845"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a:ln>
                  <a:noFill/>
                </a:ln>
                <a:solidFill>
                  <a:srgbClr val="1F497D"/>
                </a:solidFill>
                <a:effectLst/>
                <a:uLnTx/>
                <a:uFillTx/>
                <a:latin typeface="Calibri"/>
                <a:ea typeface="+mn-ea"/>
                <a:cs typeface="+mn-cs"/>
              </a:rPr>
              <a:t>Projenin İzlenmesi</a:t>
            </a:r>
            <a:endParaRPr kumimoji="0" lang="en-US" sz="1620" b="1" i="0" u="none" strike="noStrike" kern="0" cap="none" spc="0" normalizeH="0" baseline="0" noProof="0">
              <a:ln>
                <a:noFill/>
              </a:ln>
              <a:solidFill>
                <a:srgbClr val="1F497D"/>
              </a:solidFill>
              <a:effectLst/>
              <a:uLnTx/>
              <a:uFillTx/>
              <a:latin typeface="Calibri"/>
              <a:ea typeface="+mn-ea"/>
              <a:cs typeface="+mn-cs"/>
            </a:endParaRPr>
          </a:p>
        </p:txBody>
      </p:sp>
      <p:sp>
        <p:nvSpPr>
          <p:cNvPr id="210" name="TextBox 174"/>
          <p:cNvSpPr txBox="1"/>
          <p:nvPr/>
        </p:nvSpPr>
        <p:spPr>
          <a:xfrm>
            <a:off x="6685038" y="5362102"/>
            <a:ext cx="3037177" cy="291747"/>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1" i="0" u="none" strike="noStrike" kern="0" cap="none" spc="0" normalizeH="0" baseline="0" noProof="0" dirty="0">
                <a:ln>
                  <a:noFill/>
                </a:ln>
                <a:solidFill>
                  <a:srgbClr val="445469"/>
                </a:solidFill>
                <a:effectLst/>
                <a:uLnTx/>
                <a:uFillTx/>
                <a:latin typeface="Calibri"/>
                <a:ea typeface="+mn-ea"/>
                <a:cs typeface="+mn-cs"/>
              </a:rPr>
              <a:t>3</a:t>
            </a:r>
            <a:r>
              <a:rPr kumimoji="0" lang="en-US" sz="1296" b="1" i="0" u="none" strike="noStrike" kern="0" cap="none" spc="0" normalizeH="0" baseline="0" noProof="0" dirty="0">
                <a:ln>
                  <a:noFill/>
                </a:ln>
                <a:solidFill>
                  <a:srgbClr val="445469"/>
                </a:solidFill>
                <a:effectLst/>
                <a:uLnTx/>
                <a:uFillTx/>
                <a:latin typeface="Calibri"/>
                <a:ea typeface="+mn-ea"/>
                <a:cs typeface="+mn-cs"/>
              </a:rPr>
              <a:t> </a:t>
            </a:r>
            <a:r>
              <a:rPr kumimoji="0" lang="en-US" sz="1296" b="1" i="0" u="none" strike="noStrike" kern="0" cap="none" spc="0" normalizeH="0" baseline="0" noProof="0" dirty="0" err="1">
                <a:ln>
                  <a:noFill/>
                </a:ln>
                <a:solidFill>
                  <a:srgbClr val="445469"/>
                </a:solidFill>
                <a:effectLst/>
                <a:uLnTx/>
                <a:uFillTx/>
                <a:latin typeface="Calibri"/>
                <a:ea typeface="+mn-ea"/>
                <a:cs typeface="+mn-cs"/>
              </a:rPr>
              <a:t>yıl</a:t>
            </a:r>
            <a:r>
              <a:rPr kumimoji="0" lang="en-US" sz="1296" b="1" i="0" u="none" strike="noStrike" kern="0" cap="none" spc="0" normalizeH="0" baseline="0" noProof="0" dirty="0">
                <a:ln>
                  <a:noFill/>
                </a:ln>
                <a:solidFill>
                  <a:srgbClr val="445469"/>
                </a:solidFill>
                <a:effectLst/>
                <a:uLnTx/>
                <a:uFillTx/>
                <a:latin typeface="Calibri"/>
                <a:ea typeface="+mn-ea"/>
                <a:cs typeface="+mn-cs"/>
              </a:rPr>
              <a:t> </a:t>
            </a:r>
            <a:r>
              <a:rPr kumimoji="0" lang="en-US" sz="1296" b="1" i="0" u="none" strike="noStrike" kern="0" cap="none" spc="0" normalizeH="0" baseline="0" noProof="0" dirty="0" err="1">
                <a:ln>
                  <a:noFill/>
                </a:ln>
                <a:solidFill>
                  <a:srgbClr val="445469"/>
                </a:solidFill>
                <a:effectLst/>
                <a:uLnTx/>
                <a:uFillTx/>
                <a:latin typeface="Calibri"/>
                <a:ea typeface="+mn-ea"/>
                <a:cs typeface="+mn-cs"/>
              </a:rPr>
              <a:t>boyunca</a:t>
            </a:r>
            <a:r>
              <a:rPr kumimoji="0" lang="en-US" sz="1296" b="1" i="0" u="none" strike="noStrike" kern="0" cap="none" spc="0" normalizeH="0" baseline="0" noProof="0" dirty="0">
                <a:ln>
                  <a:noFill/>
                </a:ln>
                <a:solidFill>
                  <a:srgbClr val="445469"/>
                </a:solidFill>
                <a:effectLst/>
                <a:uLnTx/>
                <a:uFillTx/>
                <a:latin typeface="Calibri"/>
                <a:ea typeface="+mn-ea"/>
                <a:cs typeface="+mn-cs"/>
              </a:rPr>
              <a:t> </a:t>
            </a:r>
            <a:r>
              <a:rPr kumimoji="0" lang="en-US" sz="1296" b="1" i="0" u="none" strike="noStrike" kern="0" cap="none" spc="0" normalizeH="0" baseline="0" noProof="0" dirty="0" err="1">
                <a:ln>
                  <a:noFill/>
                </a:ln>
                <a:solidFill>
                  <a:srgbClr val="445469"/>
                </a:solidFill>
                <a:effectLst/>
                <a:uLnTx/>
                <a:uFillTx/>
                <a:latin typeface="Calibri"/>
                <a:ea typeface="+mn-ea"/>
                <a:cs typeface="+mn-cs"/>
              </a:rPr>
              <a:t>işletmenin</a:t>
            </a:r>
            <a:r>
              <a:rPr kumimoji="0" lang="en-US" sz="1296" b="1" i="0" u="none" strike="noStrike" kern="0" cap="none" spc="0" normalizeH="0" baseline="0" noProof="0" dirty="0">
                <a:ln>
                  <a:noFill/>
                </a:ln>
                <a:solidFill>
                  <a:srgbClr val="445469"/>
                </a:solidFill>
                <a:effectLst/>
                <a:uLnTx/>
                <a:uFillTx/>
                <a:latin typeface="Calibri"/>
                <a:ea typeface="+mn-ea"/>
                <a:cs typeface="+mn-cs"/>
              </a:rPr>
              <a:t> her </a:t>
            </a:r>
            <a:r>
              <a:rPr kumimoji="0" lang="en-US" sz="1296" b="1" i="0" u="none" strike="noStrike" kern="0" cap="none" spc="0" normalizeH="0" baseline="0" noProof="0" dirty="0" err="1">
                <a:ln>
                  <a:noFill/>
                </a:ln>
                <a:solidFill>
                  <a:srgbClr val="445469"/>
                </a:solidFill>
                <a:effectLst/>
                <a:uLnTx/>
                <a:uFillTx/>
                <a:latin typeface="Calibri"/>
                <a:ea typeface="+mn-ea"/>
                <a:cs typeface="+mn-cs"/>
              </a:rPr>
              <a:t>yıl</a:t>
            </a:r>
            <a:r>
              <a:rPr kumimoji="0" lang="en-US" sz="1296" b="1" i="0" u="none" strike="noStrike" kern="0" cap="none" spc="0" normalizeH="0" baseline="0" noProof="0" dirty="0">
                <a:ln>
                  <a:noFill/>
                </a:ln>
                <a:solidFill>
                  <a:srgbClr val="445469"/>
                </a:solidFill>
                <a:effectLst/>
                <a:uLnTx/>
                <a:uFillTx/>
                <a:latin typeface="Calibri"/>
                <a:ea typeface="+mn-ea"/>
                <a:cs typeface="+mn-cs"/>
              </a:rPr>
              <a:t> </a:t>
            </a:r>
            <a:r>
              <a:rPr kumimoji="0" lang="en-US" sz="1296" b="1" i="0" u="none" strike="noStrike" kern="0" cap="none" spc="0" normalizeH="0" baseline="0" noProof="0" dirty="0" err="1">
                <a:ln>
                  <a:noFill/>
                </a:ln>
                <a:solidFill>
                  <a:srgbClr val="445469"/>
                </a:solidFill>
                <a:effectLst/>
                <a:uLnTx/>
                <a:uFillTx/>
                <a:latin typeface="Calibri"/>
                <a:ea typeface="+mn-ea"/>
                <a:cs typeface="+mn-cs"/>
              </a:rPr>
              <a:t>izlenmesi</a:t>
            </a:r>
            <a:endParaRPr kumimoji="0" lang="en-US" sz="1296" b="1" i="0" u="none" strike="noStrike" kern="0" cap="none" spc="0" normalizeH="0" baseline="0" noProof="0" dirty="0">
              <a:ln>
                <a:noFill/>
              </a:ln>
              <a:solidFill>
                <a:srgbClr val="445469"/>
              </a:solidFill>
              <a:effectLst/>
              <a:uLnTx/>
              <a:uFillTx/>
              <a:latin typeface="Calibri"/>
              <a:ea typeface="+mn-ea"/>
              <a:cs typeface="+mn-cs"/>
            </a:endParaRPr>
          </a:p>
        </p:txBody>
      </p:sp>
      <p:sp>
        <p:nvSpPr>
          <p:cNvPr id="211" name="POWER_USER_ID_ICONS_Board"/>
          <p:cNvSpPr>
            <a:spLocks noChangeAspect="1" noEditPoints="1"/>
          </p:cNvSpPr>
          <p:nvPr>
            <p:custDataLst>
              <p:tags r:id="rId6"/>
            </p:custDataLst>
          </p:nvPr>
        </p:nvSpPr>
        <p:spPr bwMode="auto">
          <a:xfrm>
            <a:off x="4718035" y="3907478"/>
            <a:ext cx="360894" cy="389737"/>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tx2"/>
          </a:solidFill>
          <a:ln>
            <a:noFill/>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2" name="POWER_USER_ID_ICONS_Stopwatch5"/>
          <p:cNvSpPr>
            <a:spLocks noChangeAspect="1" noEditPoints="1"/>
          </p:cNvSpPr>
          <p:nvPr>
            <p:custDataLst>
              <p:tags r:id="rId7"/>
            </p:custDataLst>
          </p:nvPr>
        </p:nvSpPr>
        <p:spPr bwMode="auto">
          <a:xfrm>
            <a:off x="5179119" y="4489731"/>
            <a:ext cx="472516" cy="297892"/>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tx2"/>
          </a:solidFill>
          <a:ln>
            <a:noFill/>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213" name="POWER_USER_ID_ICONS_Poll"/>
          <p:cNvGrpSpPr>
            <a:grpSpLocks noChangeAspect="1"/>
          </p:cNvGrpSpPr>
          <p:nvPr>
            <p:custDataLst>
              <p:tags r:id="rId8"/>
            </p:custDataLst>
          </p:nvPr>
        </p:nvGrpSpPr>
        <p:grpSpPr bwMode="auto">
          <a:xfrm>
            <a:off x="7876520" y="4595835"/>
            <a:ext cx="421500" cy="221851"/>
            <a:chOff x="74" y="94"/>
            <a:chExt cx="276" cy="358"/>
          </a:xfrm>
          <a:solidFill>
            <a:schemeClr val="tx2"/>
          </a:solidFill>
        </p:grpSpPr>
        <p:sp>
          <p:nvSpPr>
            <p:cNvPr id="214" name="POWER_USER_ID_ICONS_Poll"/>
            <p:cNvSpPr>
              <a:spLocks/>
            </p:cNvSpPr>
            <p:nvPr>
              <p:custDataLst>
                <p:tags r:id="rId25"/>
              </p:custDataLst>
            </p:nvPr>
          </p:nvSpPr>
          <p:spPr bwMode="auto">
            <a:xfrm>
              <a:off x="74" y="94"/>
              <a:ext cx="273" cy="280"/>
            </a:xfrm>
            <a:custGeom>
              <a:avLst/>
              <a:gdLst>
                <a:gd name="T0" fmla="*/ 900 w 900"/>
                <a:gd name="T1" fmla="*/ 900 h 900"/>
                <a:gd name="T2" fmla="*/ 0 w 900"/>
                <a:gd name="T3" fmla="*/ 900 h 900"/>
                <a:gd name="T4" fmla="*/ 0 w 900"/>
                <a:gd name="T5" fmla="*/ 0 h 900"/>
                <a:gd name="T6" fmla="*/ 15 w 900"/>
                <a:gd name="T7" fmla="*/ 0 h 900"/>
                <a:gd name="T8" fmla="*/ 15 w 900"/>
                <a:gd name="T9" fmla="*/ 885 h 900"/>
                <a:gd name="T10" fmla="*/ 900 w 900"/>
                <a:gd name="T11" fmla="*/ 885 h 900"/>
                <a:gd name="T12" fmla="*/ 900 w 900"/>
                <a:gd name="T13" fmla="*/ 900 h 900"/>
              </a:gdLst>
              <a:ahLst/>
              <a:cxnLst>
                <a:cxn ang="0">
                  <a:pos x="T0" y="T1"/>
                </a:cxn>
                <a:cxn ang="0">
                  <a:pos x="T2" y="T3"/>
                </a:cxn>
                <a:cxn ang="0">
                  <a:pos x="T4" y="T5"/>
                </a:cxn>
                <a:cxn ang="0">
                  <a:pos x="T6" y="T7"/>
                </a:cxn>
                <a:cxn ang="0">
                  <a:pos x="T8" y="T9"/>
                </a:cxn>
                <a:cxn ang="0">
                  <a:pos x="T10" y="T11"/>
                </a:cxn>
                <a:cxn ang="0">
                  <a:pos x="T12" y="T13"/>
                </a:cxn>
              </a:cxnLst>
              <a:rect l="0" t="0" r="r" b="b"/>
              <a:pathLst>
                <a:path w="900" h="900">
                  <a:moveTo>
                    <a:pt x="900" y="900"/>
                  </a:moveTo>
                  <a:lnTo>
                    <a:pt x="0" y="900"/>
                  </a:lnTo>
                  <a:lnTo>
                    <a:pt x="0" y="0"/>
                  </a:lnTo>
                  <a:lnTo>
                    <a:pt x="15" y="0"/>
                  </a:lnTo>
                  <a:lnTo>
                    <a:pt x="15" y="885"/>
                  </a:lnTo>
                  <a:lnTo>
                    <a:pt x="900" y="885"/>
                  </a:lnTo>
                  <a:lnTo>
                    <a:pt x="900" y="900"/>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5" name="POWER_USER_ID_ICONS_Poll"/>
            <p:cNvSpPr>
              <a:spLocks noEditPoints="1"/>
            </p:cNvSpPr>
            <p:nvPr>
              <p:custDataLst>
                <p:tags r:id="rId26"/>
              </p:custDataLst>
            </p:nvPr>
          </p:nvSpPr>
          <p:spPr bwMode="auto">
            <a:xfrm>
              <a:off x="113" y="129"/>
              <a:ext cx="52" cy="210"/>
            </a:xfrm>
            <a:custGeom>
              <a:avLst/>
              <a:gdLst>
                <a:gd name="T0" fmla="*/ 172 w 172"/>
                <a:gd name="T1" fmla="*/ 676 h 676"/>
                <a:gd name="T2" fmla="*/ 0 w 172"/>
                <a:gd name="T3" fmla="*/ 676 h 676"/>
                <a:gd name="T4" fmla="*/ 0 w 172"/>
                <a:gd name="T5" fmla="*/ 0 h 676"/>
                <a:gd name="T6" fmla="*/ 172 w 172"/>
                <a:gd name="T7" fmla="*/ 0 h 676"/>
                <a:gd name="T8" fmla="*/ 172 w 172"/>
                <a:gd name="T9" fmla="*/ 676 h 676"/>
                <a:gd name="T10" fmla="*/ 15 w 172"/>
                <a:gd name="T11" fmla="*/ 661 h 676"/>
                <a:gd name="T12" fmla="*/ 157 w 172"/>
                <a:gd name="T13" fmla="*/ 661 h 676"/>
                <a:gd name="T14" fmla="*/ 157 w 172"/>
                <a:gd name="T15" fmla="*/ 15 h 676"/>
                <a:gd name="T16" fmla="*/ 15 w 172"/>
                <a:gd name="T17" fmla="*/ 15 h 676"/>
                <a:gd name="T18" fmla="*/ 15 w 172"/>
                <a:gd name="T19" fmla="*/ 661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676">
                  <a:moveTo>
                    <a:pt x="172" y="676"/>
                  </a:moveTo>
                  <a:lnTo>
                    <a:pt x="0" y="676"/>
                  </a:lnTo>
                  <a:lnTo>
                    <a:pt x="0" y="0"/>
                  </a:lnTo>
                  <a:lnTo>
                    <a:pt x="172" y="0"/>
                  </a:lnTo>
                  <a:lnTo>
                    <a:pt x="172" y="676"/>
                  </a:lnTo>
                  <a:close/>
                  <a:moveTo>
                    <a:pt x="15" y="661"/>
                  </a:moveTo>
                  <a:lnTo>
                    <a:pt x="157" y="661"/>
                  </a:lnTo>
                  <a:lnTo>
                    <a:pt x="157" y="15"/>
                  </a:lnTo>
                  <a:lnTo>
                    <a:pt x="15" y="15"/>
                  </a:lnTo>
                  <a:lnTo>
                    <a:pt x="15" y="661"/>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6" name="POWER_USER_ID_ICONS_Poll"/>
            <p:cNvSpPr>
              <a:spLocks noEditPoints="1"/>
            </p:cNvSpPr>
            <p:nvPr>
              <p:custDataLst>
                <p:tags r:id="rId27"/>
              </p:custDataLst>
            </p:nvPr>
          </p:nvSpPr>
          <p:spPr bwMode="auto">
            <a:xfrm>
              <a:off x="200" y="201"/>
              <a:ext cx="53" cy="138"/>
            </a:xfrm>
            <a:custGeom>
              <a:avLst/>
              <a:gdLst>
                <a:gd name="T0" fmla="*/ 172 w 172"/>
                <a:gd name="T1" fmla="*/ 444 h 444"/>
                <a:gd name="T2" fmla="*/ 0 w 172"/>
                <a:gd name="T3" fmla="*/ 444 h 444"/>
                <a:gd name="T4" fmla="*/ 0 w 172"/>
                <a:gd name="T5" fmla="*/ 0 h 444"/>
                <a:gd name="T6" fmla="*/ 172 w 172"/>
                <a:gd name="T7" fmla="*/ 0 h 444"/>
                <a:gd name="T8" fmla="*/ 172 w 172"/>
                <a:gd name="T9" fmla="*/ 444 h 444"/>
                <a:gd name="T10" fmla="*/ 15 w 172"/>
                <a:gd name="T11" fmla="*/ 429 h 444"/>
                <a:gd name="T12" fmla="*/ 157 w 172"/>
                <a:gd name="T13" fmla="*/ 429 h 444"/>
                <a:gd name="T14" fmla="*/ 157 w 172"/>
                <a:gd name="T15" fmla="*/ 15 h 444"/>
                <a:gd name="T16" fmla="*/ 15 w 172"/>
                <a:gd name="T17" fmla="*/ 15 h 444"/>
                <a:gd name="T18" fmla="*/ 15 w 172"/>
                <a:gd name="T19" fmla="*/ 42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444">
                  <a:moveTo>
                    <a:pt x="172" y="444"/>
                  </a:moveTo>
                  <a:lnTo>
                    <a:pt x="0" y="444"/>
                  </a:lnTo>
                  <a:lnTo>
                    <a:pt x="0" y="0"/>
                  </a:lnTo>
                  <a:lnTo>
                    <a:pt x="172" y="0"/>
                  </a:lnTo>
                  <a:lnTo>
                    <a:pt x="172" y="444"/>
                  </a:lnTo>
                  <a:close/>
                  <a:moveTo>
                    <a:pt x="15" y="429"/>
                  </a:moveTo>
                  <a:lnTo>
                    <a:pt x="157" y="429"/>
                  </a:lnTo>
                  <a:lnTo>
                    <a:pt x="157" y="15"/>
                  </a:lnTo>
                  <a:lnTo>
                    <a:pt x="15" y="15"/>
                  </a:lnTo>
                  <a:lnTo>
                    <a:pt x="15" y="429"/>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7" name="POWER_USER_ID_ICONS_Poll"/>
            <p:cNvSpPr>
              <a:spLocks noEditPoints="1"/>
            </p:cNvSpPr>
            <p:nvPr>
              <p:custDataLst>
                <p:tags r:id="rId28"/>
              </p:custDataLst>
            </p:nvPr>
          </p:nvSpPr>
          <p:spPr bwMode="auto">
            <a:xfrm>
              <a:off x="287" y="172"/>
              <a:ext cx="53" cy="167"/>
            </a:xfrm>
            <a:custGeom>
              <a:avLst/>
              <a:gdLst>
                <a:gd name="T0" fmla="*/ 172 w 172"/>
                <a:gd name="T1" fmla="*/ 539 h 539"/>
                <a:gd name="T2" fmla="*/ 0 w 172"/>
                <a:gd name="T3" fmla="*/ 539 h 539"/>
                <a:gd name="T4" fmla="*/ 0 w 172"/>
                <a:gd name="T5" fmla="*/ 0 h 539"/>
                <a:gd name="T6" fmla="*/ 172 w 172"/>
                <a:gd name="T7" fmla="*/ 0 h 539"/>
                <a:gd name="T8" fmla="*/ 172 w 172"/>
                <a:gd name="T9" fmla="*/ 539 h 539"/>
                <a:gd name="T10" fmla="*/ 15 w 172"/>
                <a:gd name="T11" fmla="*/ 524 h 539"/>
                <a:gd name="T12" fmla="*/ 157 w 172"/>
                <a:gd name="T13" fmla="*/ 524 h 539"/>
                <a:gd name="T14" fmla="*/ 157 w 172"/>
                <a:gd name="T15" fmla="*/ 15 h 539"/>
                <a:gd name="T16" fmla="*/ 15 w 172"/>
                <a:gd name="T17" fmla="*/ 15 h 539"/>
                <a:gd name="T18" fmla="*/ 15 w 172"/>
                <a:gd name="T19" fmla="*/ 52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539">
                  <a:moveTo>
                    <a:pt x="172" y="539"/>
                  </a:moveTo>
                  <a:lnTo>
                    <a:pt x="0" y="539"/>
                  </a:lnTo>
                  <a:lnTo>
                    <a:pt x="0" y="0"/>
                  </a:lnTo>
                  <a:lnTo>
                    <a:pt x="172" y="0"/>
                  </a:lnTo>
                  <a:lnTo>
                    <a:pt x="172" y="539"/>
                  </a:lnTo>
                  <a:close/>
                  <a:moveTo>
                    <a:pt x="15" y="524"/>
                  </a:moveTo>
                  <a:lnTo>
                    <a:pt x="157" y="524"/>
                  </a:lnTo>
                  <a:lnTo>
                    <a:pt x="157" y="15"/>
                  </a:lnTo>
                  <a:lnTo>
                    <a:pt x="15" y="15"/>
                  </a:lnTo>
                  <a:lnTo>
                    <a:pt x="15" y="524"/>
                  </a:ln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8" name="POWER_USER_ID_ICONS_Poll"/>
            <p:cNvSpPr>
              <a:spLocks noChangeArrowheads="1"/>
            </p:cNvSpPr>
            <p:nvPr>
              <p:custDataLst>
                <p:tags r:id="rId29"/>
              </p:custDataLst>
            </p:nvPr>
          </p:nvSpPr>
          <p:spPr bwMode="auto">
            <a:xfrm>
              <a:off x="129" y="384"/>
              <a:ext cx="32" cy="31"/>
            </a:xfrm>
            <a:prstGeom prst="ellipse">
              <a:avLst/>
            </a:pr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9" name="POWER_USER_ID_ICONS_Poll"/>
            <p:cNvSpPr>
              <a:spLocks/>
            </p:cNvSpPr>
            <p:nvPr>
              <p:custDataLst>
                <p:tags r:id="rId30"/>
              </p:custDataLst>
            </p:nvPr>
          </p:nvSpPr>
          <p:spPr bwMode="auto">
            <a:xfrm>
              <a:off x="115"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4" y="4"/>
                    <a:pt x="125" y="0"/>
                  </a:cubicBezTo>
                  <a:cubicBezTo>
                    <a:pt x="115" y="14"/>
                    <a:pt x="99" y="23"/>
                    <a:pt x="81" y="23"/>
                  </a:cubicBezTo>
                  <a:cubicBezTo>
                    <a:pt x="63" y="23"/>
                    <a:pt x="47" y="14"/>
                    <a:pt x="37" y="0"/>
                  </a:cubicBezTo>
                  <a:cubicBezTo>
                    <a:pt x="29" y="4"/>
                    <a:pt x="21" y="9"/>
                    <a:pt x="17" y="16"/>
                  </a:cubicBezTo>
                  <a:cubicBezTo>
                    <a:pt x="3" y="38"/>
                    <a:pt x="0" y="72"/>
                    <a:pt x="0" y="98"/>
                  </a:cubicBezTo>
                  <a:cubicBezTo>
                    <a:pt x="0" y="98"/>
                    <a:pt x="36" y="108"/>
                    <a:pt x="81" y="108"/>
                  </a:cubicBezTo>
                  <a:cubicBezTo>
                    <a:pt x="127" y="108"/>
                    <a:pt x="162" y="98"/>
                    <a:pt x="162" y="98"/>
                  </a:cubicBezTo>
                  <a:cubicBezTo>
                    <a:pt x="162" y="72"/>
                    <a:pt x="159" y="38"/>
                    <a:pt x="145" y="16"/>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0" name="POWER_USER_ID_ICONS_Poll"/>
            <p:cNvSpPr>
              <a:spLocks noChangeArrowheads="1"/>
            </p:cNvSpPr>
            <p:nvPr>
              <p:custDataLst>
                <p:tags r:id="rId31"/>
              </p:custDataLst>
            </p:nvPr>
          </p:nvSpPr>
          <p:spPr bwMode="auto">
            <a:xfrm>
              <a:off x="216" y="384"/>
              <a:ext cx="32" cy="31"/>
            </a:xfrm>
            <a:prstGeom prst="ellipse">
              <a:avLst/>
            </a:pr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1" name="POWER_USER_ID_ICONS_Poll"/>
            <p:cNvSpPr>
              <a:spLocks/>
            </p:cNvSpPr>
            <p:nvPr>
              <p:custDataLst>
                <p:tags r:id="rId32"/>
              </p:custDataLst>
            </p:nvPr>
          </p:nvSpPr>
          <p:spPr bwMode="auto">
            <a:xfrm>
              <a:off x="202"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7" y="14"/>
                    <a:pt x="37" y="0"/>
                  </a:cubicBezTo>
                  <a:cubicBezTo>
                    <a:pt x="28" y="4"/>
                    <a:pt x="21" y="9"/>
                    <a:pt x="17" y="16"/>
                  </a:cubicBezTo>
                  <a:cubicBezTo>
                    <a:pt x="3" y="38"/>
                    <a:pt x="0" y="72"/>
                    <a:pt x="0" y="98"/>
                  </a:cubicBezTo>
                  <a:cubicBezTo>
                    <a:pt x="0" y="98"/>
                    <a:pt x="36" y="108"/>
                    <a:pt x="81" y="108"/>
                  </a:cubicBezTo>
                  <a:cubicBezTo>
                    <a:pt x="126" y="108"/>
                    <a:pt x="162" y="98"/>
                    <a:pt x="162" y="98"/>
                  </a:cubicBezTo>
                  <a:cubicBezTo>
                    <a:pt x="162" y="72"/>
                    <a:pt x="159" y="38"/>
                    <a:pt x="145" y="16"/>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2" name="POWER_USER_ID_ICONS_Poll"/>
            <p:cNvSpPr>
              <a:spLocks noChangeArrowheads="1"/>
            </p:cNvSpPr>
            <p:nvPr>
              <p:custDataLst>
                <p:tags r:id="rId33"/>
              </p:custDataLst>
            </p:nvPr>
          </p:nvSpPr>
          <p:spPr bwMode="auto">
            <a:xfrm>
              <a:off x="304" y="384"/>
              <a:ext cx="31" cy="31"/>
            </a:xfrm>
            <a:prstGeom prst="ellipse">
              <a:avLst/>
            </a:pr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3" name="POWER_USER_ID_ICONS_Poll"/>
            <p:cNvSpPr>
              <a:spLocks/>
            </p:cNvSpPr>
            <p:nvPr>
              <p:custDataLst>
                <p:tags r:id="rId34"/>
              </p:custDataLst>
            </p:nvPr>
          </p:nvSpPr>
          <p:spPr bwMode="auto">
            <a:xfrm>
              <a:off x="289"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6" y="14"/>
                    <a:pt x="37" y="0"/>
                  </a:cubicBezTo>
                  <a:cubicBezTo>
                    <a:pt x="28" y="4"/>
                    <a:pt x="21" y="9"/>
                    <a:pt x="17" y="16"/>
                  </a:cubicBezTo>
                  <a:cubicBezTo>
                    <a:pt x="3" y="38"/>
                    <a:pt x="0" y="72"/>
                    <a:pt x="0" y="98"/>
                  </a:cubicBezTo>
                  <a:cubicBezTo>
                    <a:pt x="0" y="98"/>
                    <a:pt x="35" y="108"/>
                    <a:pt x="81" y="108"/>
                  </a:cubicBezTo>
                  <a:cubicBezTo>
                    <a:pt x="126" y="108"/>
                    <a:pt x="162" y="98"/>
                    <a:pt x="162" y="98"/>
                  </a:cubicBezTo>
                  <a:cubicBezTo>
                    <a:pt x="162" y="72"/>
                    <a:pt x="158" y="38"/>
                    <a:pt x="145" y="16"/>
                  </a:cubicBezTo>
                  <a:close/>
                </a:path>
              </a:pathLst>
            </a:custGeom>
            <a:grpFill/>
            <a:ln w="0">
              <a:noFill/>
              <a:prstDash val="solid"/>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256" name="Rocket2"/>
          <p:cNvGrpSpPr>
            <a:grpSpLocks noChangeAspect="1"/>
          </p:cNvGrpSpPr>
          <p:nvPr>
            <p:custDataLst>
              <p:tags r:id="rId9"/>
            </p:custDataLst>
          </p:nvPr>
        </p:nvGrpSpPr>
        <p:grpSpPr bwMode="auto">
          <a:xfrm>
            <a:off x="3099187" y="4480286"/>
            <a:ext cx="443866" cy="439859"/>
            <a:chOff x="2506" y="943"/>
            <a:chExt cx="2548" cy="2525"/>
          </a:xfrm>
          <a:solidFill>
            <a:srgbClr val="1F497D"/>
          </a:solidFill>
        </p:grpSpPr>
        <p:sp>
          <p:nvSpPr>
            <p:cNvPr id="257" name="Freeform 619"/>
            <p:cNvSpPr>
              <a:spLocks/>
            </p:cNvSpPr>
            <p:nvPr/>
          </p:nvSpPr>
          <p:spPr bwMode="auto">
            <a:xfrm>
              <a:off x="2510" y="2410"/>
              <a:ext cx="1044" cy="1046"/>
            </a:xfrm>
            <a:custGeom>
              <a:avLst/>
              <a:gdLst>
                <a:gd name="T0" fmla="*/ 263 w 263"/>
                <a:gd name="T1" fmla="*/ 94 h 263"/>
                <a:gd name="T2" fmla="*/ 253 w 263"/>
                <a:gd name="T3" fmla="*/ 94 h 263"/>
                <a:gd name="T4" fmla="*/ 234 w 263"/>
                <a:gd name="T5" fmla="*/ 94 h 263"/>
                <a:gd name="T6" fmla="*/ 151 w 263"/>
                <a:gd name="T7" fmla="*/ 159 h 263"/>
                <a:gd name="T8" fmla="*/ 118 w 263"/>
                <a:gd name="T9" fmla="*/ 178 h 263"/>
                <a:gd name="T10" fmla="*/ 95 w 263"/>
                <a:gd name="T11" fmla="*/ 167 h 263"/>
                <a:gd name="T12" fmla="*/ 85 w 263"/>
                <a:gd name="T13" fmla="*/ 144 h 263"/>
                <a:gd name="T14" fmla="*/ 104 w 263"/>
                <a:gd name="T15" fmla="*/ 112 h 263"/>
                <a:gd name="T16" fmla="*/ 106 w 263"/>
                <a:gd name="T17" fmla="*/ 109 h 263"/>
                <a:gd name="T18" fmla="*/ 169 w 263"/>
                <a:gd name="T19" fmla="*/ 29 h 263"/>
                <a:gd name="T20" fmla="*/ 168 w 263"/>
                <a:gd name="T21" fmla="*/ 0 h 263"/>
                <a:gd name="T22" fmla="*/ 146 w 263"/>
                <a:gd name="T23" fmla="*/ 20 h 263"/>
                <a:gd name="T24" fmla="*/ 11 w 263"/>
                <a:gd name="T25" fmla="*/ 252 h 263"/>
                <a:gd name="T26" fmla="*/ 243 w 263"/>
                <a:gd name="T27" fmla="*/ 117 h 263"/>
                <a:gd name="T28" fmla="*/ 263 w 263"/>
                <a:gd name="T29" fmla="*/ 9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263">
                  <a:moveTo>
                    <a:pt x="263" y="94"/>
                  </a:moveTo>
                  <a:cubicBezTo>
                    <a:pt x="259" y="94"/>
                    <a:pt x="256" y="94"/>
                    <a:pt x="253" y="94"/>
                  </a:cubicBezTo>
                  <a:cubicBezTo>
                    <a:pt x="246" y="94"/>
                    <a:pt x="240" y="94"/>
                    <a:pt x="234" y="94"/>
                  </a:cubicBezTo>
                  <a:lnTo>
                    <a:pt x="151" y="159"/>
                  </a:lnTo>
                  <a:cubicBezTo>
                    <a:pt x="142" y="168"/>
                    <a:pt x="132" y="178"/>
                    <a:pt x="118" y="178"/>
                  </a:cubicBezTo>
                  <a:cubicBezTo>
                    <a:pt x="110" y="178"/>
                    <a:pt x="102" y="174"/>
                    <a:pt x="95" y="167"/>
                  </a:cubicBezTo>
                  <a:cubicBezTo>
                    <a:pt x="88" y="160"/>
                    <a:pt x="85" y="153"/>
                    <a:pt x="85" y="144"/>
                  </a:cubicBezTo>
                  <a:cubicBezTo>
                    <a:pt x="85" y="130"/>
                    <a:pt x="95" y="121"/>
                    <a:pt x="104" y="112"/>
                  </a:cubicBezTo>
                  <a:lnTo>
                    <a:pt x="106" y="109"/>
                  </a:lnTo>
                  <a:lnTo>
                    <a:pt x="169" y="29"/>
                  </a:lnTo>
                  <a:cubicBezTo>
                    <a:pt x="168" y="20"/>
                    <a:pt x="168" y="11"/>
                    <a:pt x="168" y="0"/>
                  </a:cubicBezTo>
                  <a:cubicBezTo>
                    <a:pt x="161" y="6"/>
                    <a:pt x="154" y="12"/>
                    <a:pt x="146" y="20"/>
                  </a:cubicBezTo>
                  <a:cubicBezTo>
                    <a:pt x="62" y="104"/>
                    <a:pt x="0" y="242"/>
                    <a:pt x="11" y="252"/>
                  </a:cubicBezTo>
                  <a:cubicBezTo>
                    <a:pt x="21" y="263"/>
                    <a:pt x="158" y="201"/>
                    <a:pt x="243" y="117"/>
                  </a:cubicBezTo>
                  <a:cubicBezTo>
                    <a:pt x="251" y="109"/>
                    <a:pt x="257" y="102"/>
                    <a:pt x="263" y="94"/>
                  </a:cubicBezTo>
                  <a:close/>
                </a:path>
              </a:pathLst>
            </a:custGeom>
            <a:grpFill/>
            <a:ln w="9525">
              <a:noFill/>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en-US" sz="1458" b="0" i="0" u="none" strike="noStrike" kern="1200" cap="none" spc="0" normalizeH="0" baseline="0" noProof="0">
                <a:ln>
                  <a:noFill/>
                </a:ln>
                <a:solidFill>
                  <a:prstClr val="black"/>
                </a:solidFill>
                <a:effectLst/>
                <a:uLnTx/>
                <a:uFillTx/>
                <a:latin typeface="Calibri"/>
                <a:ea typeface="+mn-ea"/>
                <a:cs typeface="+mn-cs"/>
              </a:endParaRPr>
            </a:p>
          </p:txBody>
        </p:sp>
        <p:sp>
          <p:nvSpPr>
            <p:cNvPr id="258" name="Freeform 620"/>
            <p:cNvSpPr>
              <a:spLocks/>
            </p:cNvSpPr>
            <p:nvPr/>
          </p:nvSpPr>
          <p:spPr bwMode="auto">
            <a:xfrm>
              <a:off x="2994" y="2040"/>
              <a:ext cx="941" cy="931"/>
            </a:xfrm>
            <a:custGeom>
              <a:avLst/>
              <a:gdLst>
                <a:gd name="T0" fmla="*/ 0 w 237"/>
                <a:gd name="T1" fmla="*/ 234 h 234"/>
                <a:gd name="T2" fmla="*/ 5 w 237"/>
                <a:gd name="T3" fmla="*/ 228 h 234"/>
                <a:gd name="T4" fmla="*/ 10 w 237"/>
                <a:gd name="T5" fmla="*/ 224 h 234"/>
                <a:gd name="T6" fmla="*/ 221 w 237"/>
                <a:gd name="T7" fmla="*/ 60 h 234"/>
                <a:gd name="T8" fmla="*/ 232 w 237"/>
                <a:gd name="T9" fmla="*/ 1 h 234"/>
                <a:gd name="T10" fmla="*/ 223 w 237"/>
                <a:gd name="T11" fmla="*/ 0 h 234"/>
                <a:gd name="T12" fmla="*/ 174 w 237"/>
                <a:gd name="T13" fmla="*/ 13 h 234"/>
                <a:gd name="T14" fmla="*/ 5 w 237"/>
                <a:gd name="T15" fmla="*/ 228 h 234"/>
                <a:gd name="T16" fmla="*/ 0 w 237"/>
                <a:gd name="T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34">
                  <a:moveTo>
                    <a:pt x="0" y="234"/>
                  </a:moveTo>
                  <a:cubicBezTo>
                    <a:pt x="2" y="232"/>
                    <a:pt x="4" y="230"/>
                    <a:pt x="5" y="228"/>
                  </a:cubicBezTo>
                  <a:lnTo>
                    <a:pt x="10" y="224"/>
                  </a:lnTo>
                  <a:lnTo>
                    <a:pt x="221" y="60"/>
                  </a:lnTo>
                  <a:cubicBezTo>
                    <a:pt x="228" y="51"/>
                    <a:pt x="237" y="13"/>
                    <a:pt x="232" y="1"/>
                  </a:cubicBezTo>
                  <a:cubicBezTo>
                    <a:pt x="231" y="1"/>
                    <a:pt x="228" y="0"/>
                    <a:pt x="223" y="0"/>
                  </a:cubicBezTo>
                  <a:cubicBezTo>
                    <a:pt x="203" y="0"/>
                    <a:pt x="180" y="8"/>
                    <a:pt x="174" y="13"/>
                  </a:cubicBezTo>
                  <a:lnTo>
                    <a:pt x="5" y="228"/>
                  </a:lnTo>
                  <a:cubicBezTo>
                    <a:pt x="4" y="230"/>
                    <a:pt x="2" y="232"/>
                    <a:pt x="0" y="234"/>
                  </a:cubicBezTo>
                  <a:close/>
                </a:path>
              </a:pathLst>
            </a:custGeom>
            <a:grpFill/>
            <a:ln w="9525">
              <a:noFill/>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en-US" sz="1458" b="0" i="0" u="none" strike="noStrike" kern="1200" cap="none" spc="0" normalizeH="0" baseline="0" noProof="0">
                <a:ln>
                  <a:noFill/>
                </a:ln>
                <a:solidFill>
                  <a:prstClr val="black"/>
                </a:solidFill>
                <a:effectLst/>
                <a:uLnTx/>
                <a:uFillTx/>
                <a:latin typeface="Calibri"/>
                <a:ea typeface="+mn-ea"/>
                <a:cs typeface="+mn-cs"/>
              </a:endParaRPr>
            </a:p>
          </p:txBody>
        </p:sp>
        <p:sp>
          <p:nvSpPr>
            <p:cNvPr id="259" name="Freeform 621"/>
            <p:cNvSpPr>
              <a:spLocks/>
            </p:cNvSpPr>
            <p:nvPr/>
          </p:nvSpPr>
          <p:spPr bwMode="auto">
            <a:xfrm>
              <a:off x="3359" y="2514"/>
              <a:ext cx="1100" cy="954"/>
            </a:xfrm>
            <a:custGeom>
              <a:avLst/>
              <a:gdLst>
                <a:gd name="T0" fmla="*/ 73 w 277"/>
                <a:gd name="T1" fmla="*/ 67 h 240"/>
                <a:gd name="T2" fmla="*/ 11 w 277"/>
                <a:gd name="T3" fmla="*/ 205 h 240"/>
                <a:gd name="T4" fmla="*/ 55 w 277"/>
                <a:gd name="T5" fmla="*/ 221 h 240"/>
                <a:gd name="T6" fmla="*/ 190 w 277"/>
                <a:gd name="T7" fmla="*/ 147 h 240"/>
                <a:gd name="T8" fmla="*/ 276 w 277"/>
                <a:gd name="T9" fmla="*/ 13 h 240"/>
                <a:gd name="T10" fmla="*/ 275 w 277"/>
                <a:gd name="T11" fmla="*/ 0 h 240"/>
                <a:gd name="T12" fmla="*/ 73 w 277"/>
                <a:gd name="T13" fmla="*/ 67 h 240"/>
              </a:gdLst>
              <a:ahLst/>
              <a:cxnLst>
                <a:cxn ang="0">
                  <a:pos x="T0" y="T1"/>
                </a:cxn>
                <a:cxn ang="0">
                  <a:pos x="T2" y="T3"/>
                </a:cxn>
                <a:cxn ang="0">
                  <a:pos x="T4" y="T5"/>
                </a:cxn>
                <a:cxn ang="0">
                  <a:pos x="T6" y="T7"/>
                </a:cxn>
                <a:cxn ang="0">
                  <a:pos x="T8" y="T9"/>
                </a:cxn>
                <a:cxn ang="0">
                  <a:pos x="T10" y="T11"/>
                </a:cxn>
                <a:cxn ang="0">
                  <a:pos x="T12" y="T13"/>
                </a:cxn>
              </a:cxnLst>
              <a:rect l="0" t="0" r="r" b="b"/>
              <a:pathLst>
                <a:path w="277" h="240">
                  <a:moveTo>
                    <a:pt x="73" y="67"/>
                  </a:moveTo>
                  <a:cubicBezTo>
                    <a:pt x="43" y="128"/>
                    <a:pt x="11" y="205"/>
                    <a:pt x="11" y="205"/>
                  </a:cubicBezTo>
                  <a:cubicBezTo>
                    <a:pt x="0" y="225"/>
                    <a:pt x="17" y="240"/>
                    <a:pt x="55" y="221"/>
                  </a:cubicBezTo>
                  <a:lnTo>
                    <a:pt x="190" y="147"/>
                  </a:lnTo>
                  <a:cubicBezTo>
                    <a:pt x="263" y="106"/>
                    <a:pt x="277" y="96"/>
                    <a:pt x="276" y="13"/>
                  </a:cubicBezTo>
                  <a:lnTo>
                    <a:pt x="275" y="0"/>
                  </a:lnTo>
                  <a:cubicBezTo>
                    <a:pt x="209" y="46"/>
                    <a:pt x="134" y="63"/>
                    <a:pt x="73" y="67"/>
                  </a:cubicBezTo>
                  <a:close/>
                </a:path>
              </a:pathLst>
            </a:custGeom>
            <a:grpFill/>
            <a:ln w="9525">
              <a:noFill/>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en-US" sz="1458" b="0" i="0" u="none" strike="noStrike" kern="1200" cap="none" spc="0" normalizeH="0" baseline="0" noProof="0">
                <a:ln>
                  <a:noFill/>
                </a:ln>
                <a:solidFill>
                  <a:prstClr val="black"/>
                </a:solidFill>
                <a:effectLst/>
                <a:uLnTx/>
                <a:uFillTx/>
                <a:latin typeface="Calibri"/>
                <a:ea typeface="+mn-ea"/>
                <a:cs typeface="+mn-cs"/>
              </a:endParaRPr>
            </a:p>
          </p:txBody>
        </p:sp>
        <p:sp>
          <p:nvSpPr>
            <p:cNvPr id="260" name="Freeform 622"/>
            <p:cNvSpPr>
              <a:spLocks/>
            </p:cNvSpPr>
            <p:nvPr/>
          </p:nvSpPr>
          <p:spPr bwMode="auto">
            <a:xfrm>
              <a:off x="2506" y="1511"/>
              <a:ext cx="937" cy="1102"/>
            </a:xfrm>
            <a:custGeom>
              <a:avLst/>
              <a:gdLst>
                <a:gd name="T0" fmla="*/ 35 w 236"/>
                <a:gd name="T1" fmla="*/ 266 h 277"/>
                <a:gd name="T2" fmla="*/ 170 w 236"/>
                <a:gd name="T3" fmla="*/ 206 h 277"/>
                <a:gd name="T4" fmla="*/ 236 w 236"/>
                <a:gd name="T5" fmla="*/ 2 h 277"/>
                <a:gd name="T6" fmla="*/ 227 w 236"/>
                <a:gd name="T7" fmla="*/ 1 h 277"/>
                <a:gd name="T8" fmla="*/ 94 w 236"/>
                <a:gd name="T9" fmla="*/ 87 h 277"/>
                <a:gd name="T10" fmla="*/ 20 w 236"/>
                <a:gd name="T11" fmla="*/ 223 h 277"/>
                <a:gd name="T12" fmla="*/ 35 w 236"/>
                <a:gd name="T13" fmla="*/ 266 h 277"/>
              </a:gdLst>
              <a:ahLst/>
              <a:cxnLst>
                <a:cxn ang="0">
                  <a:pos x="T0" y="T1"/>
                </a:cxn>
                <a:cxn ang="0">
                  <a:pos x="T2" y="T3"/>
                </a:cxn>
                <a:cxn ang="0">
                  <a:pos x="T4" y="T5"/>
                </a:cxn>
                <a:cxn ang="0">
                  <a:pos x="T6" y="T7"/>
                </a:cxn>
                <a:cxn ang="0">
                  <a:pos x="T8" y="T9"/>
                </a:cxn>
                <a:cxn ang="0">
                  <a:pos x="T10" y="T11"/>
                </a:cxn>
                <a:cxn ang="0">
                  <a:pos x="T12" y="T13"/>
                </a:cxn>
              </a:cxnLst>
              <a:rect l="0" t="0" r="r" b="b"/>
              <a:pathLst>
                <a:path w="236" h="277">
                  <a:moveTo>
                    <a:pt x="35" y="266"/>
                  </a:moveTo>
                  <a:cubicBezTo>
                    <a:pt x="35" y="266"/>
                    <a:pt x="109" y="235"/>
                    <a:pt x="170" y="206"/>
                  </a:cubicBezTo>
                  <a:cubicBezTo>
                    <a:pt x="174" y="147"/>
                    <a:pt x="189" y="70"/>
                    <a:pt x="236" y="2"/>
                  </a:cubicBezTo>
                  <a:lnTo>
                    <a:pt x="227" y="1"/>
                  </a:lnTo>
                  <a:cubicBezTo>
                    <a:pt x="145" y="0"/>
                    <a:pt x="134" y="14"/>
                    <a:pt x="94" y="87"/>
                  </a:cubicBezTo>
                  <a:lnTo>
                    <a:pt x="20" y="223"/>
                  </a:lnTo>
                  <a:cubicBezTo>
                    <a:pt x="0" y="260"/>
                    <a:pt x="15" y="277"/>
                    <a:pt x="35" y="266"/>
                  </a:cubicBezTo>
                </a:path>
              </a:pathLst>
            </a:custGeom>
            <a:grpFill/>
            <a:ln w="9525">
              <a:noFill/>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en-US" sz="1458" b="0" i="0" u="none" strike="noStrike" kern="1200" cap="none" spc="0" normalizeH="0" baseline="0" noProof="0">
                <a:ln>
                  <a:noFill/>
                </a:ln>
                <a:solidFill>
                  <a:prstClr val="black"/>
                </a:solidFill>
                <a:effectLst/>
                <a:uLnTx/>
                <a:uFillTx/>
                <a:latin typeface="Calibri"/>
                <a:ea typeface="+mn-ea"/>
                <a:cs typeface="+mn-cs"/>
              </a:endParaRPr>
            </a:p>
          </p:txBody>
        </p:sp>
        <p:sp>
          <p:nvSpPr>
            <p:cNvPr id="261" name="Freeform 623"/>
            <p:cNvSpPr>
              <a:spLocks noEditPoints="1"/>
            </p:cNvSpPr>
            <p:nvPr/>
          </p:nvSpPr>
          <p:spPr bwMode="auto">
            <a:xfrm>
              <a:off x="3316" y="943"/>
              <a:ext cx="1738" cy="1706"/>
            </a:xfrm>
            <a:custGeom>
              <a:avLst/>
              <a:gdLst>
                <a:gd name="T0" fmla="*/ 367 w 438"/>
                <a:gd name="T1" fmla="*/ 111 h 429"/>
                <a:gd name="T2" fmla="*/ 320 w 438"/>
                <a:gd name="T3" fmla="*/ 111 h 429"/>
                <a:gd name="T4" fmla="*/ 320 w 438"/>
                <a:gd name="T5" fmla="*/ 64 h 429"/>
                <a:gd name="T6" fmla="*/ 367 w 438"/>
                <a:gd name="T7" fmla="*/ 64 h 429"/>
                <a:gd name="T8" fmla="*/ 367 w 438"/>
                <a:gd name="T9" fmla="*/ 111 h 429"/>
                <a:gd name="T10" fmla="*/ 296 w 438"/>
                <a:gd name="T11" fmla="*/ 229 h 429"/>
                <a:gd name="T12" fmla="*/ 202 w 438"/>
                <a:gd name="T13" fmla="*/ 229 h 429"/>
                <a:gd name="T14" fmla="*/ 202 w 438"/>
                <a:gd name="T15" fmla="*/ 135 h 429"/>
                <a:gd name="T16" fmla="*/ 296 w 438"/>
                <a:gd name="T17" fmla="*/ 135 h 429"/>
                <a:gd name="T18" fmla="*/ 296 w 438"/>
                <a:gd name="T19" fmla="*/ 229 h 429"/>
                <a:gd name="T20" fmla="*/ 383 w 438"/>
                <a:gd name="T21" fmla="*/ 0 h 429"/>
                <a:gd name="T22" fmla="*/ 93 w 438"/>
                <a:gd name="T23" fmla="*/ 124 h 429"/>
                <a:gd name="T24" fmla="*/ 0 w 438"/>
                <a:gd name="T25" fmla="*/ 354 h 429"/>
                <a:gd name="T26" fmla="*/ 69 w 438"/>
                <a:gd name="T27" fmla="*/ 265 h 429"/>
                <a:gd name="T28" fmla="*/ 142 w 438"/>
                <a:gd name="T29" fmla="*/ 243 h 429"/>
                <a:gd name="T30" fmla="*/ 175 w 438"/>
                <a:gd name="T31" fmla="*/ 254 h 429"/>
                <a:gd name="T32" fmla="*/ 163 w 438"/>
                <a:gd name="T33" fmla="*/ 360 h 429"/>
                <a:gd name="T34" fmla="*/ 162 w 438"/>
                <a:gd name="T35" fmla="*/ 361 h 429"/>
                <a:gd name="T36" fmla="*/ 74 w 438"/>
                <a:gd name="T37" fmla="*/ 429 h 429"/>
                <a:gd name="T38" fmla="*/ 304 w 438"/>
                <a:gd name="T39" fmla="*/ 336 h 429"/>
                <a:gd name="T40" fmla="*/ 422 w 438"/>
                <a:gd name="T41" fmla="*/ 6 h 429"/>
                <a:gd name="T42" fmla="*/ 383 w 438"/>
                <a:gd name="T43"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8" h="429">
                  <a:moveTo>
                    <a:pt x="367" y="111"/>
                  </a:moveTo>
                  <a:cubicBezTo>
                    <a:pt x="354" y="124"/>
                    <a:pt x="333" y="124"/>
                    <a:pt x="320" y="111"/>
                  </a:cubicBezTo>
                  <a:cubicBezTo>
                    <a:pt x="307" y="98"/>
                    <a:pt x="307" y="77"/>
                    <a:pt x="320" y="64"/>
                  </a:cubicBezTo>
                  <a:cubicBezTo>
                    <a:pt x="333" y="51"/>
                    <a:pt x="354" y="51"/>
                    <a:pt x="367" y="64"/>
                  </a:cubicBezTo>
                  <a:cubicBezTo>
                    <a:pt x="380" y="77"/>
                    <a:pt x="380" y="98"/>
                    <a:pt x="367" y="111"/>
                  </a:cubicBezTo>
                  <a:close/>
                  <a:moveTo>
                    <a:pt x="296" y="229"/>
                  </a:moveTo>
                  <a:cubicBezTo>
                    <a:pt x="270" y="255"/>
                    <a:pt x="228" y="255"/>
                    <a:pt x="202" y="229"/>
                  </a:cubicBezTo>
                  <a:cubicBezTo>
                    <a:pt x="176" y="203"/>
                    <a:pt x="176" y="161"/>
                    <a:pt x="202" y="135"/>
                  </a:cubicBezTo>
                  <a:cubicBezTo>
                    <a:pt x="228" y="109"/>
                    <a:pt x="270" y="109"/>
                    <a:pt x="296" y="135"/>
                  </a:cubicBezTo>
                  <a:cubicBezTo>
                    <a:pt x="322" y="161"/>
                    <a:pt x="322" y="203"/>
                    <a:pt x="296" y="229"/>
                  </a:cubicBezTo>
                  <a:close/>
                  <a:moveTo>
                    <a:pt x="383" y="0"/>
                  </a:moveTo>
                  <a:cubicBezTo>
                    <a:pt x="303" y="0"/>
                    <a:pt x="178" y="39"/>
                    <a:pt x="93" y="124"/>
                  </a:cubicBezTo>
                  <a:cubicBezTo>
                    <a:pt x="22" y="195"/>
                    <a:pt x="3" y="288"/>
                    <a:pt x="0" y="354"/>
                  </a:cubicBezTo>
                  <a:lnTo>
                    <a:pt x="69" y="265"/>
                  </a:lnTo>
                  <a:cubicBezTo>
                    <a:pt x="82" y="252"/>
                    <a:pt x="117" y="243"/>
                    <a:pt x="142" y="243"/>
                  </a:cubicBezTo>
                  <a:cubicBezTo>
                    <a:pt x="157" y="243"/>
                    <a:pt x="168" y="247"/>
                    <a:pt x="175" y="254"/>
                  </a:cubicBezTo>
                  <a:cubicBezTo>
                    <a:pt x="197" y="276"/>
                    <a:pt x="180" y="343"/>
                    <a:pt x="163" y="360"/>
                  </a:cubicBezTo>
                  <a:lnTo>
                    <a:pt x="162" y="361"/>
                  </a:lnTo>
                  <a:lnTo>
                    <a:pt x="74" y="429"/>
                  </a:lnTo>
                  <a:cubicBezTo>
                    <a:pt x="145" y="426"/>
                    <a:pt x="235" y="405"/>
                    <a:pt x="304" y="336"/>
                  </a:cubicBezTo>
                  <a:cubicBezTo>
                    <a:pt x="431" y="210"/>
                    <a:pt x="438" y="26"/>
                    <a:pt x="422" y="6"/>
                  </a:cubicBezTo>
                  <a:cubicBezTo>
                    <a:pt x="421" y="5"/>
                    <a:pt x="410" y="0"/>
                    <a:pt x="383" y="0"/>
                  </a:cubicBezTo>
                </a:path>
              </a:pathLst>
            </a:custGeom>
            <a:grpFill/>
            <a:ln w="9525">
              <a:noFill/>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en-US" sz="1458" b="0" i="0" u="none" strike="noStrike" kern="1200" cap="none" spc="0" normalizeH="0" baseline="0" noProof="0">
                <a:ln>
                  <a:noFill/>
                </a:ln>
                <a:solidFill>
                  <a:prstClr val="black"/>
                </a:solidFill>
                <a:effectLst/>
                <a:uLnTx/>
                <a:uFillTx/>
                <a:latin typeface="Calibri"/>
                <a:ea typeface="+mn-ea"/>
                <a:cs typeface="+mn-cs"/>
              </a:endParaRPr>
            </a:p>
          </p:txBody>
        </p:sp>
      </p:grpSp>
      <p:sp>
        <p:nvSpPr>
          <p:cNvPr id="267" name="TextBox 160"/>
          <p:cNvSpPr txBox="1"/>
          <p:nvPr/>
        </p:nvSpPr>
        <p:spPr>
          <a:xfrm>
            <a:off x="8843801" y="3595926"/>
            <a:ext cx="694421"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620" b="1" i="0" u="none" strike="noStrike" kern="0" cap="none" spc="0" normalizeH="0" baseline="0" noProof="0">
                <a:ln>
                  <a:noFill/>
                </a:ln>
                <a:solidFill>
                  <a:srgbClr val="1F497D"/>
                </a:solidFill>
                <a:effectLst/>
                <a:uLnTx/>
                <a:uFillTx/>
                <a:latin typeface="Calibri"/>
                <a:ea typeface="+mn-ea"/>
                <a:cs typeface="+mn-cs"/>
              </a:rPr>
              <a:t>Kurul </a:t>
            </a:r>
            <a:endParaRPr kumimoji="0" lang="tr-TR" sz="1620" b="1" i="0" u="none" strike="noStrike" kern="0" cap="none" spc="0" normalizeH="0" baseline="0" noProof="0">
              <a:ln>
                <a:noFill/>
              </a:ln>
              <a:solidFill>
                <a:srgbClr val="1F497D"/>
              </a:solidFill>
              <a:effectLst/>
              <a:uLnTx/>
              <a:uFillTx/>
              <a:latin typeface="Calibri"/>
              <a:ea typeface="+mn-ea"/>
              <a:cs typeface="+mn-cs"/>
            </a:endParaRPr>
          </a:p>
        </p:txBody>
      </p:sp>
      <p:sp>
        <p:nvSpPr>
          <p:cNvPr id="268" name="TextBox 162"/>
          <p:cNvSpPr txBox="1"/>
          <p:nvPr/>
        </p:nvSpPr>
        <p:spPr>
          <a:xfrm>
            <a:off x="5711195" y="3867390"/>
            <a:ext cx="1956408" cy="889987"/>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1" i="0" u="none" strike="noStrike" kern="0" cap="none" spc="0" normalizeH="0" baseline="0" noProof="0" dirty="0">
                <a:ln>
                  <a:noFill/>
                </a:ln>
                <a:solidFill>
                  <a:prstClr val="white">
                    <a:lumMod val="50000"/>
                  </a:prstClr>
                </a:solidFill>
                <a:effectLst/>
                <a:uLnTx/>
                <a:uFillTx/>
                <a:latin typeface="Calibri"/>
                <a:ea typeface="+mn-ea"/>
                <a:cs typeface="+mn-cs"/>
              </a:rPr>
              <a:t>   </a:t>
            </a:r>
            <a:r>
              <a:rPr kumimoji="0" lang="tr-TR" sz="1296" b="1" i="0" u="none" strike="noStrike" kern="0" cap="none" spc="0" normalizeH="0" baseline="0" noProof="0" dirty="0">
                <a:ln>
                  <a:noFill/>
                </a:ln>
                <a:solidFill>
                  <a:srgbClr val="445469"/>
                </a:solidFill>
                <a:effectLst/>
                <a:uLnTx/>
                <a:uFillTx/>
                <a:latin typeface="Calibri"/>
                <a:ea typeface="+mn-ea"/>
                <a:cs typeface="+mn-cs"/>
              </a:rPr>
              <a:t>Nihai Karar</a:t>
            </a:r>
          </a:p>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a:t>
            </a:r>
            <a:r>
              <a:rPr kumimoji="0" lang="en-US" sz="1296" b="0" i="0" u="none" strike="noStrike" kern="0" cap="none" spc="0" normalizeH="0" baseline="0" noProof="0" dirty="0" err="1">
                <a:ln>
                  <a:noFill/>
                </a:ln>
                <a:solidFill>
                  <a:prstClr val="white">
                    <a:lumMod val="50000"/>
                  </a:prstClr>
                </a:solidFill>
                <a:effectLst/>
                <a:uLnTx/>
                <a:uFillTx/>
                <a:latin typeface="Calibri"/>
                <a:ea typeface="+mn-ea"/>
                <a:cs typeface="+mn-cs"/>
              </a:rPr>
              <a:t>Düzeltme</a:t>
            </a: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 </a:t>
            </a:r>
            <a:r>
              <a:rPr kumimoji="0" lang="en-US" sz="1296" b="0" i="0" u="none" strike="noStrike" kern="0" cap="none" spc="0" normalizeH="0" baseline="0" noProof="0" dirty="0" err="1">
                <a:ln>
                  <a:noFill/>
                </a:ln>
                <a:solidFill>
                  <a:prstClr val="white">
                    <a:lumMod val="50000"/>
                  </a:prstClr>
                </a:solidFill>
                <a:effectLst/>
                <a:uLnTx/>
                <a:uFillTx/>
                <a:latin typeface="Calibri"/>
                <a:ea typeface="+mn-ea"/>
                <a:cs typeface="+mn-cs"/>
              </a:rPr>
              <a:t>isterse</a:t>
            </a: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 : </a:t>
            </a:r>
            <a:r>
              <a:rPr kumimoji="0" lang="en-US" sz="1296" b="0" i="0" u="none" strike="noStrike" kern="0" cap="none" spc="0" normalizeH="0" baseline="0" noProof="0" dirty="0" err="1">
                <a:ln>
                  <a:noFill/>
                </a:ln>
                <a:solidFill>
                  <a:prstClr val="white">
                    <a:lumMod val="50000"/>
                  </a:prstClr>
                </a:solidFill>
                <a:effectLst/>
                <a:uLnTx/>
                <a:uFillTx/>
                <a:latin typeface="Calibri"/>
                <a:ea typeface="+mn-ea"/>
                <a:cs typeface="+mn-cs"/>
              </a:rPr>
              <a:t>en</a:t>
            </a: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 </a:t>
            </a: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fazla 60 gün</a:t>
            </a: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 </a:t>
            </a:r>
            <a:r>
              <a:rPr kumimoji="0" lang="en-US" sz="1296" b="0" i="0" u="none" strike="noStrike" kern="0" cap="none" spc="0" normalizeH="0" baseline="0" noProof="0" dirty="0" err="1">
                <a:ln>
                  <a:noFill/>
                </a:ln>
                <a:solidFill>
                  <a:prstClr val="white">
                    <a:lumMod val="50000"/>
                  </a:prstClr>
                </a:solidFill>
                <a:effectLst/>
                <a:uLnTx/>
                <a:uFillTx/>
                <a:latin typeface="Calibri"/>
                <a:ea typeface="+mn-ea"/>
                <a:cs typeface="+mn-cs"/>
              </a:rPr>
              <a:t>süre</a:t>
            </a: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 </a:t>
            </a:r>
            <a:r>
              <a:rPr kumimoji="0" lang="en-US" sz="1296" b="0" i="0" u="none" strike="noStrike" kern="0" cap="none" spc="0" normalizeH="0" baseline="0" noProof="0" dirty="0" err="1">
                <a:ln>
                  <a:noFill/>
                </a:ln>
                <a:solidFill>
                  <a:prstClr val="white">
                    <a:lumMod val="50000"/>
                  </a:prstClr>
                </a:solidFill>
                <a:effectLst/>
                <a:uLnTx/>
                <a:uFillTx/>
                <a:latin typeface="Calibri"/>
                <a:ea typeface="+mn-ea"/>
                <a:cs typeface="+mn-cs"/>
              </a:rPr>
              <a:t>verir</a:t>
            </a:r>
            <a:r>
              <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rPr>
              <a:t>)</a:t>
            </a:r>
          </a:p>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endParaRPr>
          </a:p>
        </p:txBody>
      </p:sp>
      <p:sp>
        <p:nvSpPr>
          <p:cNvPr id="269" name="Oval 268"/>
          <p:cNvSpPr>
            <a:spLocks noChangeAspect="1"/>
          </p:cNvSpPr>
          <p:nvPr/>
        </p:nvSpPr>
        <p:spPr>
          <a:xfrm>
            <a:off x="9043495" y="3455096"/>
            <a:ext cx="203100" cy="181570"/>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0" name="POWER_USER_ID_ICONS_Gavel"/>
          <p:cNvSpPr>
            <a:spLocks noChangeArrowheads="1"/>
          </p:cNvSpPr>
          <p:nvPr>
            <p:custDataLst>
              <p:tags r:id="rId10"/>
            </p:custDataLst>
          </p:nvPr>
        </p:nvSpPr>
        <p:spPr bwMode="auto">
          <a:xfrm>
            <a:off x="6882284" y="3371437"/>
            <a:ext cx="250902" cy="16846"/>
          </a:xfrm>
          <a:prstGeom prst="rect">
            <a:avLst/>
          </a:prstGeom>
          <a:solidFill>
            <a:schemeClr val="tx2"/>
          </a:solidFill>
          <a:ln w="9525">
            <a:noFill/>
            <a:miter lim="800000"/>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1" name="POWER_USER_ID_ICONS_Gavel"/>
          <p:cNvSpPr>
            <a:spLocks/>
          </p:cNvSpPr>
          <p:nvPr>
            <p:custDataLst>
              <p:tags r:id="rId11"/>
            </p:custDataLst>
          </p:nvPr>
        </p:nvSpPr>
        <p:spPr bwMode="auto">
          <a:xfrm>
            <a:off x="6914019" y="3204963"/>
            <a:ext cx="95204" cy="90431"/>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solidFill>
            <a:schemeClr val="tx2"/>
          </a:solidFill>
          <a:ln w="9525">
            <a:noFill/>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2" name="POWER_USER_ID_ICONS_Gavel"/>
          <p:cNvSpPr>
            <a:spLocks/>
          </p:cNvSpPr>
          <p:nvPr>
            <p:custDataLst>
              <p:tags r:id="rId12"/>
            </p:custDataLst>
          </p:nvPr>
        </p:nvSpPr>
        <p:spPr bwMode="auto">
          <a:xfrm>
            <a:off x="6685927" y="3256381"/>
            <a:ext cx="247926" cy="129442"/>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solidFill>
            <a:schemeClr val="tx2"/>
          </a:solidFill>
          <a:ln w="9525">
            <a:noFill/>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3" name="POWER_USER_ID_ICONS_Gavel"/>
          <p:cNvSpPr>
            <a:spLocks/>
          </p:cNvSpPr>
          <p:nvPr>
            <p:custDataLst>
              <p:tags r:id="rId13"/>
            </p:custDataLst>
          </p:nvPr>
        </p:nvSpPr>
        <p:spPr bwMode="auto">
          <a:xfrm>
            <a:off x="6650513" y="3249930"/>
            <a:ext cx="144790" cy="102844"/>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solidFill>
            <a:schemeClr val="tx2"/>
          </a:solidFill>
          <a:ln w="9525">
            <a:noFill/>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5" name="POWER_USER_ID_ICONS_Gavel"/>
          <p:cNvSpPr>
            <a:spLocks/>
          </p:cNvSpPr>
          <p:nvPr>
            <p:custDataLst>
              <p:tags r:id="rId14"/>
            </p:custDataLst>
          </p:nvPr>
        </p:nvSpPr>
        <p:spPr bwMode="auto">
          <a:xfrm>
            <a:off x="6847469" y="3126909"/>
            <a:ext cx="144790" cy="102844"/>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solidFill>
            <a:schemeClr val="tx2"/>
          </a:solidFill>
          <a:ln w="9525">
            <a:noFill/>
            <a:round/>
            <a:headEnd/>
            <a:tailEnd/>
          </a:ln>
        </p:spPr>
        <p:txBody>
          <a:bodyPr vert="horz" wrap="square" lIns="55561" tIns="27780" rIns="55561" bIns="27780" numCol="1" anchor="t" anchorCtr="0" compatLnSpc="1">
            <a:prstTxWarp prst="textNoShape">
              <a:avLst/>
            </a:prstTxWarp>
          </a:bodyPr>
          <a:lstStyle/>
          <a:p>
            <a:pPr marL="0" marR="0" lvl="0" indent="0" algn="l"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276" name="Clipboard3"/>
          <p:cNvGrpSpPr>
            <a:grpSpLocks noChangeAspect="1"/>
          </p:cNvGrpSpPr>
          <p:nvPr>
            <p:custDataLst>
              <p:tags r:id="rId15"/>
            </p:custDataLst>
          </p:nvPr>
        </p:nvGrpSpPr>
        <p:grpSpPr bwMode="auto">
          <a:xfrm>
            <a:off x="6877318" y="1479177"/>
            <a:ext cx="329641" cy="439859"/>
            <a:chOff x="63" y="9"/>
            <a:chExt cx="326" cy="435"/>
          </a:xfrm>
          <a:solidFill>
            <a:srgbClr val="1F497D"/>
          </a:solidFill>
        </p:grpSpPr>
        <p:sp>
          <p:nvSpPr>
            <p:cNvPr id="277" name="Clipboard3"/>
            <p:cNvSpPr>
              <a:spLocks noEditPoints="1"/>
            </p:cNvSpPr>
            <p:nvPr>
              <p:custDataLst>
                <p:tags r:id="rId21"/>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grpFill/>
            <a:ln w="0">
              <a:solidFill>
                <a:schemeClr val="accent1"/>
              </a:solidFill>
              <a:prstDash val="solid"/>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fr-FR" sz="1458" b="0" i="0" u="none" strike="noStrike" kern="1200" cap="none" spc="0" normalizeH="0" baseline="0" noProof="0">
                <a:ln>
                  <a:noFill/>
                </a:ln>
                <a:solidFill>
                  <a:prstClr val="black"/>
                </a:solidFill>
                <a:effectLst/>
                <a:uLnTx/>
                <a:uFillTx/>
                <a:latin typeface="Calibri"/>
                <a:ea typeface="+mn-ea"/>
                <a:cs typeface="+mn-cs"/>
              </a:endParaRPr>
            </a:p>
          </p:txBody>
        </p:sp>
        <p:sp>
          <p:nvSpPr>
            <p:cNvPr id="278" name="Clipboard3"/>
            <p:cNvSpPr>
              <a:spLocks/>
            </p:cNvSpPr>
            <p:nvPr>
              <p:custDataLst>
                <p:tags r:id="rId22"/>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chemeClr val="accent1"/>
              </a:solidFill>
              <a:prstDash val="solid"/>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fr-FR" sz="1458" b="0" i="0" u="none" strike="noStrike" kern="1200" cap="none" spc="0" normalizeH="0" baseline="0" noProof="0">
                <a:ln>
                  <a:noFill/>
                </a:ln>
                <a:solidFill>
                  <a:prstClr val="black"/>
                </a:solidFill>
                <a:effectLst/>
                <a:uLnTx/>
                <a:uFillTx/>
                <a:latin typeface="Calibri"/>
                <a:ea typeface="+mn-ea"/>
                <a:cs typeface="+mn-cs"/>
              </a:endParaRPr>
            </a:p>
          </p:txBody>
        </p:sp>
        <p:sp>
          <p:nvSpPr>
            <p:cNvPr id="279" name="Clipboard3"/>
            <p:cNvSpPr>
              <a:spLocks/>
            </p:cNvSpPr>
            <p:nvPr>
              <p:custDataLst>
                <p:tags r:id="rId23"/>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chemeClr val="accent1"/>
              </a:solidFill>
              <a:prstDash val="solid"/>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fr-FR" sz="1458" b="0" i="0" u="none" strike="noStrike" kern="1200" cap="none" spc="0" normalizeH="0" baseline="0" noProof="0">
                <a:ln>
                  <a:noFill/>
                </a:ln>
                <a:solidFill>
                  <a:prstClr val="black"/>
                </a:solidFill>
                <a:effectLst/>
                <a:uLnTx/>
                <a:uFillTx/>
                <a:latin typeface="Calibri"/>
                <a:ea typeface="+mn-ea"/>
                <a:cs typeface="+mn-cs"/>
              </a:endParaRPr>
            </a:p>
          </p:txBody>
        </p:sp>
        <p:sp>
          <p:nvSpPr>
            <p:cNvPr id="280" name="Clipboard3"/>
            <p:cNvSpPr>
              <a:spLocks/>
            </p:cNvSpPr>
            <p:nvPr>
              <p:custDataLst>
                <p:tags r:id="rId24"/>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chemeClr val="accent1"/>
              </a:solidFill>
              <a:prstDash val="solid"/>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fr-FR" sz="1458" b="0" i="0" u="none" strike="noStrike" kern="1200" cap="none" spc="0" normalizeH="0" baseline="0" noProof="0">
                <a:ln>
                  <a:noFill/>
                </a:ln>
                <a:solidFill>
                  <a:prstClr val="black"/>
                </a:solidFill>
                <a:effectLst/>
                <a:uLnTx/>
                <a:uFillTx/>
                <a:latin typeface="Calibri"/>
                <a:ea typeface="+mn-ea"/>
                <a:cs typeface="+mn-cs"/>
              </a:endParaRPr>
            </a:p>
          </p:txBody>
        </p:sp>
      </p:grpSp>
      <p:sp>
        <p:nvSpPr>
          <p:cNvPr id="281" name="TextBox 173"/>
          <p:cNvSpPr txBox="1"/>
          <p:nvPr/>
        </p:nvSpPr>
        <p:spPr>
          <a:xfrm>
            <a:off x="1961382" y="3702418"/>
            <a:ext cx="1774845"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a:ln>
                  <a:noFill/>
                </a:ln>
                <a:solidFill>
                  <a:srgbClr val="1F497D"/>
                </a:solidFill>
                <a:effectLst/>
                <a:uLnTx/>
                <a:uFillTx/>
                <a:latin typeface="Calibri"/>
                <a:ea typeface="+mn-ea"/>
                <a:cs typeface="+mn-cs"/>
              </a:rPr>
              <a:t>Projenin İzlenmesi</a:t>
            </a:r>
            <a:endParaRPr kumimoji="0" lang="en-US" sz="1620" b="1" i="0" u="none" strike="noStrike" kern="0" cap="none" spc="0" normalizeH="0" baseline="0" noProof="0">
              <a:ln>
                <a:noFill/>
              </a:ln>
              <a:solidFill>
                <a:srgbClr val="1F497D"/>
              </a:solidFill>
              <a:effectLst/>
              <a:uLnTx/>
              <a:uFillTx/>
              <a:latin typeface="Calibri"/>
              <a:ea typeface="+mn-ea"/>
              <a:cs typeface="+mn-cs"/>
            </a:endParaRPr>
          </a:p>
        </p:txBody>
      </p:sp>
      <p:sp>
        <p:nvSpPr>
          <p:cNvPr id="282" name="Dikdörtgen 281"/>
          <p:cNvSpPr/>
          <p:nvPr/>
        </p:nvSpPr>
        <p:spPr>
          <a:xfrm>
            <a:off x="1753181" y="4021802"/>
            <a:ext cx="2108269" cy="291747"/>
          </a:xfrm>
          <a:prstGeom prst="rect">
            <a:avLst/>
          </a:prstGeom>
        </p:spPr>
        <p:txBody>
          <a:bodyPr wrap="none">
            <a:spAutoFit/>
          </a:bodyPr>
          <a:lstStyle/>
          <a:p>
            <a:pPr marL="0" marR="0" lvl="0" indent="0" algn="ctr" defTabSz="987698" rtl="0" eaLnBrk="1" fontAlgn="auto" latinLnBrk="0" hangingPunct="1">
              <a:lnSpc>
                <a:spcPct val="100000"/>
              </a:lnSpc>
              <a:spcBef>
                <a:spcPts val="0"/>
              </a:spcBef>
              <a:spcAft>
                <a:spcPts val="0"/>
              </a:spcAft>
              <a:buClrTx/>
              <a:buSzTx/>
              <a:buFontTx/>
              <a:buNone/>
              <a:tabLst/>
              <a:defRPr/>
            </a:pPr>
            <a:r>
              <a:rPr kumimoji="0" lang="tr-TR" sz="1296" b="1" i="0" u="none" strike="noStrike" kern="0" cap="none" spc="0" normalizeH="0" baseline="0" noProof="0" dirty="0">
                <a:ln>
                  <a:noFill/>
                </a:ln>
                <a:solidFill>
                  <a:srgbClr val="445469"/>
                </a:solidFill>
                <a:effectLst/>
                <a:uLnTx/>
                <a:uFillTx/>
                <a:latin typeface="Calibri"/>
                <a:ea typeface="+mn-ea"/>
                <a:cs typeface="+mn-cs"/>
              </a:rPr>
              <a:t>4’er aylık dönemler halinde </a:t>
            </a:r>
          </a:p>
        </p:txBody>
      </p:sp>
      <p:sp>
        <p:nvSpPr>
          <p:cNvPr id="283" name="Oval 282"/>
          <p:cNvSpPr>
            <a:spLocks noChangeAspect="1"/>
          </p:cNvSpPr>
          <p:nvPr/>
        </p:nvSpPr>
        <p:spPr>
          <a:xfrm>
            <a:off x="2662536" y="3467957"/>
            <a:ext cx="184208"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5" name="TextBox 162"/>
          <p:cNvSpPr txBox="1"/>
          <p:nvPr/>
        </p:nvSpPr>
        <p:spPr>
          <a:xfrm>
            <a:off x="8429668" y="3820152"/>
            <a:ext cx="1574940" cy="889987"/>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1" i="0" u="none" strike="noStrike" kern="0" cap="none" spc="0" normalizeH="0" baseline="0" noProof="0" dirty="0">
                <a:ln>
                  <a:noFill/>
                </a:ln>
                <a:solidFill>
                  <a:prstClr val="white">
                    <a:lumMod val="50000"/>
                  </a:prstClr>
                </a:solidFill>
                <a:effectLst/>
                <a:uLnTx/>
                <a:uFillTx/>
                <a:latin typeface="Calibri"/>
                <a:ea typeface="+mn-ea"/>
                <a:cs typeface="+mn-cs"/>
              </a:rPr>
              <a:t>   </a:t>
            </a:r>
            <a:r>
              <a:rPr kumimoji="0" lang="tr-TR" sz="1296" b="1" i="0" u="none" strike="noStrike" kern="0" cap="none" spc="0" normalizeH="0" baseline="0" noProof="0" dirty="0">
                <a:ln>
                  <a:noFill/>
                </a:ln>
                <a:solidFill>
                  <a:srgbClr val="445469"/>
                </a:solidFill>
                <a:effectLst/>
                <a:uLnTx/>
                <a:uFillTx/>
                <a:latin typeface="Calibri"/>
                <a:ea typeface="+mn-ea"/>
                <a:cs typeface="+mn-cs"/>
              </a:rPr>
              <a:t>Değerlendirme ve Karar </a:t>
            </a:r>
          </a:p>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Düzeltme isterse : en az1 ay süre verir)</a:t>
            </a:r>
            <a:endParaRPr kumimoji="0" lang="en-US" sz="1296" b="0" i="0" u="none" strike="noStrike" kern="0" cap="none" spc="0" normalizeH="0" baseline="0" noProof="0" dirty="0">
              <a:ln>
                <a:noFill/>
              </a:ln>
              <a:solidFill>
                <a:prstClr val="white">
                  <a:lumMod val="50000"/>
                </a:prstClr>
              </a:solidFill>
              <a:effectLst/>
              <a:uLnTx/>
              <a:uFillTx/>
              <a:latin typeface="Calibri"/>
              <a:ea typeface="+mn-ea"/>
              <a:cs typeface="+mn-cs"/>
            </a:endParaRPr>
          </a:p>
        </p:txBody>
      </p:sp>
      <p:sp>
        <p:nvSpPr>
          <p:cNvPr id="2" name="Dikdörtgen 1"/>
          <p:cNvSpPr/>
          <p:nvPr/>
        </p:nvSpPr>
        <p:spPr>
          <a:xfrm>
            <a:off x="1302193" y="1075065"/>
            <a:ext cx="2081019" cy="294248"/>
          </a:xfrm>
          <a:prstGeom prst="rect">
            <a:avLst/>
          </a:prstGeom>
        </p:spPr>
        <p:txBody>
          <a:bodyPr wrap="none">
            <a:spAutoFit/>
          </a:bodyPr>
          <a:lstStyle/>
          <a:p>
            <a:pPr marL="0" marR="0" lvl="0" indent="0" algn="l" defTabSz="987698" rtl="0" eaLnBrk="1" fontAlgn="base" latinLnBrk="0" hangingPunct="1">
              <a:lnSpc>
                <a:spcPct val="90000"/>
              </a:lnSpc>
              <a:spcBef>
                <a:spcPts val="0"/>
              </a:spcBef>
              <a:spcAft>
                <a:spcPct val="0"/>
              </a:spcAft>
              <a:buClrTx/>
              <a:buSzTx/>
              <a:buFontTx/>
              <a:buNone/>
              <a:tabLst/>
              <a:defRPr/>
            </a:pPr>
            <a:r>
              <a:rPr kumimoji="0" lang="tr-TR" sz="1458" b="1" i="0" u="none" strike="noStrike" kern="1200" cap="none" spc="0" normalizeH="0" baseline="0" noProof="0">
                <a:ln>
                  <a:noFill/>
                </a:ln>
                <a:solidFill>
                  <a:srgbClr val="00B050"/>
                </a:solidFill>
                <a:effectLst/>
                <a:uLnTx/>
                <a:uFillTx/>
                <a:latin typeface="Times New Roman" panose="02020603050405020304" pitchFamily="18" charset="0"/>
                <a:ea typeface="ヒラギノ角ゴ Pro W3" pitchFamily="1" charset="-128"/>
                <a:cs typeface="Times New Roman" panose="02020603050405020304" pitchFamily="18" charset="0"/>
              </a:rPr>
              <a:t>DESTEK SÜREÇLERİ</a:t>
            </a:r>
            <a:endParaRPr kumimoji="0" lang="en-US" sz="1458" b="1" i="0" u="none" strike="noStrike" kern="1200" cap="none" spc="0" normalizeH="0" baseline="0" noProof="0">
              <a:ln>
                <a:noFill/>
              </a:ln>
              <a:solidFill>
                <a:srgbClr val="00B05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11" name="TextBox 173"/>
          <p:cNvSpPr txBox="1"/>
          <p:nvPr/>
        </p:nvSpPr>
        <p:spPr>
          <a:xfrm>
            <a:off x="6143727" y="2190625"/>
            <a:ext cx="1869422" cy="341632"/>
          </a:xfrm>
          <a:prstGeom prst="rect">
            <a:avLst/>
          </a:prstGeom>
          <a:noFill/>
        </p:spPr>
        <p:txBody>
          <a:bodyPr wrap="non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620" b="1" i="0" u="none" strike="noStrike" kern="0" cap="none" spc="0" normalizeH="0" baseline="0" noProof="0">
                <a:ln>
                  <a:noFill/>
                </a:ln>
                <a:solidFill>
                  <a:srgbClr val="1F497D"/>
                </a:solidFill>
                <a:effectLst/>
                <a:uLnTx/>
                <a:uFillTx/>
                <a:latin typeface="Calibri"/>
                <a:ea typeface="+mn-ea"/>
                <a:cs typeface="+mn-cs"/>
              </a:rPr>
              <a:t>Prototip İncelemesi</a:t>
            </a:r>
            <a:endParaRPr kumimoji="0" lang="en-US" sz="1620" b="1" i="0" u="none" strike="noStrike" kern="0" cap="none" spc="0" normalizeH="0" baseline="0" noProof="0">
              <a:ln>
                <a:noFill/>
              </a:ln>
              <a:solidFill>
                <a:srgbClr val="1F497D"/>
              </a:solidFill>
              <a:effectLst/>
              <a:uLnTx/>
              <a:uFillTx/>
              <a:latin typeface="Calibri"/>
              <a:ea typeface="+mn-ea"/>
              <a:cs typeface="+mn-cs"/>
            </a:endParaRPr>
          </a:p>
        </p:txBody>
      </p:sp>
      <p:sp>
        <p:nvSpPr>
          <p:cNvPr id="112" name="Dikdörtgen 111"/>
          <p:cNvSpPr/>
          <p:nvPr/>
        </p:nvSpPr>
        <p:spPr>
          <a:xfrm>
            <a:off x="6290473" y="2450325"/>
            <a:ext cx="1532629" cy="690574"/>
          </a:xfrm>
          <a:prstGeom prst="rect">
            <a:avLst/>
          </a:prstGeom>
        </p:spPr>
        <p:txBody>
          <a:bodyPr wrap="square">
            <a:spAutoFit/>
          </a:bodyPr>
          <a:lstStyle/>
          <a:p>
            <a:pPr marL="0" marR="0" lvl="0" indent="0" algn="ctr" defTabSz="987698"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srgbClr val="445469"/>
                </a:solidFill>
                <a:effectLst/>
                <a:uLnTx/>
                <a:uFillTx/>
                <a:latin typeface="Calibri"/>
                <a:ea typeface="+mn-ea"/>
                <a:cs typeface="+mn-cs"/>
              </a:rPr>
              <a:t>(b, c, e, f bentleri kapsamında yapılan başvurular için) </a:t>
            </a:r>
          </a:p>
        </p:txBody>
      </p:sp>
      <p:sp>
        <p:nvSpPr>
          <p:cNvPr id="113" name="Oval 112"/>
          <p:cNvSpPr>
            <a:spLocks noChangeAspect="1"/>
          </p:cNvSpPr>
          <p:nvPr/>
        </p:nvSpPr>
        <p:spPr>
          <a:xfrm>
            <a:off x="9055687" y="1996373"/>
            <a:ext cx="191437" cy="16271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5617" rtl="0" eaLnBrk="1" fontAlgn="auto" latinLnBrk="0" hangingPunct="1">
              <a:lnSpc>
                <a:spcPct val="100000"/>
              </a:lnSpc>
              <a:spcBef>
                <a:spcPts val="0"/>
              </a:spcBef>
              <a:spcAft>
                <a:spcPts val="0"/>
              </a:spcAft>
              <a:buClrTx/>
              <a:buSzTx/>
              <a:buFontTx/>
              <a:buNone/>
              <a:tabLst/>
              <a:defRPr/>
            </a:pPr>
            <a:endParaRPr kumimoji="0" lang="en-US" sz="1094"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4" name="TextBox 93"/>
          <p:cNvSpPr txBox="1"/>
          <p:nvPr/>
        </p:nvSpPr>
        <p:spPr>
          <a:xfrm>
            <a:off x="8038237" y="2222846"/>
            <a:ext cx="2270453" cy="341632"/>
          </a:xfrm>
          <a:prstGeom prst="rect">
            <a:avLst/>
          </a:prstGeom>
          <a:noFill/>
        </p:spPr>
        <p:txBody>
          <a:bodyPr wrap="square" rtlCol="0">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en-US" sz="1620" b="1" i="0" u="none" strike="noStrike" kern="0" cap="none" spc="0" normalizeH="0" baseline="0" noProof="0" err="1">
                <a:ln>
                  <a:noFill/>
                </a:ln>
                <a:solidFill>
                  <a:srgbClr val="1F497D"/>
                </a:solidFill>
                <a:effectLst/>
                <a:uLnTx/>
                <a:uFillTx/>
                <a:latin typeface="Calibri"/>
                <a:ea typeface="+mn-ea"/>
                <a:cs typeface="+mn-cs"/>
              </a:rPr>
              <a:t>Yerinde</a:t>
            </a:r>
            <a:r>
              <a:rPr kumimoji="0" lang="en-US" sz="1620" b="1" i="0" u="none" strike="noStrike" kern="0" cap="none" spc="0" normalizeH="0" baseline="0" noProof="0">
                <a:ln>
                  <a:noFill/>
                </a:ln>
                <a:solidFill>
                  <a:srgbClr val="1F497D"/>
                </a:solidFill>
                <a:effectLst/>
                <a:uLnTx/>
                <a:uFillTx/>
                <a:latin typeface="Calibri"/>
                <a:ea typeface="+mn-ea"/>
                <a:cs typeface="+mn-cs"/>
              </a:rPr>
              <a:t> </a:t>
            </a:r>
            <a:r>
              <a:rPr kumimoji="0" lang="en-US" sz="1620" b="1" i="0" u="none" strike="noStrike" kern="0" cap="none" spc="0" normalizeH="0" baseline="0" noProof="0" err="1">
                <a:ln>
                  <a:noFill/>
                </a:ln>
                <a:solidFill>
                  <a:srgbClr val="1F497D"/>
                </a:solidFill>
                <a:effectLst/>
                <a:uLnTx/>
                <a:uFillTx/>
                <a:latin typeface="Calibri"/>
                <a:ea typeface="+mn-ea"/>
                <a:cs typeface="+mn-cs"/>
              </a:rPr>
              <a:t>İncelemeler</a:t>
            </a:r>
            <a:r>
              <a:rPr kumimoji="0" lang="en-US" sz="1620" b="1" i="0" u="none" strike="noStrike" kern="0" cap="none" spc="0" normalizeH="0" baseline="0" noProof="0">
                <a:ln>
                  <a:noFill/>
                </a:ln>
                <a:solidFill>
                  <a:srgbClr val="1F497D"/>
                </a:solidFill>
                <a:effectLst/>
                <a:uLnTx/>
                <a:uFillTx/>
                <a:latin typeface="Calibri"/>
                <a:ea typeface="+mn-ea"/>
                <a:cs typeface="+mn-cs"/>
              </a:rPr>
              <a:t> </a:t>
            </a:r>
          </a:p>
        </p:txBody>
      </p:sp>
      <p:sp>
        <p:nvSpPr>
          <p:cNvPr id="4" name="Dikdörtgen 3"/>
          <p:cNvSpPr/>
          <p:nvPr/>
        </p:nvSpPr>
        <p:spPr>
          <a:xfrm>
            <a:off x="7911075" y="2453188"/>
            <a:ext cx="2444270" cy="790473"/>
          </a:xfrm>
          <a:prstGeom prst="rect">
            <a:avLst/>
          </a:prstGeom>
        </p:spPr>
        <p:txBody>
          <a:bodyPr wrap="square">
            <a:spAutoFit/>
          </a:bodyPr>
          <a:lstStyle/>
          <a:p>
            <a:pPr marL="0" marR="0" lvl="0" indent="0" algn="ctr" defTabSz="555617" rtl="0" eaLnBrk="1" fontAlgn="auto" latinLnBrk="0" hangingPunct="1">
              <a:lnSpc>
                <a:spcPct val="100000"/>
              </a:lnSpc>
              <a:spcBef>
                <a:spcPts val="0"/>
              </a:spcBef>
              <a:spcAft>
                <a:spcPts val="0"/>
              </a:spcAft>
              <a:buClrTx/>
              <a:buSzTx/>
              <a:buFontTx/>
              <a:buNone/>
              <a:tabLst/>
              <a:defRPr/>
            </a:pPr>
            <a:r>
              <a:rPr kumimoji="0" lang="tr-TR" sz="1134" b="0" i="0" u="none" strike="noStrike" kern="0" cap="none" spc="0" normalizeH="0" baseline="0" noProof="0" dirty="0">
                <a:ln>
                  <a:noFill/>
                </a:ln>
                <a:solidFill>
                  <a:srgbClr val="445469"/>
                </a:solidFill>
                <a:effectLst/>
                <a:uLnTx/>
                <a:uFillTx/>
                <a:latin typeface="Calibri"/>
                <a:ea typeface="+mn-ea"/>
                <a:cs typeface="+mn-cs"/>
              </a:rPr>
              <a:t>Orta yüksek veya yüksek teknoloji alanında ya da cari işlemler hesabına katkı sunan ürün listesinde ise t</a:t>
            </a:r>
            <a:r>
              <a:rPr kumimoji="0" lang="en-US" sz="1134" b="0" i="0" u="none" strike="noStrike" kern="0" cap="none" spc="0" normalizeH="0" baseline="0" noProof="0" dirty="0" err="1">
                <a:ln>
                  <a:noFill/>
                </a:ln>
                <a:solidFill>
                  <a:srgbClr val="445469"/>
                </a:solidFill>
                <a:effectLst/>
                <a:uLnTx/>
                <a:uFillTx/>
                <a:latin typeface="Calibri"/>
                <a:ea typeface="+mn-ea"/>
                <a:cs typeface="+mn-cs"/>
              </a:rPr>
              <a:t>eknik</a:t>
            </a:r>
            <a:r>
              <a:rPr kumimoji="0" lang="en-US" sz="1134" b="0" i="0" u="none" strike="noStrike" kern="0" cap="none" spc="0" normalizeH="0" baseline="0" noProof="0" dirty="0">
                <a:ln>
                  <a:noFill/>
                </a:ln>
                <a:solidFill>
                  <a:srgbClr val="445469"/>
                </a:solidFill>
                <a:effectLst/>
                <a:uLnTx/>
                <a:uFillTx/>
                <a:latin typeface="Calibri"/>
                <a:ea typeface="+mn-ea"/>
                <a:cs typeface="+mn-cs"/>
              </a:rPr>
              <a:t> </a:t>
            </a:r>
            <a:r>
              <a:rPr kumimoji="0" lang="tr-TR" sz="1134" b="0" i="0" u="none" strike="noStrike" kern="0" cap="none" spc="0" normalizeH="0" baseline="0" noProof="0" dirty="0">
                <a:ln>
                  <a:noFill/>
                </a:ln>
                <a:solidFill>
                  <a:srgbClr val="445469"/>
                </a:solidFill>
                <a:effectLst/>
                <a:uLnTx/>
                <a:uFillTx/>
                <a:latin typeface="Calibri"/>
                <a:ea typeface="+mn-ea"/>
                <a:cs typeface="+mn-cs"/>
              </a:rPr>
              <a:t>inceleme </a:t>
            </a:r>
            <a:r>
              <a:rPr kumimoji="0" lang="en-US" sz="1134" b="0" i="0" u="none" strike="noStrike" kern="0" cap="none" spc="0" normalizeH="0" baseline="0" noProof="0" dirty="0" err="1">
                <a:ln>
                  <a:noFill/>
                </a:ln>
                <a:solidFill>
                  <a:srgbClr val="445469"/>
                </a:solidFill>
                <a:effectLst/>
                <a:uLnTx/>
                <a:uFillTx/>
                <a:latin typeface="Calibri"/>
                <a:ea typeface="+mn-ea"/>
                <a:cs typeface="+mn-cs"/>
              </a:rPr>
              <a:t>ve</a:t>
            </a:r>
            <a:r>
              <a:rPr kumimoji="0" lang="en-US" sz="1134" b="0" i="0" u="none" strike="noStrike" kern="0" cap="none" spc="0" normalizeH="0" baseline="0" noProof="0" dirty="0">
                <a:ln>
                  <a:noFill/>
                </a:ln>
                <a:solidFill>
                  <a:srgbClr val="445469"/>
                </a:solidFill>
                <a:effectLst/>
                <a:uLnTx/>
                <a:uFillTx/>
                <a:latin typeface="Calibri"/>
                <a:ea typeface="+mn-ea"/>
                <a:cs typeface="+mn-cs"/>
              </a:rPr>
              <a:t> </a:t>
            </a:r>
            <a:r>
              <a:rPr kumimoji="0" lang="en-US" sz="1134" b="0" i="0" u="none" strike="noStrike" kern="0" cap="none" spc="0" normalizeH="0" baseline="0" noProof="0" dirty="0" err="1">
                <a:ln>
                  <a:noFill/>
                </a:ln>
                <a:solidFill>
                  <a:srgbClr val="445469"/>
                </a:solidFill>
                <a:effectLst/>
                <a:uLnTx/>
                <a:uFillTx/>
                <a:latin typeface="Calibri"/>
                <a:ea typeface="+mn-ea"/>
                <a:cs typeface="+mn-cs"/>
              </a:rPr>
              <a:t>mali</a:t>
            </a:r>
            <a:r>
              <a:rPr kumimoji="0" lang="en-US" sz="1134" b="0" i="0" u="none" strike="noStrike" kern="0" cap="none" spc="0" normalizeH="0" baseline="0" noProof="0" dirty="0">
                <a:ln>
                  <a:noFill/>
                </a:ln>
                <a:solidFill>
                  <a:srgbClr val="445469"/>
                </a:solidFill>
                <a:effectLst/>
                <a:uLnTx/>
                <a:uFillTx/>
                <a:latin typeface="Calibri"/>
                <a:ea typeface="+mn-ea"/>
                <a:cs typeface="+mn-cs"/>
              </a:rPr>
              <a:t> </a:t>
            </a:r>
            <a:r>
              <a:rPr kumimoji="0" lang="tr-TR" sz="1134" b="0" i="0" u="none" strike="noStrike" kern="0" cap="none" spc="0" normalizeH="0" baseline="0" noProof="0" dirty="0">
                <a:ln>
                  <a:noFill/>
                </a:ln>
                <a:solidFill>
                  <a:srgbClr val="445469"/>
                </a:solidFill>
                <a:effectLst/>
                <a:uLnTx/>
                <a:uFillTx/>
                <a:latin typeface="Calibri"/>
                <a:ea typeface="+mn-ea"/>
                <a:cs typeface="+mn-cs"/>
              </a:rPr>
              <a:t>analiz</a:t>
            </a:r>
            <a:r>
              <a:rPr kumimoji="0" lang="en-US" sz="1134" b="0" i="0" u="none" strike="noStrike" kern="0" cap="none" spc="0" normalizeH="0" baseline="0" noProof="0" dirty="0">
                <a:ln>
                  <a:noFill/>
                </a:ln>
                <a:solidFill>
                  <a:srgbClr val="445469"/>
                </a:solidFill>
                <a:effectLst/>
                <a:uLnTx/>
                <a:uFillTx/>
                <a:latin typeface="Calibri"/>
                <a:ea typeface="+mn-ea"/>
                <a:cs typeface="+mn-cs"/>
              </a:rPr>
              <a:t> </a:t>
            </a:r>
            <a:r>
              <a:rPr kumimoji="0" lang="en-US" sz="1134" b="0" i="0" u="none" strike="noStrike" kern="0" cap="none" spc="0" normalizeH="0" baseline="0" noProof="0" dirty="0" err="1">
                <a:ln>
                  <a:noFill/>
                </a:ln>
                <a:solidFill>
                  <a:srgbClr val="445469"/>
                </a:solidFill>
                <a:effectLst/>
                <a:uLnTx/>
                <a:uFillTx/>
                <a:latin typeface="Calibri"/>
                <a:ea typeface="+mn-ea"/>
                <a:cs typeface="+mn-cs"/>
              </a:rPr>
              <a:t>hazırlanması</a:t>
            </a:r>
            <a:endParaRPr kumimoji="0" lang="en-US" sz="1134" b="0" i="0" u="none" strike="noStrike" kern="0" cap="none" spc="0" normalizeH="0" baseline="0" noProof="0" dirty="0">
              <a:ln>
                <a:noFill/>
              </a:ln>
              <a:solidFill>
                <a:srgbClr val="445469"/>
              </a:solidFill>
              <a:effectLst/>
              <a:uLnTx/>
              <a:uFillTx/>
              <a:latin typeface="Calibri"/>
              <a:ea typeface="+mn-ea"/>
              <a:cs typeface="+mn-cs"/>
            </a:endParaRPr>
          </a:p>
        </p:txBody>
      </p:sp>
      <p:grpSp>
        <p:nvGrpSpPr>
          <p:cNvPr id="116" name="Clipboard3"/>
          <p:cNvGrpSpPr>
            <a:grpSpLocks noChangeAspect="1"/>
          </p:cNvGrpSpPr>
          <p:nvPr>
            <p:custDataLst>
              <p:tags r:id="rId16"/>
            </p:custDataLst>
          </p:nvPr>
        </p:nvGrpSpPr>
        <p:grpSpPr bwMode="auto">
          <a:xfrm>
            <a:off x="8914044" y="1501877"/>
            <a:ext cx="329641" cy="439859"/>
            <a:chOff x="63" y="9"/>
            <a:chExt cx="326" cy="435"/>
          </a:xfrm>
          <a:solidFill>
            <a:srgbClr val="1F497D"/>
          </a:solidFill>
        </p:grpSpPr>
        <p:sp>
          <p:nvSpPr>
            <p:cNvPr id="117" name="Clipboard3"/>
            <p:cNvSpPr>
              <a:spLocks noEditPoints="1"/>
            </p:cNvSpPr>
            <p:nvPr>
              <p:custDataLst>
                <p:tags r:id="rId17"/>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grpFill/>
            <a:ln w="0">
              <a:solidFill>
                <a:schemeClr val="accent1"/>
              </a:solidFill>
              <a:prstDash val="solid"/>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fr-FR" sz="1458" b="0" i="0" u="none" strike="noStrike" kern="1200" cap="none" spc="0" normalizeH="0" baseline="0" noProof="0">
                <a:ln>
                  <a:noFill/>
                </a:ln>
                <a:solidFill>
                  <a:prstClr val="black"/>
                </a:solidFill>
                <a:effectLst/>
                <a:uLnTx/>
                <a:uFillTx/>
                <a:latin typeface="Calibri"/>
                <a:ea typeface="+mn-ea"/>
                <a:cs typeface="+mn-cs"/>
              </a:endParaRPr>
            </a:p>
          </p:txBody>
        </p:sp>
        <p:sp>
          <p:nvSpPr>
            <p:cNvPr id="118" name="Clipboard3"/>
            <p:cNvSpPr>
              <a:spLocks/>
            </p:cNvSpPr>
            <p:nvPr>
              <p:custDataLst>
                <p:tags r:id="rId18"/>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chemeClr val="accent1"/>
              </a:solidFill>
              <a:prstDash val="solid"/>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fr-FR" sz="1458" b="0" i="0" u="none" strike="noStrike" kern="1200" cap="none" spc="0" normalizeH="0" baseline="0" noProof="0">
                <a:ln>
                  <a:noFill/>
                </a:ln>
                <a:solidFill>
                  <a:prstClr val="black"/>
                </a:solidFill>
                <a:effectLst/>
                <a:uLnTx/>
                <a:uFillTx/>
                <a:latin typeface="Calibri"/>
                <a:ea typeface="+mn-ea"/>
                <a:cs typeface="+mn-cs"/>
              </a:endParaRPr>
            </a:p>
          </p:txBody>
        </p:sp>
        <p:sp>
          <p:nvSpPr>
            <p:cNvPr id="119" name="Clipboard3"/>
            <p:cNvSpPr>
              <a:spLocks/>
            </p:cNvSpPr>
            <p:nvPr>
              <p:custDataLst>
                <p:tags r:id="rId19"/>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chemeClr val="accent1"/>
              </a:solidFill>
              <a:prstDash val="solid"/>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fr-FR" sz="1458" b="0" i="0" u="none" strike="noStrike" kern="1200" cap="none" spc="0" normalizeH="0" baseline="0" noProof="0">
                <a:ln>
                  <a:noFill/>
                </a:ln>
                <a:solidFill>
                  <a:prstClr val="black"/>
                </a:solidFill>
                <a:effectLst/>
                <a:uLnTx/>
                <a:uFillTx/>
                <a:latin typeface="Calibri"/>
                <a:ea typeface="+mn-ea"/>
                <a:cs typeface="+mn-cs"/>
              </a:endParaRPr>
            </a:p>
          </p:txBody>
        </p:sp>
        <p:sp>
          <p:nvSpPr>
            <p:cNvPr id="126" name="Clipboard3"/>
            <p:cNvSpPr>
              <a:spLocks/>
            </p:cNvSpPr>
            <p:nvPr>
              <p:custDataLst>
                <p:tags r:id="rId20"/>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chemeClr val="accent1"/>
              </a:solidFill>
              <a:prstDash val="solid"/>
              <a:round/>
              <a:headEnd/>
              <a:tailEnd/>
            </a:ln>
          </p:spPr>
          <p:txBody>
            <a:bodyPr vert="horz" wrap="square" lIns="74081" tIns="37042" rIns="74081" bIns="37042" numCol="1" anchor="t" anchorCtr="0" compatLnSpc="1">
              <a:prstTxWarp prst="textNoShape">
                <a:avLst/>
              </a:prstTxWarp>
            </a:bodyPr>
            <a:lstStyle/>
            <a:p>
              <a:pPr marL="0" marR="0" lvl="0" indent="0" algn="l" defTabSz="740851" rtl="0" eaLnBrk="1" fontAlgn="auto" latinLnBrk="0" hangingPunct="1">
                <a:lnSpc>
                  <a:spcPct val="100000"/>
                </a:lnSpc>
                <a:spcBef>
                  <a:spcPts val="0"/>
                </a:spcBef>
                <a:spcAft>
                  <a:spcPts val="0"/>
                </a:spcAft>
                <a:buClrTx/>
                <a:buSzTx/>
                <a:buFontTx/>
                <a:buNone/>
                <a:tabLst/>
                <a:defRPr/>
              </a:pPr>
              <a:endParaRPr kumimoji="0" lang="fr-FR" sz="1458" b="0" i="0" u="none" strike="noStrike" kern="1200" cap="none" spc="0" normalizeH="0" baseline="0" noProof="0">
                <a:ln>
                  <a:noFill/>
                </a:ln>
                <a:solidFill>
                  <a:prstClr val="black"/>
                </a:solidFill>
                <a:effectLst/>
                <a:uLnTx/>
                <a:uFillTx/>
                <a:latin typeface="Calibri"/>
                <a:ea typeface="+mn-ea"/>
                <a:cs typeface="+mn-cs"/>
              </a:endParaRPr>
            </a:p>
          </p:txBody>
        </p:sp>
      </p:grpSp>
      <p:sp>
        <p:nvSpPr>
          <p:cNvPr id="129" name="Dikdörtgen 128"/>
          <p:cNvSpPr/>
          <p:nvPr/>
        </p:nvSpPr>
        <p:spPr>
          <a:xfrm>
            <a:off x="7068361" y="438917"/>
            <a:ext cx="2087870" cy="690574"/>
          </a:xfrm>
          <a:prstGeom prst="rect">
            <a:avLst/>
          </a:prstGeom>
        </p:spPr>
        <p:txBody>
          <a:bodyPr wrap="square">
            <a:spAutoFit/>
          </a:bodyPr>
          <a:lstStyle/>
          <a:p>
            <a:pPr marL="0" marR="0" lvl="0" indent="0" algn="ctr" defTabSz="987698"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dirty="0">
                <a:ln>
                  <a:noFill/>
                </a:ln>
                <a:solidFill>
                  <a:prstClr val="white">
                    <a:lumMod val="50000"/>
                  </a:prstClr>
                </a:solidFill>
                <a:effectLst/>
                <a:uLnTx/>
                <a:uFillTx/>
                <a:latin typeface="Calibri"/>
                <a:ea typeface="+mn-ea"/>
                <a:cs typeface="+mn-cs"/>
              </a:rPr>
              <a:t>Öğretim elemanı:30 gün süre+ maddi hata varsa 15 gün ek süre</a:t>
            </a:r>
          </a:p>
        </p:txBody>
      </p:sp>
      <p:cxnSp>
        <p:nvCxnSpPr>
          <p:cNvPr id="6" name="Düz Ok Bağlayıcısı 5"/>
          <p:cNvCxnSpPr>
            <a:stCxn id="129" idx="2"/>
          </p:cNvCxnSpPr>
          <p:nvPr/>
        </p:nvCxnSpPr>
        <p:spPr>
          <a:xfrm flipH="1">
            <a:off x="7276330" y="1137138"/>
            <a:ext cx="835968" cy="4238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Düz Ok Bağlayıcısı 7"/>
          <p:cNvCxnSpPr>
            <a:stCxn id="129" idx="2"/>
          </p:cNvCxnSpPr>
          <p:nvPr/>
        </p:nvCxnSpPr>
        <p:spPr>
          <a:xfrm>
            <a:off x="8112298" y="1137137"/>
            <a:ext cx="847207" cy="3420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0" name="Dikdörtgen 129"/>
          <p:cNvSpPr/>
          <p:nvPr/>
        </p:nvSpPr>
        <p:spPr>
          <a:xfrm>
            <a:off x="7522131" y="3649924"/>
            <a:ext cx="1010737" cy="889987"/>
          </a:xfrm>
          <a:prstGeom prst="rect">
            <a:avLst/>
          </a:prstGeom>
        </p:spPr>
        <p:txBody>
          <a:bodyPr wrap="square">
            <a:spAutoFit/>
          </a:bodyPr>
          <a:lstStyle/>
          <a:p>
            <a:pPr marL="0" marR="0" lvl="0" indent="0" algn="ctr" defTabSz="987698"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a:ln>
                  <a:noFill/>
                </a:ln>
                <a:solidFill>
                  <a:prstClr val="white">
                    <a:lumMod val="50000"/>
                  </a:prstClr>
                </a:solidFill>
                <a:effectLst/>
                <a:uLnTx/>
                <a:uFillTx/>
                <a:latin typeface="Calibri"/>
                <a:ea typeface="+mn-ea"/>
                <a:cs typeface="+mn-cs"/>
              </a:rPr>
              <a:t>Komite sekretarya kontrolü: en geç 1 ay</a:t>
            </a:r>
          </a:p>
        </p:txBody>
      </p:sp>
      <p:sp>
        <p:nvSpPr>
          <p:cNvPr id="131" name="Dikdörtgen 130"/>
          <p:cNvSpPr/>
          <p:nvPr/>
        </p:nvSpPr>
        <p:spPr>
          <a:xfrm>
            <a:off x="10050271" y="3714748"/>
            <a:ext cx="1010737" cy="889987"/>
          </a:xfrm>
          <a:prstGeom prst="rect">
            <a:avLst/>
          </a:prstGeom>
        </p:spPr>
        <p:txBody>
          <a:bodyPr wrap="square">
            <a:spAutoFit/>
          </a:bodyPr>
          <a:lstStyle/>
          <a:p>
            <a:pPr marL="0" marR="0" lvl="0" indent="0" algn="ctr" defTabSz="987698" rtl="0" eaLnBrk="1" fontAlgn="auto" latinLnBrk="0" hangingPunct="1">
              <a:lnSpc>
                <a:spcPct val="100000"/>
              </a:lnSpc>
              <a:spcBef>
                <a:spcPts val="0"/>
              </a:spcBef>
              <a:spcAft>
                <a:spcPts val="0"/>
              </a:spcAft>
              <a:buClrTx/>
              <a:buSzTx/>
              <a:buFontTx/>
              <a:buNone/>
              <a:tabLst/>
              <a:defRPr/>
            </a:pPr>
            <a:r>
              <a:rPr kumimoji="0" lang="tr-TR" sz="1296" b="0" i="0" u="none" strike="noStrike" kern="0" cap="none" spc="0" normalizeH="0" baseline="0" noProof="0">
                <a:ln>
                  <a:noFill/>
                </a:ln>
                <a:solidFill>
                  <a:prstClr val="white">
                    <a:lumMod val="50000"/>
                  </a:prstClr>
                </a:solidFill>
                <a:effectLst/>
                <a:uLnTx/>
                <a:uFillTx/>
                <a:latin typeface="Calibri"/>
                <a:ea typeface="+mn-ea"/>
                <a:cs typeface="+mn-cs"/>
              </a:rPr>
              <a:t>Kurul sekretarya kontrolü: en geç 1 ay</a:t>
            </a:r>
          </a:p>
        </p:txBody>
      </p:sp>
    </p:spTree>
    <p:custDataLst>
      <p:tags r:id="rId1"/>
    </p:custDataLst>
    <p:extLst>
      <p:ext uri="{BB962C8B-B14F-4D97-AF65-F5344CB8AC3E}">
        <p14:creationId xmlns:p14="http://schemas.microsoft.com/office/powerpoint/2010/main" val="3431130556"/>
      </p:ext>
    </p:extLst>
  </p:cSld>
  <p:clrMapOvr>
    <a:masterClrMapping/>
  </p:clrMapOvr>
  <p:transition spd="slow">
    <p:push dir="u"/>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1 Başlık"/>
          <p:cNvSpPr>
            <a:spLocks noGrp="1"/>
          </p:cNvSpPr>
          <p:nvPr>
            <p:ph type="ctrTitle"/>
          </p:nvPr>
        </p:nvSpPr>
        <p:spPr>
          <a:xfrm>
            <a:off x="2195353" y="2130430"/>
            <a:ext cx="7801294" cy="1470025"/>
          </a:xfrm>
        </p:spPr>
        <p:txBody>
          <a:bodyPr/>
          <a:lstStyle/>
          <a:p>
            <a:pPr eaLnBrk="1" hangingPunct="1"/>
            <a:r>
              <a:rPr lang="tr-TR" dirty="0" smtClean="0"/>
              <a:t> </a:t>
            </a:r>
          </a:p>
        </p:txBody>
      </p:sp>
      <p:sp>
        <p:nvSpPr>
          <p:cNvPr id="18436" name="6 Metin kutusu"/>
          <p:cNvSpPr txBox="1">
            <a:spLocks noChangeArrowheads="1"/>
          </p:cNvSpPr>
          <p:nvPr/>
        </p:nvSpPr>
        <p:spPr bwMode="auto">
          <a:xfrm>
            <a:off x="2662830" y="2032506"/>
            <a:ext cx="7866014" cy="525165"/>
          </a:xfrm>
          <a:prstGeom prst="rect">
            <a:avLst/>
          </a:prstGeom>
          <a:noFill/>
          <a:ln w="9525">
            <a:noFill/>
            <a:miter lim="800000"/>
            <a:headEnd/>
            <a:tailEnd/>
          </a:ln>
        </p:spPr>
        <p:txBody>
          <a:bodyPr wrap="square">
            <a:spAutoFit/>
          </a:bodyPr>
          <a:lstStyle/>
          <a:p>
            <a:pPr algn="ctr" eaLnBrk="1" hangingPunct="1"/>
            <a:r>
              <a:rPr lang="tr-TR" sz="2810" b="1" dirty="0">
                <a:solidFill>
                  <a:schemeClr val="bg2"/>
                </a:solidFill>
              </a:rPr>
              <a:t>KOSGEB GİRİŞİMCİLİK DESTEKLERİ</a:t>
            </a:r>
          </a:p>
        </p:txBody>
      </p:sp>
      <p:sp>
        <p:nvSpPr>
          <p:cNvPr id="18437" name="7 Metin kutusu"/>
          <p:cNvSpPr txBox="1">
            <a:spLocks noChangeArrowheads="1"/>
          </p:cNvSpPr>
          <p:nvPr/>
        </p:nvSpPr>
        <p:spPr bwMode="auto">
          <a:xfrm>
            <a:off x="3890732" y="3422649"/>
            <a:ext cx="6794264" cy="338554"/>
          </a:xfrm>
          <a:prstGeom prst="rect">
            <a:avLst/>
          </a:prstGeom>
          <a:noFill/>
          <a:ln w="9525">
            <a:noFill/>
            <a:miter lim="800000"/>
            <a:headEnd/>
            <a:tailEnd/>
          </a:ln>
        </p:spPr>
        <p:txBody>
          <a:bodyPr>
            <a:spAutoFit/>
          </a:bodyPr>
          <a:lstStyle/>
          <a:p>
            <a:pPr algn="r"/>
            <a:r>
              <a:rPr lang="tr-TR" sz="1606" b="1" dirty="0">
                <a:solidFill>
                  <a:srgbClr val="FFFFFF"/>
                </a:solidFill>
                <a:latin typeface="Arial" charset="0"/>
                <a:cs typeface="Arial" charset="0"/>
              </a:rPr>
              <a:t> Eylül 2020</a:t>
            </a:r>
          </a:p>
        </p:txBody>
      </p:sp>
      <p:pic>
        <p:nvPicPr>
          <p:cNvPr id="8" name="Resim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8717548" cy="4741817"/>
          </a:xfrm>
          <a:prstGeom prst="rect">
            <a:avLst/>
          </a:prstGeom>
        </p:spPr>
      </p:pic>
      <p:sp>
        <p:nvSpPr>
          <p:cNvPr id="6" name="Dikdörtgen 5"/>
          <p:cNvSpPr/>
          <p:nvPr/>
        </p:nvSpPr>
        <p:spPr>
          <a:xfrm>
            <a:off x="3147934" y="3309614"/>
            <a:ext cx="9044066" cy="3650105"/>
          </a:xfrm>
          <a:prstGeom prst="rect">
            <a:avLst/>
          </a:prstGeom>
          <a:solidFill>
            <a:schemeClr val="tx2">
              <a:lumMod val="50000"/>
              <a:alpha val="9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4400" dirty="0" smtClean="0">
                <a:solidFill>
                  <a:prstClr val="white"/>
                </a:solidFill>
                <a:latin typeface="+mj-lt"/>
              </a:rPr>
              <a:t>GİRİŞİMCİLİK DESTEKLERİ PROGRAMI</a:t>
            </a:r>
            <a:endParaRPr kumimoji="0" lang="en-US" sz="4400" b="0" i="0" u="none" strike="noStrike" kern="1200" cap="none" spc="0" normalizeH="0" baseline="0" noProof="0" dirty="0">
              <a:ln>
                <a:noFill/>
              </a:ln>
              <a:solidFill>
                <a:prstClr val="white"/>
              </a:solidFill>
              <a:effectLst/>
              <a:uLnTx/>
              <a:uFillTx/>
              <a:latin typeface="+mj-lt"/>
            </a:endParaRPr>
          </a:p>
        </p:txBody>
      </p:sp>
    </p:spTree>
    <p:extLst>
      <p:ext uri="{BB962C8B-B14F-4D97-AF65-F5344CB8AC3E}">
        <p14:creationId xmlns:p14="http://schemas.microsoft.com/office/powerpoint/2010/main" val="412228628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p:cNvSpPr>
            <a:spLocks noGrp="1"/>
          </p:cNvSpPr>
          <p:nvPr>
            <p:ph type="sldNum" sz="quarter" idx="12"/>
          </p:nvPr>
        </p:nvSpPr>
        <p:spPr/>
        <p:txBody>
          <a:bodyPr/>
          <a:lstStyle/>
          <a:p>
            <a:pPr>
              <a:defRPr/>
            </a:pPr>
            <a:fld id="{FF16F97C-866D-4F85-A1F6-DDF39F62CB6A}" type="slidenum">
              <a:rPr lang="en-CA" smtClean="0"/>
              <a:pPr>
                <a:defRPr/>
              </a:pPr>
              <a:t>46</a:t>
            </a:fld>
            <a:endParaRPr lang="en-CA"/>
          </a:p>
        </p:txBody>
      </p:sp>
      <p:pic>
        <p:nvPicPr>
          <p:cNvPr id="8" name="Picture 3"/>
          <p:cNvPicPr>
            <a:picLocks noChangeAspect="1" noChangeArrowheads="1"/>
          </p:cNvPicPr>
          <p:nvPr/>
        </p:nvPicPr>
        <p:blipFill>
          <a:blip r:embed="rId3" cstate="print"/>
          <a:srcRect/>
          <a:stretch>
            <a:fillRect/>
          </a:stretch>
        </p:blipFill>
        <p:spPr bwMode="auto">
          <a:xfrm>
            <a:off x="8987029" y="538142"/>
            <a:ext cx="722757" cy="509801"/>
          </a:xfrm>
          <a:prstGeom prst="rect">
            <a:avLst/>
          </a:prstGeom>
          <a:noFill/>
          <a:ln w="9525">
            <a:noFill/>
            <a:miter lim="800000"/>
            <a:headEnd/>
            <a:tailEnd/>
          </a:ln>
        </p:spPr>
      </p:pic>
      <p:sp>
        <p:nvSpPr>
          <p:cNvPr id="9" name="5 Metin kutusu"/>
          <p:cNvSpPr txBox="1"/>
          <p:nvPr/>
        </p:nvSpPr>
        <p:spPr>
          <a:xfrm>
            <a:off x="2327491" y="952577"/>
            <a:ext cx="6804088" cy="463294"/>
          </a:xfrm>
          <a:prstGeom prst="rect">
            <a:avLst/>
          </a:prstGeom>
          <a:noFill/>
        </p:spPr>
        <p:txBody>
          <a:bodyPr wrap="square" lIns="91692" tIns="45847" rIns="91692" bIns="45847" rtlCol="0">
            <a:spAutoFit/>
          </a:bodyPr>
          <a:lstStyle/>
          <a:p>
            <a:r>
              <a:rPr lang="tr-TR" sz="2409" b="1" dirty="0">
                <a:solidFill>
                  <a:srgbClr val="00BAD5"/>
                </a:solidFill>
              </a:rPr>
              <a:t>KOSGEB Girişimcilik Desteklerinin Amacı</a:t>
            </a:r>
          </a:p>
        </p:txBody>
      </p:sp>
      <p:graphicFrame>
        <p:nvGraphicFramePr>
          <p:cNvPr id="3" name="Diyagram 2"/>
          <p:cNvGraphicFramePr/>
          <p:nvPr>
            <p:extLst/>
          </p:nvPr>
        </p:nvGraphicFramePr>
        <p:xfrm>
          <a:off x="2327486" y="1477560"/>
          <a:ext cx="7599125" cy="46979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66470689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Resim 8"/>
          <p:cNvPicPr>
            <a:picLocks noChangeAspect="1"/>
          </p:cNvPicPr>
          <p:nvPr/>
        </p:nvPicPr>
        <p:blipFill rotWithShape="1">
          <a:blip r:embed="rId3" cstate="print">
            <a:extLst>
              <a:ext uri="{28A0092B-C50C-407E-A947-70E740481C1C}">
                <a14:useLocalDpi xmlns:a14="http://schemas.microsoft.com/office/drawing/2010/main" val="0"/>
              </a:ext>
            </a:extLst>
          </a:blip>
          <a:srcRect l="12989"/>
          <a:stretch/>
        </p:blipFill>
        <p:spPr>
          <a:xfrm>
            <a:off x="1507004" y="1260734"/>
            <a:ext cx="1697969" cy="1323321"/>
          </a:xfrm>
          <a:prstGeom prst="rect">
            <a:avLst/>
          </a:prstGeom>
        </p:spPr>
      </p:pic>
      <p:sp>
        <p:nvSpPr>
          <p:cNvPr id="2" name="1 Başlık"/>
          <p:cNvSpPr>
            <a:spLocks noGrp="1"/>
          </p:cNvSpPr>
          <p:nvPr>
            <p:ph type="title"/>
          </p:nvPr>
        </p:nvSpPr>
        <p:spPr>
          <a:xfrm>
            <a:off x="3060421" y="176598"/>
            <a:ext cx="6926536" cy="859806"/>
          </a:xfrm>
        </p:spPr>
        <p:txBody>
          <a:bodyPr/>
          <a:lstStyle/>
          <a:p>
            <a:r>
              <a:rPr lang="tr-TR" sz="3212" b="1" dirty="0">
                <a:solidFill>
                  <a:srgbClr val="00BAD5"/>
                </a:solidFill>
                <a:latin typeface="Calibri" pitchFamily="34" charset="0"/>
                <a:ea typeface="ヒラギノ角ゴ Pro W3" pitchFamily="1" charset="-128"/>
              </a:rPr>
              <a:t>Girişimcilik Eğitimi</a:t>
            </a:r>
            <a:endParaRPr lang="tr-TR" sz="3212"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smtClean="0"/>
              <a:pPr>
                <a:defRPr/>
              </a:pPr>
              <a:t>47</a:t>
            </a:fld>
            <a:endParaRPr lang="tr-TR"/>
          </a:p>
        </p:txBody>
      </p:sp>
      <p:sp>
        <p:nvSpPr>
          <p:cNvPr id="17" name="Dikdörtgen 16"/>
          <p:cNvSpPr/>
          <p:nvPr/>
        </p:nvSpPr>
        <p:spPr>
          <a:xfrm>
            <a:off x="3052349" y="1359462"/>
            <a:ext cx="7632650" cy="1488240"/>
          </a:xfrm>
          <a:prstGeom prst="rect">
            <a:avLst/>
          </a:prstGeom>
        </p:spPr>
        <p:txBody>
          <a:bodyPr wrap="square" lIns="91731" tIns="45865" rIns="91731" bIns="45865">
            <a:spAutoFit/>
          </a:bodyPr>
          <a:lstStyle/>
          <a:p>
            <a:pPr algn="just"/>
            <a:r>
              <a:rPr lang="tr-TR" sz="1807" b="1" dirty="0"/>
              <a:t>Geleneksel Girişimci Eğitimi :</a:t>
            </a:r>
            <a:r>
              <a:rPr lang="tr-TR" sz="1807" dirty="0"/>
              <a:t>  </a:t>
            </a:r>
          </a:p>
          <a:p>
            <a:pPr algn="just"/>
            <a:r>
              <a:rPr lang="tr-TR" sz="1807" dirty="0"/>
              <a:t>Girişimcilerin iş kurma ve yürütme konusunda bilgi sahibi olmaları, bu süreçte rol ve sorumluluklarının farkına varmaları ve iş fikirlerine yönelik iş modelini hazırlayabilecek bilgi ve deneyim kazanmaları amacıyla sağlanır.</a:t>
            </a:r>
          </a:p>
        </p:txBody>
      </p:sp>
      <p:sp>
        <p:nvSpPr>
          <p:cNvPr id="7" name="Dikdörtgen 6"/>
          <p:cNvSpPr/>
          <p:nvPr/>
        </p:nvSpPr>
        <p:spPr>
          <a:xfrm>
            <a:off x="1827164" y="2697129"/>
            <a:ext cx="4181554" cy="3428969"/>
          </a:xfrm>
          <a:prstGeom prst="rect">
            <a:avLst/>
          </a:prstGeom>
        </p:spPr>
        <p:txBody>
          <a:bodyPr wrap="square" lIns="91731" tIns="45865" rIns="91731" bIns="45865">
            <a:spAutoFit/>
          </a:bodyPr>
          <a:lstStyle/>
          <a:p>
            <a:pPr algn="just"/>
            <a:r>
              <a:rPr lang="tr-TR" sz="1807" b="1" dirty="0"/>
              <a:t>Geleneksel Girişimci Eğitimi :</a:t>
            </a:r>
            <a:r>
              <a:rPr lang="tr-TR" sz="1807" dirty="0"/>
              <a:t>  </a:t>
            </a:r>
          </a:p>
          <a:p>
            <a:pPr marL="343980" indent="-343980" algn="just">
              <a:buFont typeface="+mj-lt"/>
              <a:buAutoNum type="arabicPeriod"/>
            </a:pPr>
            <a:r>
              <a:rPr lang="tr-TR" sz="1807" dirty="0"/>
              <a:t>Girişimcilikte Temel Kavramlar </a:t>
            </a:r>
          </a:p>
          <a:p>
            <a:pPr marL="343980" indent="-343980" algn="just">
              <a:buFont typeface="+mj-lt"/>
              <a:buAutoNum type="arabicPeriod"/>
            </a:pPr>
            <a:r>
              <a:rPr lang="tr-TR" sz="1807" dirty="0"/>
              <a:t>Girişim Fırsatlarını Görme ve Fikir Yaratma / Geliştirme </a:t>
            </a:r>
          </a:p>
          <a:p>
            <a:pPr marL="343980" indent="-343980" algn="just">
              <a:buFont typeface="+mj-lt"/>
              <a:buAutoNum type="arabicPeriod"/>
            </a:pPr>
            <a:r>
              <a:rPr lang="tr-TR" sz="1807" dirty="0"/>
              <a:t>Yapılabilirlik Analizi</a:t>
            </a:r>
          </a:p>
          <a:p>
            <a:pPr marL="343980" indent="-343980" algn="just">
              <a:buFont typeface="+mj-lt"/>
              <a:buAutoNum type="arabicPeriod"/>
            </a:pPr>
            <a:r>
              <a:rPr lang="tr-TR" sz="1807" dirty="0"/>
              <a:t>İş Modelleri, Müşteriler, Değer Önerileri ve Gelir Kaynakları </a:t>
            </a:r>
          </a:p>
          <a:p>
            <a:pPr marL="343980" indent="-343980" algn="just">
              <a:buFont typeface="+mj-lt"/>
              <a:buAutoNum type="arabicPeriod"/>
            </a:pPr>
            <a:r>
              <a:rPr lang="tr-TR" sz="1807" dirty="0"/>
              <a:t>Ekonomi, Endüstri, Rekabet ve Müşteri Analiz</a:t>
            </a:r>
          </a:p>
          <a:p>
            <a:pPr marL="343980" indent="-343980" algn="just">
              <a:buFont typeface="+mj-lt"/>
              <a:buAutoNum type="arabicPeriod"/>
            </a:pPr>
            <a:r>
              <a:rPr lang="tr-TR" sz="1807" dirty="0"/>
              <a:t>Hukuki Altyapı</a:t>
            </a:r>
          </a:p>
          <a:p>
            <a:pPr marL="343980" indent="-343980" algn="just">
              <a:buFont typeface="+mj-lt"/>
              <a:buAutoNum type="arabicPeriod"/>
            </a:pPr>
            <a:r>
              <a:rPr lang="tr-TR" sz="1807" dirty="0"/>
              <a:t>Girişimin Etik Temelleri</a:t>
            </a:r>
          </a:p>
          <a:p>
            <a:pPr marL="343980" indent="-343980" algn="just">
              <a:buFont typeface="+mj-lt"/>
              <a:buAutoNum type="arabicPeriod"/>
            </a:pPr>
            <a:r>
              <a:rPr lang="tr-TR" sz="1807" dirty="0"/>
              <a:t>Pazarlama İlkeleri ve Yönetimi</a:t>
            </a:r>
          </a:p>
        </p:txBody>
      </p:sp>
    </p:spTree>
    <p:extLst>
      <p:ext uri="{BB962C8B-B14F-4D97-AF65-F5344CB8AC3E}">
        <p14:creationId xmlns:p14="http://schemas.microsoft.com/office/powerpoint/2010/main" val="84050150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Resim 10"/>
          <p:cNvPicPr>
            <a:picLocks noChangeAspect="1"/>
          </p:cNvPicPr>
          <p:nvPr/>
        </p:nvPicPr>
        <p:blipFill rotWithShape="1">
          <a:blip r:embed="rId3">
            <a:extLst>
              <a:ext uri="{28A0092B-C50C-407E-A947-70E740481C1C}">
                <a14:useLocalDpi xmlns:a14="http://schemas.microsoft.com/office/drawing/2010/main" val="0"/>
              </a:ext>
            </a:extLst>
          </a:blip>
          <a:srcRect l="32011" t="25265" r="32581" b="31289"/>
          <a:stretch/>
        </p:blipFill>
        <p:spPr>
          <a:xfrm>
            <a:off x="1697787" y="1534238"/>
            <a:ext cx="712154" cy="873813"/>
          </a:xfrm>
          <a:prstGeom prst="rect">
            <a:avLst/>
          </a:prstGeom>
        </p:spPr>
      </p:pic>
      <p:pic>
        <p:nvPicPr>
          <p:cNvPr id="3" name="Resim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33407" y="2514598"/>
            <a:ext cx="1385562" cy="939584"/>
          </a:xfrm>
          <a:prstGeom prst="rect">
            <a:avLst/>
          </a:prstGeom>
          <a:ln>
            <a:noFill/>
          </a:ln>
          <a:effectLst>
            <a:softEdge rad="112500"/>
          </a:effectLst>
        </p:spPr>
      </p:pic>
      <p:pic>
        <p:nvPicPr>
          <p:cNvPr id="10" name="Resim 9"/>
          <p:cNvPicPr>
            <a:picLocks noChangeAspect="1"/>
          </p:cNvPicPr>
          <p:nvPr/>
        </p:nvPicPr>
        <p:blipFill rotWithShape="1">
          <a:blip r:embed="rId3">
            <a:extLst>
              <a:ext uri="{28A0092B-C50C-407E-A947-70E740481C1C}">
                <a14:useLocalDpi xmlns:a14="http://schemas.microsoft.com/office/drawing/2010/main" val="0"/>
              </a:ext>
            </a:extLst>
          </a:blip>
          <a:srcRect t="3523" b="28997"/>
          <a:stretch/>
        </p:blipFill>
        <p:spPr>
          <a:xfrm>
            <a:off x="9098084" y="5380444"/>
            <a:ext cx="1338842" cy="903446"/>
          </a:xfrm>
          <a:prstGeom prst="rect">
            <a:avLst/>
          </a:prstGeom>
          <a:ln>
            <a:noFill/>
          </a:ln>
          <a:effectLst>
            <a:softEdge rad="112500"/>
          </a:effectLst>
        </p:spPr>
      </p:pic>
      <p:sp>
        <p:nvSpPr>
          <p:cNvPr id="2" name="1 Başlık"/>
          <p:cNvSpPr>
            <a:spLocks noGrp="1"/>
          </p:cNvSpPr>
          <p:nvPr>
            <p:ph type="title"/>
          </p:nvPr>
        </p:nvSpPr>
        <p:spPr>
          <a:xfrm>
            <a:off x="3060421" y="176598"/>
            <a:ext cx="6926536" cy="859806"/>
          </a:xfrm>
        </p:spPr>
        <p:txBody>
          <a:bodyPr/>
          <a:lstStyle/>
          <a:p>
            <a:r>
              <a:rPr lang="tr-TR" sz="3212" b="1" dirty="0">
                <a:solidFill>
                  <a:srgbClr val="00BAD5"/>
                </a:solidFill>
                <a:latin typeface="Calibri" pitchFamily="34" charset="0"/>
                <a:ea typeface="ヒラギノ角ゴ Pro W3" pitchFamily="1" charset="-128"/>
              </a:rPr>
              <a:t>Girişimcilik Eğitimi</a:t>
            </a:r>
            <a:endParaRPr lang="tr-TR" sz="3212"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smtClean="0"/>
              <a:pPr>
                <a:defRPr/>
              </a:pPr>
              <a:t>48</a:t>
            </a:fld>
            <a:endParaRPr lang="tr-TR" dirty="0"/>
          </a:p>
        </p:txBody>
      </p:sp>
      <p:sp>
        <p:nvSpPr>
          <p:cNvPr id="17" name="Dikdörtgen 16"/>
          <p:cNvSpPr/>
          <p:nvPr/>
        </p:nvSpPr>
        <p:spPr>
          <a:xfrm>
            <a:off x="2409940" y="1309858"/>
            <a:ext cx="8167153" cy="1204740"/>
          </a:xfrm>
          <a:prstGeom prst="rect">
            <a:avLst/>
          </a:prstGeom>
        </p:spPr>
        <p:txBody>
          <a:bodyPr wrap="square" lIns="91731" tIns="45865" rIns="91731" bIns="45865">
            <a:spAutoFit/>
          </a:bodyPr>
          <a:lstStyle/>
          <a:p>
            <a:pPr algn="just"/>
            <a:r>
              <a:rPr lang="tr-TR" sz="1807" b="1" dirty="0"/>
              <a:t>İleri Girişimci Eğitimi :</a:t>
            </a:r>
            <a:r>
              <a:rPr lang="tr-TR" sz="1807" dirty="0"/>
              <a:t>  </a:t>
            </a:r>
          </a:p>
          <a:p>
            <a:pPr algn="just"/>
            <a:r>
              <a:rPr lang="tr-TR" sz="1807" dirty="0"/>
              <a:t>Girişimcilerin iş kurma ve yürütme konusunda bilgi sahibi olmaları, bu süreçte rol ve sorumluluklarının farkına varmaları ve iş fikirlerine yönelik iş modelini hazırlayabilecek bilgi ve deneyim kazanmaları amacıyla sağlanır.</a:t>
            </a:r>
          </a:p>
        </p:txBody>
      </p:sp>
      <p:sp>
        <p:nvSpPr>
          <p:cNvPr id="7" name="Dikdörtgen 6"/>
          <p:cNvSpPr/>
          <p:nvPr/>
        </p:nvSpPr>
        <p:spPr>
          <a:xfrm>
            <a:off x="6090399" y="3096764"/>
            <a:ext cx="4874171" cy="3348200"/>
          </a:xfrm>
          <a:prstGeom prst="rect">
            <a:avLst/>
          </a:prstGeom>
        </p:spPr>
        <p:txBody>
          <a:bodyPr wrap="square" lIns="91731" tIns="45865" rIns="91731" bIns="45865" numCol="1">
            <a:spAutoFit/>
          </a:bodyPr>
          <a:lstStyle/>
          <a:p>
            <a:r>
              <a:rPr lang="tr-TR" sz="1606" b="1" dirty="0"/>
              <a:t>9. Networking (Ağ Kurma) </a:t>
            </a:r>
          </a:p>
          <a:p>
            <a:r>
              <a:rPr lang="tr-TR" sz="1606" b="1" dirty="0"/>
              <a:t>10. Girişimin Finansal Yapısının Belirlenmesi ve Yönetimi </a:t>
            </a:r>
          </a:p>
          <a:p>
            <a:r>
              <a:rPr lang="tr-TR" sz="1606" b="1" dirty="0"/>
              <a:t>11. Yeni Girişimler için Finansal Kaynaklara Erişim </a:t>
            </a:r>
          </a:p>
          <a:p>
            <a:r>
              <a:rPr lang="tr-TR" sz="1606" b="1" dirty="0"/>
              <a:t>12. Yenilik Yönetimi</a:t>
            </a:r>
          </a:p>
          <a:p>
            <a:r>
              <a:rPr lang="tr-TR" sz="1606" b="1" dirty="0"/>
              <a:t>13. Fikri Mülkiyet Hakları</a:t>
            </a:r>
          </a:p>
          <a:p>
            <a:r>
              <a:rPr lang="tr-TR" sz="1606" b="1" dirty="0"/>
              <a:t>14. Girişimin Profesyonel Yönetimi ve KOBİ’lerde Stratejik Yönetim</a:t>
            </a:r>
          </a:p>
          <a:p>
            <a:r>
              <a:rPr lang="tr-TR" sz="1606" b="1" dirty="0"/>
              <a:t>15. Büyüme Sürecinin Yönetimi ve Büyüme </a:t>
            </a:r>
          </a:p>
          <a:p>
            <a:r>
              <a:rPr lang="tr-TR" sz="1606" b="1" dirty="0"/>
              <a:t>Stratejileri</a:t>
            </a:r>
          </a:p>
          <a:p>
            <a:r>
              <a:rPr lang="tr-TR" sz="1606" b="1" dirty="0"/>
              <a:t>16. İş Planı Geliştirme </a:t>
            </a:r>
          </a:p>
          <a:p>
            <a:pPr algn="just"/>
            <a:endParaRPr lang="tr-TR" sz="1807" b="1" dirty="0"/>
          </a:p>
        </p:txBody>
      </p:sp>
      <p:sp>
        <p:nvSpPr>
          <p:cNvPr id="6" name="Dikdörtgen 5"/>
          <p:cNvSpPr/>
          <p:nvPr/>
        </p:nvSpPr>
        <p:spPr>
          <a:xfrm>
            <a:off x="1497236" y="3096761"/>
            <a:ext cx="4181554" cy="2811128"/>
          </a:xfrm>
          <a:prstGeom prst="rect">
            <a:avLst/>
          </a:prstGeom>
        </p:spPr>
        <p:txBody>
          <a:bodyPr wrap="square" lIns="91731" tIns="45865" rIns="91731" bIns="45865">
            <a:spAutoFit/>
          </a:bodyPr>
          <a:lstStyle/>
          <a:p>
            <a:pPr marL="343980" indent="-343980">
              <a:buFont typeface="+mj-lt"/>
              <a:buAutoNum type="arabicPeriod"/>
            </a:pPr>
            <a:r>
              <a:rPr lang="tr-TR" sz="1606" b="1" dirty="0"/>
              <a:t>Girişimcilikte Temel Kavramlar </a:t>
            </a:r>
          </a:p>
          <a:p>
            <a:pPr marL="343980" indent="-343980">
              <a:buFont typeface="+mj-lt"/>
              <a:buAutoNum type="arabicPeriod"/>
            </a:pPr>
            <a:r>
              <a:rPr lang="tr-TR" sz="1606" b="1" dirty="0"/>
              <a:t>Girişim Fırsatlarını Görme ve Fikir Yaratma / Geliştirme </a:t>
            </a:r>
          </a:p>
          <a:p>
            <a:pPr marL="343980" indent="-343980">
              <a:buFont typeface="+mj-lt"/>
              <a:buAutoNum type="arabicPeriod"/>
            </a:pPr>
            <a:r>
              <a:rPr lang="tr-TR" sz="1606" b="1" dirty="0"/>
              <a:t>Yapılabilirlik Analizi</a:t>
            </a:r>
          </a:p>
          <a:p>
            <a:pPr marL="343980" indent="-343980">
              <a:buFont typeface="+mj-lt"/>
              <a:buAutoNum type="arabicPeriod"/>
            </a:pPr>
            <a:r>
              <a:rPr lang="tr-TR" sz="1606" b="1" dirty="0"/>
              <a:t>İş Modelleri, Müşteriler, Değer Önerileri ve Gelir Kaynakları </a:t>
            </a:r>
          </a:p>
          <a:p>
            <a:pPr marL="343980" indent="-343980">
              <a:buFont typeface="+mj-lt"/>
              <a:buAutoNum type="arabicPeriod"/>
            </a:pPr>
            <a:r>
              <a:rPr lang="tr-TR" sz="1606" b="1" dirty="0"/>
              <a:t>Ekonomi, Endüstri, Rekabet ve Müşteri Analizi</a:t>
            </a:r>
          </a:p>
          <a:p>
            <a:pPr marL="343980" indent="-343980">
              <a:buFont typeface="+mj-lt"/>
              <a:buAutoNum type="arabicPeriod"/>
            </a:pPr>
            <a:r>
              <a:rPr lang="tr-TR" sz="1606" b="1" dirty="0"/>
              <a:t>Hukuki Altyapı</a:t>
            </a:r>
          </a:p>
          <a:p>
            <a:pPr marL="343980" indent="-343980">
              <a:buFont typeface="+mj-lt"/>
              <a:buAutoNum type="arabicPeriod"/>
            </a:pPr>
            <a:r>
              <a:rPr lang="tr-TR" sz="1606" b="1" dirty="0"/>
              <a:t>Girişimin Etik Temelleri</a:t>
            </a:r>
          </a:p>
          <a:p>
            <a:pPr marL="343980" indent="-343980">
              <a:buFont typeface="+mj-lt"/>
              <a:buAutoNum type="arabicPeriod"/>
            </a:pPr>
            <a:r>
              <a:rPr lang="tr-TR" sz="1606" b="1" dirty="0"/>
              <a:t>Pazarlama İlkeleri ve Yönetimi</a:t>
            </a:r>
          </a:p>
        </p:txBody>
      </p:sp>
      <p:sp>
        <p:nvSpPr>
          <p:cNvPr id="9" name="Artı 8"/>
          <p:cNvSpPr/>
          <p:nvPr/>
        </p:nvSpPr>
        <p:spPr>
          <a:xfrm>
            <a:off x="5445519" y="3609105"/>
            <a:ext cx="795033" cy="939584"/>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731" tIns="45865" rIns="91731" bIns="45865" rtlCol="0" anchor="ctr"/>
          <a:lstStyle/>
          <a:p>
            <a:pPr algn="ctr"/>
            <a:endParaRPr lang="tr-TR" sz="1807"/>
          </a:p>
        </p:txBody>
      </p:sp>
    </p:spTree>
    <p:extLst>
      <p:ext uri="{BB962C8B-B14F-4D97-AF65-F5344CB8AC3E}">
        <p14:creationId xmlns:p14="http://schemas.microsoft.com/office/powerpoint/2010/main" val="179500577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060421" y="176598"/>
            <a:ext cx="6926536" cy="859806"/>
          </a:xfrm>
        </p:spPr>
        <p:txBody>
          <a:bodyPr/>
          <a:lstStyle/>
          <a:p>
            <a:r>
              <a:rPr lang="tr-TR" sz="3212" b="1" dirty="0">
                <a:solidFill>
                  <a:srgbClr val="00BAD5"/>
                </a:solidFill>
                <a:latin typeface="Calibri" pitchFamily="34" charset="0"/>
                <a:ea typeface="ヒラギノ角ゴ Pro W3" pitchFamily="1" charset="-128"/>
              </a:rPr>
              <a:t>Girişimcilik Eğitimi</a:t>
            </a:r>
            <a:endParaRPr lang="tr-TR" sz="3212"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smtClean="0"/>
              <a:pPr>
                <a:defRPr/>
              </a:pPr>
              <a:t>49</a:t>
            </a:fld>
            <a:endParaRPr lang="tr-TR" dirty="0"/>
          </a:p>
        </p:txBody>
      </p:sp>
      <p:sp>
        <p:nvSpPr>
          <p:cNvPr id="4" name="Dikdörtgen 3"/>
          <p:cNvSpPr/>
          <p:nvPr/>
        </p:nvSpPr>
        <p:spPr>
          <a:xfrm>
            <a:off x="1519268" y="4863011"/>
            <a:ext cx="9165728" cy="1767413"/>
          </a:xfrm>
          <a:prstGeom prst="rect">
            <a:avLst/>
          </a:prstGeom>
        </p:spPr>
        <p:txBody>
          <a:bodyPr wrap="square">
            <a:spAutoFit/>
          </a:bodyPr>
          <a:lstStyle/>
          <a:p>
            <a:pPr marL="286807" indent="-286807">
              <a:buFontTx/>
              <a:buChar char="-"/>
            </a:pPr>
            <a:r>
              <a:rPr lang="tr-TR" sz="1807" b="1" dirty="0"/>
              <a:t>Girişimcilik desteklerinden yararlanmak isteyen girişimci, işletme kurmadan önce «Girişimcilik Eğitimi» almış olmalıdır.  Söz konusu eğitime e-devlet üzerinden başvuru yapılmakta olup, Uygulama Birimlerimize başvuru yapılmamaktadır.</a:t>
            </a:r>
          </a:p>
          <a:p>
            <a:pPr marL="286807" indent="-286807">
              <a:buFontTx/>
              <a:buChar char="-"/>
            </a:pPr>
            <a:r>
              <a:rPr lang="tr-TR" sz="1807" b="1" dirty="0"/>
              <a:t>Başvuru yapılacak destek programına  göre ilgili eğitimin (Geleneksel Girişimci/İleri Girişimci) tamamlanmış olması gerekmektedir. </a:t>
            </a:r>
          </a:p>
        </p:txBody>
      </p:sp>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658" b="4108"/>
          <a:stretch/>
        </p:blipFill>
        <p:spPr bwMode="auto">
          <a:xfrm>
            <a:off x="1507004" y="30430"/>
            <a:ext cx="9177993" cy="48325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89087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5</a:t>
            </a:fld>
            <a:endParaRPr lang="en-CA">
              <a:solidFill>
                <a:prstClr val="black">
                  <a:tint val="75000"/>
                </a:prstClr>
              </a:solidFill>
            </a:endParaRPr>
          </a:p>
        </p:txBody>
      </p:sp>
      <p:grpSp>
        <p:nvGrpSpPr>
          <p:cNvPr id="6" name="Grup 5"/>
          <p:cNvGrpSpPr/>
          <p:nvPr/>
        </p:nvGrpSpPr>
        <p:grpSpPr>
          <a:xfrm>
            <a:off x="260564" y="973492"/>
            <a:ext cx="11490712" cy="5990870"/>
            <a:chOff x="27278" y="1093647"/>
            <a:chExt cx="8909236" cy="5328186"/>
          </a:xfrm>
        </p:grpSpPr>
        <p:sp>
          <p:nvSpPr>
            <p:cNvPr id="7" name="Metin kutusu 6"/>
            <p:cNvSpPr txBox="1"/>
            <p:nvPr/>
          </p:nvSpPr>
          <p:spPr>
            <a:xfrm>
              <a:off x="5968125" y="1093647"/>
              <a:ext cx="2968389" cy="4245576"/>
            </a:xfrm>
            <a:prstGeom prst="rect">
              <a:avLst/>
            </a:prstGeom>
            <a:noFill/>
          </p:spPr>
          <p:txBody>
            <a:bodyPr wrap="square" rtlCol="0">
              <a:spAutoFit/>
            </a:bodyPr>
            <a:lstStyle/>
            <a:p>
              <a:r>
                <a:rPr lang="tr-TR" sz="1170" b="1" dirty="0">
                  <a:solidFill>
                    <a:srgbClr val="0070C0"/>
                  </a:solidFill>
                  <a:latin typeface="Calibri"/>
                </a:rPr>
                <a:t>Cumhurbaşkanı veya </a:t>
              </a:r>
              <a:r>
                <a:rPr lang="tr-TR" sz="1170" b="1" dirty="0" smtClean="0">
                  <a:solidFill>
                    <a:srgbClr val="0070C0"/>
                  </a:solidFill>
                  <a:latin typeface="Calibri"/>
                </a:rPr>
                <a:t>Bakanın başkanlığında </a:t>
              </a:r>
              <a:r>
                <a:rPr lang="tr-TR" sz="1170" b="1" dirty="0">
                  <a:solidFill>
                    <a:srgbClr val="0070C0"/>
                  </a:solidFill>
                  <a:latin typeface="Calibri"/>
                </a:rPr>
                <a:t>yılda bir kez toplanır.</a:t>
              </a:r>
            </a:p>
            <a:p>
              <a:endParaRPr lang="tr-TR" sz="1170" b="1" dirty="0">
                <a:solidFill>
                  <a:srgbClr val="0070C0"/>
                </a:solidFill>
                <a:latin typeface="Calibri"/>
              </a:endParaRPr>
            </a:p>
            <a:p>
              <a:r>
                <a:rPr lang="tr-TR" sz="1170" b="1" u="sng" dirty="0">
                  <a:solidFill>
                    <a:srgbClr val="0070C0"/>
                  </a:solidFill>
                  <a:latin typeface="Calibri"/>
                </a:rPr>
                <a:t>Üyeler:</a:t>
              </a:r>
            </a:p>
            <a:p>
              <a:r>
                <a:rPr lang="tr-TR" sz="1170" b="1" dirty="0" smtClean="0">
                  <a:solidFill>
                    <a:srgbClr val="0070C0"/>
                  </a:solidFill>
                  <a:latin typeface="Calibri"/>
                </a:rPr>
                <a:t>Bakanın </a:t>
              </a:r>
              <a:r>
                <a:rPr lang="tr-TR" sz="1170" b="1" dirty="0">
                  <a:solidFill>
                    <a:srgbClr val="0070C0"/>
                  </a:solidFill>
                  <a:latin typeface="Calibri"/>
                </a:rPr>
                <a:t>belirleyeceği kamu kurum ve </a:t>
              </a:r>
              <a:r>
                <a:rPr lang="tr-TR" sz="1170" b="1" dirty="0" smtClean="0">
                  <a:solidFill>
                    <a:srgbClr val="0070C0"/>
                  </a:solidFill>
                  <a:latin typeface="Calibri"/>
                </a:rPr>
                <a:t>kuruluşları ve özel sektör </a:t>
              </a:r>
              <a:r>
                <a:rPr lang="tr-TR" sz="1170" b="1" dirty="0">
                  <a:solidFill>
                    <a:srgbClr val="0070C0"/>
                  </a:solidFill>
                  <a:latin typeface="Calibri"/>
                </a:rPr>
                <a:t>temsilcileri</a:t>
              </a:r>
            </a:p>
            <a:p>
              <a:endParaRPr lang="tr-TR" sz="1170" b="1" dirty="0">
                <a:solidFill>
                  <a:srgbClr val="0070C0"/>
                </a:solidFill>
                <a:latin typeface="Calibri"/>
              </a:endParaRPr>
            </a:p>
            <a:p>
              <a:r>
                <a:rPr lang="tr-TR" sz="1170" b="1" dirty="0">
                  <a:solidFill>
                    <a:srgbClr val="0070C0"/>
                  </a:solidFill>
                  <a:latin typeface="Calibri"/>
                </a:rPr>
                <a:t>Yükseköğretim Kurulunca tayin edilecek teknik üniversite rektörlerinden biri,</a:t>
              </a:r>
            </a:p>
            <a:p>
              <a:endParaRPr lang="tr-TR" sz="1170" b="1" dirty="0">
                <a:solidFill>
                  <a:srgbClr val="0070C0"/>
                </a:solidFill>
                <a:latin typeface="Calibri"/>
              </a:endParaRPr>
            </a:p>
            <a:p>
              <a:r>
                <a:rPr lang="tr-TR" sz="1170" b="1" dirty="0">
                  <a:solidFill>
                    <a:srgbClr val="0070C0"/>
                  </a:solidFill>
                  <a:latin typeface="Calibri"/>
                </a:rPr>
                <a:t>İlgili diğer kurum ve kuruluşların üst düzey yöneticileri {TOBB, TESK, TMMOB, TBB</a:t>
              </a:r>
              <a:r>
                <a:rPr lang="tr-TR" sz="1170" b="1" dirty="0" smtClean="0">
                  <a:solidFill>
                    <a:srgbClr val="0070C0"/>
                  </a:solidFill>
                  <a:latin typeface="Calibri"/>
                </a:rPr>
                <a:t>, TÜRSAB </a:t>
              </a:r>
              <a:r>
                <a:rPr lang="tr-TR" sz="1170" b="1" dirty="0">
                  <a:solidFill>
                    <a:srgbClr val="0070C0"/>
                  </a:solidFill>
                  <a:latin typeface="Calibri"/>
                </a:rPr>
                <a:t>vb. }</a:t>
              </a:r>
            </a:p>
            <a:p>
              <a:endParaRPr lang="tr-TR" sz="1170" b="1" dirty="0">
                <a:solidFill>
                  <a:srgbClr val="0070C0"/>
                </a:solidFill>
                <a:latin typeface="Calibri"/>
              </a:endParaRPr>
            </a:p>
            <a:p>
              <a:r>
                <a:rPr lang="tr-TR" sz="1170" b="1" dirty="0">
                  <a:solidFill>
                    <a:srgbClr val="0070C0"/>
                  </a:solidFill>
                  <a:latin typeface="Calibri"/>
                </a:rPr>
                <a:t>Cumhurbaşkanlığı tarafından belirlenebilecek diğer bakanlık, kamu ve özel sektör temsilcileri</a:t>
              </a:r>
            </a:p>
            <a:p>
              <a:endParaRPr lang="tr-TR" sz="1170" b="1" dirty="0">
                <a:solidFill>
                  <a:srgbClr val="0070C0"/>
                </a:solidFill>
                <a:latin typeface="Calibri"/>
              </a:endParaRPr>
            </a:p>
            <a:p>
              <a:r>
                <a:rPr lang="tr-TR" sz="1170" b="1" u="sng" dirty="0">
                  <a:solidFill>
                    <a:srgbClr val="0070C0"/>
                  </a:solidFill>
                  <a:latin typeface="Calibri"/>
                </a:rPr>
                <a:t>Görevleri:</a:t>
              </a:r>
            </a:p>
            <a:p>
              <a:pPr algn="just"/>
              <a:r>
                <a:rPr lang="tr-TR" sz="1170" b="1" dirty="0">
                  <a:solidFill>
                    <a:srgbClr val="0070C0"/>
                  </a:solidFill>
                  <a:latin typeface="Calibri"/>
                </a:rPr>
                <a:t>Kalkınma Plan ve Programları doğrultusunda, işletmelerin teknolojik gelişmelere ve serbest rekabet ortamına uyumunu sağlamak maksadıyla, işletmelere ilişkin geliştirme ve destekleme kararlarının alınması, uygulamaların planlanması ve koordinasyonunun sağlanması bakımından tedbirler almak, düzenleyici direktifler vermek, Başkanlığın </a:t>
              </a:r>
              <a:r>
                <a:rPr lang="tr-TR" sz="1170" b="1" dirty="0" smtClean="0">
                  <a:solidFill>
                    <a:srgbClr val="0070C0"/>
                  </a:solidFill>
                  <a:latin typeface="Calibri"/>
                </a:rPr>
                <a:t>faaliyet </a:t>
              </a:r>
              <a:r>
                <a:rPr lang="tr-TR" sz="1170" b="1" dirty="0">
                  <a:solidFill>
                    <a:srgbClr val="0070C0"/>
                  </a:solidFill>
                  <a:latin typeface="Calibri"/>
                </a:rPr>
                <a:t>raporlarını </a:t>
              </a:r>
              <a:r>
                <a:rPr lang="tr-TR" sz="1170" b="1" dirty="0" smtClean="0">
                  <a:solidFill>
                    <a:srgbClr val="0070C0"/>
                  </a:solidFill>
                  <a:latin typeface="Calibri"/>
                </a:rPr>
                <a:t>ile performans programını incelemek ve </a:t>
              </a:r>
              <a:r>
                <a:rPr lang="tr-TR" sz="1170" b="1" dirty="0">
                  <a:solidFill>
                    <a:srgbClr val="0070C0"/>
                  </a:solidFill>
                  <a:latin typeface="Calibri"/>
                </a:rPr>
                <a:t>önerilerde bulunmaktır.</a:t>
              </a:r>
            </a:p>
          </p:txBody>
        </p:sp>
        <p:grpSp>
          <p:nvGrpSpPr>
            <p:cNvPr id="8" name="Grup 7"/>
            <p:cNvGrpSpPr/>
            <p:nvPr/>
          </p:nvGrpSpPr>
          <p:grpSpPr>
            <a:xfrm>
              <a:off x="3561733" y="1272534"/>
              <a:ext cx="2099366" cy="3960440"/>
              <a:chOff x="3345709" y="1272534"/>
              <a:chExt cx="2099366" cy="3960440"/>
            </a:xfrm>
          </p:grpSpPr>
          <p:sp>
            <p:nvSpPr>
              <p:cNvPr id="12" name="Yuvarlatılmış Dikdörtgen 11"/>
              <p:cNvSpPr/>
              <p:nvPr/>
            </p:nvSpPr>
            <p:spPr>
              <a:xfrm>
                <a:off x="3345709" y="1272534"/>
                <a:ext cx="2099366" cy="936104"/>
              </a:xfrm>
              <a:prstGeom prst="roundRect">
                <a:avLst/>
              </a:prstGeom>
              <a:solidFill>
                <a:srgbClr val="5CCBE7"/>
              </a:solidFill>
              <a:ln/>
              <a:effectLst>
                <a:outerShdw blurRad="50800" dist="38100" algn="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tr-TR" sz="2400" b="1" dirty="0">
                    <a:solidFill>
                      <a:prstClr val="white"/>
                    </a:solidFill>
                    <a:effectLst>
                      <a:outerShdw blurRad="50800" dist="38100" algn="l" rotWithShape="0">
                        <a:prstClr val="black">
                          <a:alpha val="40000"/>
                        </a:prstClr>
                      </a:outerShdw>
                    </a:effectLst>
                    <a:cs typeface="Arial" pitchFamily="34" charset="0"/>
                  </a:rPr>
                  <a:t>Genel Kurul</a:t>
                </a:r>
              </a:p>
            </p:txBody>
          </p:sp>
          <p:sp>
            <p:nvSpPr>
              <p:cNvPr id="13" name="Yuvarlatılmış Dikdörtgen 12"/>
              <p:cNvSpPr/>
              <p:nvPr/>
            </p:nvSpPr>
            <p:spPr>
              <a:xfrm>
                <a:off x="3345709" y="2784704"/>
                <a:ext cx="2099366" cy="936104"/>
              </a:xfrm>
              <a:prstGeom prst="roundRect">
                <a:avLst/>
              </a:prstGeom>
              <a:solidFill>
                <a:schemeClr val="accent5">
                  <a:lumMod val="75000"/>
                </a:schemeClr>
              </a:solidFill>
              <a:ln/>
              <a:effectLst>
                <a:outerShdw blurRad="50800" dist="38100" algn="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tr-TR" sz="2400" b="1" dirty="0">
                    <a:solidFill>
                      <a:prstClr val="white"/>
                    </a:solidFill>
                    <a:effectLst>
                      <a:outerShdw blurRad="50800" dist="38100" algn="l" rotWithShape="0">
                        <a:prstClr val="black">
                          <a:alpha val="40000"/>
                        </a:prstClr>
                      </a:outerShdw>
                    </a:effectLst>
                  </a:rPr>
                  <a:t>İcra Komitesi</a:t>
                </a:r>
              </a:p>
            </p:txBody>
          </p:sp>
          <p:sp>
            <p:nvSpPr>
              <p:cNvPr id="14" name="Yuvarlatılmış Dikdörtgen 13"/>
              <p:cNvSpPr/>
              <p:nvPr/>
            </p:nvSpPr>
            <p:spPr>
              <a:xfrm>
                <a:off x="3345709" y="4296870"/>
                <a:ext cx="2099366" cy="936104"/>
              </a:xfrm>
              <a:prstGeom prst="roundRect">
                <a:avLst/>
              </a:prstGeom>
              <a:solidFill>
                <a:schemeClr val="accent5">
                  <a:lumMod val="50000"/>
                </a:schemeClr>
              </a:solidFill>
              <a:ln/>
              <a:effectLst>
                <a:outerShdw blurRad="50800" dist="38100" algn="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tr-TR" sz="2400" b="1" dirty="0">
                    <a:solidFill>
                      <a:prstClr val="white"/>
                    </a:solidFill>
                    <a:effectLst>
                      <a:outerShdw blurRad="50800" dist="38100" algn="l" rotWithShape="0">
                        <a:prstClr val="black">
                          <a:alpha val="40000"/>
                        </a:prstClr>
                      </a:outerShdw>
                    </a:effectLst>
                  </a:rPr>
                  <a:t>Başkanlık</a:t>
                </a:r>
              </a:p>
            </p:txBody>
          </p:sp>
          <p:sp>
            <p:nvSpPr>
              <p:cNvPr id="15" name="Aşağı Ok 14"/>
              <p:cNvSpPr/>
              <p:nvPr/>
            </p:nvSpPr>
            <p:spPr>
              <a:xfrm>
                <a:off x="4191895" y="2280646"/>
                <a:ext cx="360040" cy="396000"/>
              </a:xfrm>
              <a:prstGeom prst="downArrow">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tr-TR" sz="1807">
                  <a:solidFill>
                    <a:prstClr val="white"/>
                  </a:solidFill>
                </a:endParaRPr>
              </a:p>
            </p:txBody>
          </p:sp>
          <p:sp>
            <p:nvSpPr>
              <p:cNvPr id="16" name="Aşağı Ok 15"/>
              <p:cNvSpPr/>
              <p:nvPr/>
            </p:nvSpPr>
            <p:spPr>
              <a:xfrm>
                <a:off x="4191895" y="3792816"/>
                <a:ext cx="360040" cy="396000"/>
              </a:xfrm>
              <a:prstGeom prst="downArrow">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tr-TR" sz="1807">
                  <a:solidFill>
                    <a:prstClr val="white"/>
                  </a:solidFill>
                </a:endParaRPr>
              </a:p>
            </p:txBody>
          </p:sp>
        </p:grpSp>
        <p:sp>
          <p:nvSpPr>
            <p:cNvPr id="9" name="Metin kutusu 8"/>
            <p:cNvSpPr txBox="1"/>
            <p:nvPr/>
          </p:nvSpPr>
          <p:spPr>
            <a:xfrm>
              <a:off x="27278" y="1093647"/>
              <a:ext cx="3151225" cy="5328186"/>
            </a:xfrm>
            <a:prstGeom prst="rect">
              <a:avLst/>
            </a:prstGeom>
            <a:noFill/>
          </p:spPr>
          <p:txBody>
            <a:bodyPr wrap="square" rtlCol="0">
              <a:spAutoFit/>
            </a:bodyPr>
            <a:lstStyle/>
            <a:p>
              <a:r>
                <a:rPr lang="tr-TR" sz="1170" b="1" dirty="0">
                  <a:solidFill>
                    <a:srgbClr val="0070C0"/>
                  </a:solidFill>
                  <a:latin typeface="Calibri"/>
                </a:rPr>
                <a:t>Sanayi ve Teknoloji Bakanı’nın başkanlığında en geç iki ayda bir toplanır.</a:t>
              </a:r>
            </a:p>
            <a:p>
              <a:endParaRPr lang="tr-TR" sz="600" b="1" dirty="0">
                <a:solidFill>
                  <a:srgbClr val="0070C0"/>
                </a:solidFill>
                <a:latin typeface="Calibri"/>
              </a:endParaRPr>
            </a:p>
            <a:p>
              <a:r>
                <a:rPr lang="tr-TR" sz="1170" b="1" u="sng" dirty="0">
                  <a:solidFill>
                    <a:srgbClr val="0070C0"/>
                  </a:solidFill>
                  <a:latin typeface="Calibri"/>
                </a:rPr>
                <a:t>Üyeler:</a:t>
              </a:r>
            </a:p>
            <a:p>
              <a:r>
                <a:rPr lang="tr-TR" sz="1170" b="1" dirty="0">
                  <a:solidFill>
                    <a:srgbClr val="0070C0"/>
                  </a:solidFill>
                  <a:latin typeface="Calibri"/>
                </a:rPr>
                <a:t>Sanayi ve Teknoloji Bakanlığı Bakan Yardımcısı, Hazine ve Maliye Bakanlığı </a:t>
              </a:r>
              <a:r>
                <a:rPr lang="tr-TR" sz="1170" b="1" dirty="0" smtClean="0">
                  <a:solidFill>
                    <a:srgbClr val="0070C0"/>
                  </a:solidFill>
                  <a:latin typeface="Calibri"/>
                </a:rPr>
                <a:t>Temsilcisi, Strateji ve Bütçe Başkanlığı Temsilcisi, Türkiye Kalkınma ve Yatırım Bankası Temsilcisi, TİM Temsilcisi, TÜBİTAK Temsilcisi, TOBB Temsilcisi, </a:t>
              </a:r>
              <a:r>
                <a:rPr lang="tr-TR" sz="1170" b="1" dirty="0">
                  <a:solidFill>
                    <a:srgbClr val="0070C0"/>
                  </a:solidFill>
                  <a:latin typeface="Calibri"/>
                </a:rPr>
                <a:t>TESK </a:t>
              </a:r>
              <a:r>
                <a:rPr lang="tr-TR" sz="1170" b="1" dirty="0" smtClean="0">
                  <a:solidFill>
                    <a:srgbClr val="0070C0"/>
                  </a:solidFill>
                  <a:latin typeface="Calibri"/>
                </a:rPr>
                <a:t>Temsilcisi </a:t>
              </a:r>
              <a:r>
                <a:rPr lang="tr-TR" sz="1170" b="1" dirty="0">
                  <a:solidFill>
                    <a:srgbClr val="0070C0"/>
                  </a:solidFill>
                  <a:latin typeface="Calibri"/>
                </a:rPr>
                <a:t>ve KOSGEB Başkanı</a:t>
              </a:r>
            </a:p>
            <a:p>
              <a:endParaRPr lang="tr-TR" sz="500" b="1" dirty="0">
                <a:solidFill>
                  <a:srgbClr val="0070C0"/>
                </a:solidFill>
                <a:latin typeface="Calibri"/>
              </a:endParaRPr>
            </a:p>
            <a:p>
              <a:endParaRPr lang="tr-TR" sz="1170" b="1" u="sng" dirty="0" smtClean="0">
                <a:solidFill>
                  <a:srgbClr val="0070C0"/>
                </a:solidFill>
                <a:latin typeface="Calibri"/>
              </a:endParaRPr>
            </a:p>
            <a:p>
              <a:r>
                <a:rPr lang="tr-TR" sz="1170" b="1" u="sng" dirty="0" smtClean="0">
                  <a:solidFill>
                    <a:srgbClr val="0070C0"/>
                  </a:solidFill>
                  <a:latin typeface="Calibri"/>
                </a:rPr>
                <a:t>Görevleri</a:t>
              </a:r>
              <a:r>
                <a:rPr lang="tr-TR" sz="1170" b="1" u="sng" dirty="0">
                  <a:solidFill>
                    <a:srgbClr val="0070C0"/>
                  </a:solidFill>
                  <a:latin typeface="Calibri"/>
                </a:rPr>
                <a:t>:</a:t>
              </a:r>
            </a:p>
            <a:p>
              <a:pPr marL="172084" indent="-172084" algn="just">
                <a:buFont typeface="Arial" panose="020B0604020202020204" pitchFamily="34" charset="0"/>
                <a:buChar char="•"/>
              </a:pPr>
              <a:r>
                <a:rPr lang="nn-NO" sz="1170" b="1" dirty="0">
                  <a:solidFill>
                    <a:srgbClr val="0070C0"/>
                  </a:solidFill>
                  <a:latin typeface="Calibri"/>
                </a:rPr>
                <a:t>Kalkınma plan ve programları kapsamında </a:t>
              </a:r>
              <a:r>
                <a:rPr lang="tr-TR" sz="1170" b="1" dirty="0">
                  <a:solidFill>
                    <a:srgbClr val="0070C0"/>
                  </a:solidFill>
                  <a:latin typeface="Calibri"/>
                </a:rPr>
                <a:t>ve/veya Genel Kurulun belirlediği politikalar, amaçlar, hedefler ve ilkeler istikametinde işletmelerin geliştirilmesi ve desteklenmesine ilişkin uygulama kararlarını almak ve yürütmek, </a:t>
              </a:r>
            </a:p>
            <a:p>
              <a:pPr marL="172084" indent="-172084" algn="just">
                <a:buFont typeface="Arial" panose="020B0604020202020204" pitchFamily="34" charset="0"/>
                <a:buChar char="•"/>
              </a:pPr>
              <a:r>
                <a:rPr lang="tr-TR" sz="1170" b="1" dirty="0">
                  <a:solidFill>
                    <a:srgbClr val="0070C0"/>
                  </a:solidFill>
                  <a:latin typeface="Calibri"/>
                </a:rPr>
                <a:t>Başkanlıkta istihdam edilecek personelin görev ve pozisyonlarını, sayılarını ve alacakları ücretlere ait teklifleri ilgili mercilere sunulmak üzere karara bağlamak,</a:t>
              </a:r>
            </a:p>
            <a:p>
              <a:pPr marL="172084" indent="-172084" algn="just">
                <a:buFont typeface="Arial" panose="020B0604020202020204" pitchFamily="34" charset="0"/>
                <a:buChar char="•"/>
              </a:pPr>
              <a:r>
                <a:rPr lang="tr-TR" sz="1170" b="1" dirty="0" smtClean="0">
                  <a:solidFill>
                    <a:srgbClr val="0070C0"/>
                  </a:solidFill>
                  <a:latin typeface="Calibri"/>
                </a:rPr>
                <a:t>Başkanlıkça </a:t>
              </a:r>
              <a:r>
                <a:rPr lang="tr-TR" sz="1170" b="1" dirty="0">
                  <a:solidFill>
                    <a:srgbClr val="0070C0"/>
                  </a:solidFill>
                  <a:latin typeface="Calibri"/>
                </a:rPr>
                <a:t>hazırlanan, KOSGEB organlarının çalışma usul ve esasları, görev ve yetkileri ile diğer Yönetmelik taslaklarını incelemek ve uygun göreceği Yönetmelikleri karara bağlayarak yürürlüğe koymak,</a:t>
              </a:r>
            </a:p>
            <a:p>
              <a:pPr marL="172084" indent="-172084" algn="just">
                <a:buFont typeface="Arial" panose="020B0604020202020204" pitchFamily="34" charset="0"/>
                <a:buChar char="•"/>
              </a:pPr>
              <a:r>
                <a:rPr lang="tr-TR" sz="1170" b="1" dirty="0">
                  <a:solidFill>
                    <a:srgbClr val="0070C0"/>
                  </a:solidFill>
                  <a:latin typeface="Calibri"/>
                </a:rPr>
                <a:t>Başkanlığın ihtiyacı olan taşınmazların edinilmesi, idaresi ve gerektiğinde Genel Kurulun tasvibinden sonra satılması hakkında kararlar vermek</a:t>
              </a:r>
              <a:r>
                <a:rPr lang="tr-TR" sz="1170" b="1" dirty="0" smtClean="0">
                  <a:solidFill>
                    <a:srgbClr val="0070C0"/>
                  </a:solidFill>
                  <a:latin typeface="Calibri"/>
                </a:rPr>
                <a:t>.</a:t>
              </a:r>
            </a:p>
            <a:p>
              <a:pPr marL="172084" indent="-172084" algn="just">
                <a:buFont typeface="Arial" panose="020B0604020202020204" pitchFamily="34" charset="0"/>
                <a:buChar char="•"/>
              </a:pPr>
              <a:r>
                <a:rPr lang="tr-TR" sz="1170" b="1" dirty="0">
                  <a:solidFill>
                    <a:srgbClr val="0070C0"/>
                  </a:solidFill>
                  <a:latin typeface="Calibri"/>
                </a:rPr>
                <a:t>Küçük ve orta ölçekli işletmelere hizmet vermek amacıyla yerli ve yabancı sermayeli şirketlerin kurulması, iştirak edilmesi ve gerektiğinde bu işletmelere katkı sağlayacak kaynakların temin edilmesi, yurtiçinden veya yurtdışından kaynak sağlanması konularında karar almak.</a:t>
              </a:r>
            </a:p>
            <a:p>
              <a:endParaRPr lang="tr-TR" sz="1100" b="1" u="sng" dirty="0">
                <a:solidFill>
                  <a:srgbClr val="0070C0"/>
                </a:solidFill>
                <a:latin typeface="Calibri"/>
              </a:endParaRPr>
            </a:p>
            <a:p>
              <a:pPr algn="just"/>
              <a:endParaRPr lang="tr-TR" sz="1100" b="1" dirty="0">
                <a:solidFill>
                  <a:srgbClr val="0070C0"/>
                </a:solidFill>
                <a:latin typeface="Calibri"/>
              </a:endParaRPr>
            </a:p>
            <a:p>
              <a:pPr algn="just"/>
              <a:endParaRPr lang="tr-TR" sz="1100" dirty="0">
                <a:solidFill>
                  <a:srgbClr val="0070C0"/>
                </a:solidFill>
                <a:latin typeface="Calibri"/>
              </a:endParaRPr>
            </a:p>
          </p:txBody>
        </p:sp>
      </p:grpSp>
      <p:sp>
        <p:nvSpPr>
          <p:cNvPr id="17" name="Metin kutusu 16"/>
          <p:cNvSpPr txBox="1"/>
          <p:nvPr/>
        </p:nvSpPr>
        <p:spPr>
          <a:xfrm>
            <a:off x="2063552" y="104320"/>
            <a:ext cx="4176464" cy="646331"/>
          </a:xfrm>
          <a:prstGeom prst="rect">
            <a:avLst/>
          </a:prstGeom>
          <a:noFill/>
        </p:spPr>
        <p:txBody>
          <a:bodyPr wrap="square" rtlCol="0">
            <a:spAutoFit/>
          </a:bodyPr>
          <a:lstStyle/>
          <a:p>
            <a:r>
              <a:rPr lang="tr-TR" sz="3600" b="1" dirty="0">
                <a:solidFill>
                  <a:srgbClr val="00BAD5"/>
                </a:solidFill>
              </a:rPr>
              <a:t>KOSGEB’İN YAPISI</a:t>
            </a:r>
          </a:p>
        </p:txBody>
      </p:sp>
      <p:sp>
        <p:nvSpPr>
          <p:cNvPr id="20" name="Sağ Ayraç 19"/>
          <p:cNvSpPr/>
          <p:nvPr/>
        </p:nvSpPr>
        <p:spPr>
          <a:xfrm>
            <a:off x="4207554" y="927935"/>
            <a:ext cx="500584" cy="5534649"/>
          </a:xfrm>
          <a:prstGeom prst="rightBrace">
            <a:avLst>
              <a:gd name="adj1" fmla="val 8333"/>
              <a:gd name="adj2" fmla="val 44517"/>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tr-TR" sz="1807">
              <a:solidFill>
                <a:prstClr val="black"/>
              </a:solidFill>
            </a:endParaRPr>
          </a:p>
        </p:txBody>
      </p:sp>
      <p:sp>
        <p:nvSpPr>
          <p:cNvPr id="21" name="Sol Ayraç 20"/>
          <p:cNvSpPr/>
          <p:nvPr/>
        </p:nvSpPr>
        <p:spPr>
          <a:xfrm>
            <a:off x="7597079" y="973492"/>
            <a:ext cx="432048" cy="5431702"/>
          </a:xfrm>
          <a:prstGeom prst="leftBrace">
            <a:avLst>
              <a:gd name="adj1" fmla="val 8333"/>
              <a:gd name="adj2" fmla="val 1441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tr-TR" sz="1807">
              <a:solidFill>
                <a:prstClr val="black"/>
              </a:solidFill>
            </a:endParaRPr>
          </a:p>
        </p:txBody>
      </p:sp>
      <p:pic>
        <p:nvPicPr>
          <p:cNvPr id="18" name="Picture 3"/>
          <p:cNvPicPr>
            <a:picLocks noChangeAspect="1" noChangeArrowheads="1"/>
          </p:cNvPicPr>
          <p:nvPr/>
        </p:nvPicPr>
        <p:blipFill>
          <a:blip r:embed="rId2" cstate="print"/>
          <a:srcRect/>
          <a:stretch>
            <a:fillRect/>
          </a:stretch>
        </p:blipFill>
        <p:spPr bwMode="auto">
          <a:xfrm>
            <a:off x="333632" y="217942"/>
            <a:ext cx="919801" cy="648787"/>
          </a:xfrm>
          <a:prstGeom prst="rect">
            <a:avLst/>
          </a:prstGeom>
          <a:noFill/>
          <a:ln w="9525">
            <a:noFill/>
            <a:miter lim="800000"/>
            <a:headEnd/>
            <a:tailEnd/>
          </a:ln>
        </p:spPr>
      </p:pic>
    </p:spTree>
    <p:extLst>
      <p:ext uri="{BB962C8B-B14F-4D97-AF65-F5344CB8AC3E}">
        <p14:creationId xmlns:p14="http://schemas.microsoft.com/office/powerpoint/2010/main" val="3271677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060421" y="176595"/>
            <a:ext cx="6926536" cy="859805"/>
          </a:xfrm>
        </p:spPr>
        <p:txBody>
          <a:bodyPr/>
          <a:lstStyle/>
          <a:p>
            <a:r>
              <a:rPr lang="tr-TR" sz="3212" b="1" dirty="0">
                <a:solidFill>
                  <a:srgbClr val="00BAD5"/>
                </a:solidFill>
                <a:latin typeface="Calibri" pitchFamily="34" charset="0"/>
                <a:ea typeface="ヒラギノ角ゴ Pro W3" pitchFamily="1" charset="-128"/>
              </a:rPr>
              <a:t>Geleneksel Girişimci Destek Programı</a:t>
            </a:r>
            <a:endParaRPr lang="tr-TR" sz="3212"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smtClean="0"/>
              <a:pPr>
                <a:defRPr/>
              </a:pPr>
              <a:t>50</a:t>
            </a:fld>
            <a:endParaRPr lang="tr-TR" dirty="0"/>
          </a:p>
        </p:txBody>
      </p:sp>
      <p:sp>
        <p:nvSpPr>
          <p:cNvPr id="4" name="Dikdörtgen 3"/>
          <p:cNvSpPr/>
          <p:nvPr/>
        </p:nvSpPr>
        <p:spPr>
          <a:xfrm>
            <a:off x="1861867" y="1034154"/>
            <a:ext cx="8281571" cy="588752"/>
          </a:xfrm>
          <a:prstGeom prst="rect">
            <a:avLst/>
          </a:prstGeom>
        </p:spPr>
        <p:txBody>
          <a:bodyPr wrap="square">
            <a:spAutoFit/>
          </a:bodyPr>
          <a:lstStyle/>
          <a:p>
            <a:pPr algn="just"/>
            <a:r>
              <a:rPr lang="tr-TR" sz="1606" b="1" dirty="0">
                <a:solidFill>
                  <a:schemeClr val="accent5">
                    <a:lumMod val="75000"/>
                  </a:schemeClr>
                </a:solidFill>
              </a:rPr>
              <a:t>«Geleneksel Girişimci </a:t>
            </a:r>
            <a:r>
              <a:rPr lang="tr-TR" sz="1606" b="1" dirty="0" err="1">
                <a:solidFill>
                  <a:schemeClr val="accent5">
                    <a:lumMod val="75000"/>
                  </a:schemeClr>
                </a:solidFill>
              </a:rPr>
              <a:t>Eğitimi»</a:t>
            </a:r>
            <a:r>
              <a:rPr lang="tr-TR" sz="1606" b="1" dirty="0" err="1"/>
              <a:t>ni</a:t>
            </a:r>
            <a:r>
              <a:rPr lang="tr-TR" sz="1606" b="1" dirty="0"/>
              <a:t> tamamlamış olan girişimcinin kurduğu işletme başvurabilir.</a:t>
            </a:r>
            <a:endParaRPr lang="tr-TR" sz="1706" b="1" dirty="0"/>
          </a:p>
        </p:txBody>
      </p:sp>
      <p:sp>
        <p:nvSpPr>
          <p:cNvPr id="3" name="Yuvarlatılmış Dikdörtgen 2"/>
          <p:cNvSpPr/>
          <p:nvPr/>
        </p:nvSpPr>
        <p:spPr>
          <a:xfrm>
            <a:off x="3464564" y="1549833"/>
            <a:ext cx="6833320" cy="71237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solidFill>
                  <a:schemeClr val="tx1"/>
                </a:solidFill>
              </a:rPr>
              <a:t>Gerçek kişi işletme 5.000 TL </a:t>
            </a:r>
          </a:p>
          <a:p>
            <a:pPr algn="ctr"/>
            <a:r>
              <a:rPr lang="tr-TR" sz="1606" dirty="0">
                <a:solidFill>
                  <a:schemeClr val="tx1"/>
                </a:solidFill>
              </a:rPr>
              <a:t>Sermaye şirketi işletme 10.000 TL</a:t>
            </a:r>
          </a:p>
        </p:txBody>
      </p:sp>
      <p:sp>
        <p:nvSpPr>
          <p:cNvPr id="6" name="Oval 5"/>
          <p:cNvSpPr/>
          <p:nvPr/>
        </p:nvSpPr>
        <p:spPr>
          <a:xfrm>
            <a:off x="1929061" y="1405281"/>
            <a:ext cx="1385885" cy="11896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t>Kuruluş Desteği</a:t>
            </a:r>
          </a:p>
        </p:txBody>
      </p:sp>
      <p:sp>
        <p:nvSpPr>
          <p:cNvPr id="5" name="Yuvarlatılmış Dikdörtgen 4"/>
          <p:cNvSpPr/>
          <p:nvPr/>
        </p:nvSpPr>
        <p:spPr>
          <a:xfrm>
            <a:off x="3464564" y="3039361"/>
            <a:ext cx="3442515" cy="1290337"/>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tr-TR" sz="1606" b="1" dirty="0">
                <a:solidFill>
                  <a:schemeClr val="tx1"/>
                </a:solidFill>
              </a:rPr>
              <a:t>Birinci Performans Dönemi</a:t>
            </a:r>
          </a:p>
          <a:p>
            <a:r>
              <a:rPr lang="tr-TR" sz="1606" dirty="0">
                <a:solidFill>
                  <a:schemeClr val="tx1"/>
                </a:solidFill>
              </a:rPr>
              <a:t>- 180-539 gün ise 5.000 TL</a:t>
            </a:r>
          </a:p>
          <a:p>
            <a:r>
              <a:rPr lang="tr-TR" sz="1606" dirty="0">
                <a:solidFill>
                  <a:schemeClr val="tx1"/>
                </a:solidFill>
              </a:rPr>
              <a:t>- 540-1079 gün ise 10.000 TL</a:t>
            </a:r>
          </a:p>
          <a:p>
            <a:r>
              <a:rPr lang="tr-TR" sz="1606" dirty="0">
                <a:solidFill>
                  <a:schemeClr val="tx1"/>
                </a:solidFill>
              </a:rPr>
              <a:t>- 1080 ve üstü gün ise 20.000 TL</a:t>
            </a:r>
          </a:p>
        </p:txBody>
      </p:sp>
      <p:sp>
        <p:nvSpPr>
          <p:cNvPr id="11" name="Yuvarlatılmış Dikdörtgen 10"/>
          <p:cNvSpPr/>
          <p:nvPr/>
        </p:nvSpPr>
        <p:spPr>
          <a:xfrm>
            <a:off x="6966040" y="3039361"/>
            <a:ext cx="3331431" cy="1290337"/>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tr-TR" sz="1606" b="1" dirty="0">
                <a:solidFill>
                  <a:schemeClr val="tx1"/>
                </a:solidFill>
              </a:rPr>
              <a:t>İkinci Performans Dönemi </a:t>
            </a:r>
            <a:endParaRPr lang="tr-TR" sz="1606" dirty="0">
              <a:solidFill>
                <a:schemeClr val="tx1"/>
              </a:solidFill>
            </a:endParaRPr>
          </a:p>
          <a:p>
            <a:r>
              <a:rPr lang="tr-TR" sz="1606" dirty="0">
                <a:solidFill>
                  <a:schemeClr val="tx1"/>
                </a:solidFill>
              </a:rPr>
              <a:t>- 360-1079 gün ise 5.000 TL</a:t>
            </a:r>
          </a:p>
          <a:p>
            <a:r>
              <a:rPr lang="tr-TR" sz="1606" dirty="0">
                <a:solidFill>
                  <a:schemeClr val="tx1"/>
                </a:solidFill>
              </a:rPr>
              <a:t>- 1080-1439 gün ise 15.000 TL</a:t>
            </a:r>
          </a:p>
          <a:p>
            <a:r>
              <a:rPr lang="tr-TR" sz="1606" dirty="0">
                <a:solidFill>
                  <a:schemeClr val="tx1"/>
                </a:solidFill>
              </a:rPr>
              <a:t>- 1440 ve üstü gün ise 20.000 TL</a:t>
            </a:r>
          </a:p>
        </p:txBody>
      </p:sp>
      <p:sp>
        <p:nvSpPr>
          <p:cNvPr id="15" name="Yuvarlatılmış Dikdörtgen 14"/>
          <p:cNvSpPr/>
          <p:nvPr/>
        </p:nvSpPr>
        <p:spPr>
          <a:xfrm>
            <a:off x="3464564" y="2398005"/>
            <a:ext cx="6833320" cy="616477"/>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solidFill>
                  <a:schemeClr val="tx1"/>
                </a:solidFill>
              </a:rPr>
              <a:t>Sosyal Güvenlik Kurumu  </a:t>
            </a:r>
            <a:r>
              <a:rPr lang="tr-TR" sz="1606" b="1" dirty="0">
                <a:solidFill>
                  <a:schemeClr val="tx1"/>
                </a:solidFill>
              </a:rPr>
              <a:t>4(a) </a:t>
            </a:r>
            <a:r>
              <a:rPr lang="tr-TR" sz="1606" dirty="0">
                <a:solidFill>
                  <a:schemeClr val="tx1"/>
                </a:solidFill>
              </a:rPr>
              <a:t>kapsamındaki tüm personel</a:t>
            </a:r>
          </a:p>
          <a:p>
            <a:pPr algn="ctr"/>
            <a:r>
              <a:rPr lang="tr-TR" sz="1606" dirty="0">
                <a:solidFill>
                  <a:schemeClr val="tx1"/>
                </a:solidFill>
              </a:rPr>
              <a:t>prim gün sayısı toplamı esas alınır. </a:t>
            </a:r>
          </a:p>
        </p:txBody>
      </p:sp>
      <p:sp>
        <p:nvSpPr>
          <p:cNvPr id="10" name="Oval 9"/>
          <p:cNvSpPr/>
          <p:nvPr/>
        </p:nvSpPr>
        <p:spPr>
          <a:xfrm>
            <a:off x="1803029" y="2706244"/>
            <a:ext cx="1637951" cy="133820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t>Performans Desteği</a:t>
            </a:r>
          </a:p>
        </p:txBody>
      </p:sp>
      <p:sp>
        <p:nvSpPr>
          <p:cNvPr id="14" name="Yuvarlatılmış Dikdörtgen 13"/>
          <p:cNvSpPr/>
          <p:nvPr/>
        </p:nvSpPr>
        <p:spPr>
          <a:xfrm>
            <a:off x="3464564" y="4388060"/>
            <a:ext cx="6832907" cy="703281"/>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solidFill>
                  <a:schemeClr val="tx1"/>
                </a:solidFill>
              </a:rPr>
              <a:t>Asgari prim gün sayısına ulaşan işletme  sahibinin genç (&gt;30 yaş), kadın, engelli, gazi veya birinci derecede şehit yakını  olması durumunda</a:t>
            </a:r>
          </a:p>
          <a:p>
            <a:pPr algn="ctr"/>
            <a:r>
              <a:rPr lang="tr-TR" sz="1606" dirty="0">
                <a:solidFill>
                  <a:schemeClr val="tx1"/>
                </a:solidFill>
              </a:rPr>
              <a:t>her bir performans döneminde belirlenen tutarlara 5.000 TL eklenir.</a:t>
            </a:r>
          </a:p>
        </p:txBody>
      </p:sp>
      <p:sp>
        <p:nvSpPr>
          <p:cNvPr id="13" name="Oval 12"/>
          <p:cNvSpPr/>
          <p:nvPr/>
        </p:nvSpPr>
        <p:spPr>
          <a:xfrm>
            <a:off x="1884774" y="4952283"/>
            <a:ext cx="1474460" cy="12231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t>Sertifika Desteği</a:t>
            </a:r>
          </a:p>
        </p:txBody>
      </p:sp>
      <p:sp>
        <p:nvSpPr>
          <p:cNvPr id="16" name="Yuvarlatılmış Dikdörtgen 15"/>
          <p:cNvSpPr/>
          <p:nvPr/>
        </p:nvSpPr>
        <p:spPr>
          <a:xfrm>
            <a:off x="3464564" y="5207690"/>
            <a:ext cx="6833320" cy="712377"/>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solidFill>
                  <a:schemeClr val="tx1"/>
                </a:solidFill>
              </a:rPr>
              <a:t>Tehlikeli veya çok tehlikeli sınıflarda yer alan NACE kodlarında faaliyet gösteren işletmeler için 5.000-TL</a:t>
            </a:r>
          </a:p>
        </p:txBody>
      </p:sp>
    </p:spTree>
    <p:extLst>
      <p:ext uri="{BB962C8B-B14F-4D97-AF65-F5344CB8AC3E}">
        <p14:creationId xmlns:p14="http://schemas.microsoft.com/office/powerpoint/2010/main" val="315572933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2915870" y="264833"/>
            <a:ext cx="6926536" cy="859805"/>
          </a:xfrm>
        </p:spPr>
        <p:txBody>
          <a:bodyPr/>
          <a:lstStyle/>
          <a:p>
            <a:r>
              <a:rPr lang="tr-TR" sz="3212" b="1" dirty="0">
                <a:solidFill>
                  <a:srgbClr val="00BAD5"/>
                </a:solidFill>
                <a:latin typeface="Calibri" pitchFamily="34" charset="0"/>
                <a:ea typeface="ヒラギノ角ゴ Pro W3" pitchFamily="1" charset="-128"/>
              </a:rPr>
              <a:t>İleri Girişimci Destek Programı</a:t>
            </a:r>
            <a:endParaRPr lang="tr-TR" sz="3212"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smtClean="0"/>
              <a:pPr>
                <a:defRPr/>
              </a:pPr>
              <a:t>51</a:t>
            </a:fld>
            <a:endParaRPr lang="tr-TR"/>
          </a:p>
        </p:txBody>
      </p:sp>
      <p:sp>
        <p:nvSpPr>
          <p:cNvPr id="4" name="Dikdörtgen 3"/>
          <p:cNvSpPr/>
          <p:nvPr/>
        </p:nvSpPr>
        <p:spPr>
          <a:xfrm>
            <a:off x="1909226" y="971627"/>
            <a:ext cx="8596361" cy="1100273"/>
          </a:xfrm>
          <a:prstGeom prst="rect">
            <a:avLst/>
          </a:prstGeom>
        </p:spPr>
        <p:txBody>
          <a:bodyPr wrap="square">
            <a:spAutoFit/>
          </a:bodyPr>
          <a:lstStyle/>
          <a:p>
            <a:pPr algn="just"/>
            <a:r>
              <a:rPr lang="tr-TR" sz="1706" b="1" dirty="0">
                <a:solidFill>
                  <a:schemeClr val="accent1"/>
                </a:solidFill>
              </a:rPr>
              <a:t>«</a:t>
            </a:r>
            <a:r>
              <a:rPr lang="tr-TR" sz="1606" b="1" dirty="0">
                <a:solidFill>
                  <a:schemeClr val="accent1"/>
                </a:solidFill>
              </a:rPr>
              <a:t>İleri Girişimci </a:t>
            </a:r>
            <a:r>
              <a:rPr lang="tr-TR" sz="1606" b="1" dirty="0" err="1">
                <a:solidFill>
                  <a:schemeClr val="accent1"/>
                </a:solidFill>
              </a:rPr>
              <a:t>Eğitimi»</a:t>
            </a:r>
            <a:r>
              <a:rPr lang="tr-TR" sz="1606" b="1" dirty="0" err="1"/>
              <a:t>ni</a:t>
            </a:r>
            <a:r>
              <a:rPr lang="tr-TR" sz="1606" b="1" dirty="0"/>
              <a:t> </a:t>
            </a:r>
            <a:r>
              <a:rPr lang="tr-TR" sz="1606" dirty="0"/>
              <a:t>tamamlamış olan girişimcinin kurduğu ve KOSGEB tarafından belirlenen </a:t>
            </a:r>
            <a:br>
              <a:rPr lang="tr-TR" sz="1606" dirty="0"/>
            </a:br>
            <a:r>
              <a:rPr lang="tr-TR" sz="1606" b="1" dirty="0">
                <a:hlinkClick r:id="rId2" action="ppaction://hlinkfile"/>
              </a:rPr>
              <a:t>İleri Girişimci Programı Faaliyet Konuları Tablosu</a:t>
            </a:r>
            <a:r>
              <a:rPr lang="tr-TR" sz="1606" dirty="0"/>
              <a:t>nda belirtilen konularda faaliyet gösteren işletme başvurabilir.</a:t>
            </a:r>
            <a:endParaRPr lang="tr-TR" sz="1706" dirty="0"/>
          </a:p>
        </p:txBody>
      </p:sp>
      <p:grpSp>
        <p:nvGrpSpPr>
          <p:cNvPr id="17" name="Grup 16"/>
          <p:cNvGrpSpPr/>
          <p:nvPr/>
        </p:nvGrpSpPr>
        <p:grpSpPr>
          <a:xfrm>
            <a:off x="1639297" y="1911211"/>
            <a:ext cx="8648693" cy="4312130"/>
            <a:chOff x="438424" y="2063764"/>
            <a:chExt cx="8616661" cy="3901099"/>
          </a:xfrm>
        </p:grpSpPr>
        <p:sp>
          <p:nvSpPr>
            <p:cNvPr id="18" name="Yuvarlatılmış Dikdörtgen 17"/>
            <p:cNvSpPr/>
            <p:nvPr/>
          </p:nvSpPr>
          <p:spPr>
            <a:xfrm>
              <a:off x="2247074" y="2255109"/>
              <a:ext cx="6808011" cy="709739"/>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solidFill>
                    <a:schemeClr val="tx1"/>
                  </a:solidFill>
                </a:rPr>
                <a:t>Gerçek kişi işletme 5.000 TL </a:t>
              </a:r>
            </a:p>
            <a:p>
              <a:pPr algn="ctr"/>
              <a:r>
                <a:rPr lang="tr-TR" sz="1606" dirty="0">
                  <a:solidFill>
                    <a:schemeClr val="tx1"/>
                  </a:solidFill>
                </a:rPr>
                <a:t>Sermaye şirketi işletme 10.000 TL</a:t>
              </a:r>
            </a:p>
          </p:txBody>
        </p:sp>
        <p:sp>
          <p:nvSpPr>
            <p:cNvPr id="19" name="Oval 18"/>
            <p:cNvSpPr/>
            <p:nvPr/>
          </p:nvSpPr>
          <p:spPr>
            <a:xfrm>
              <a:off x="448969" y="2063764"/>
              <a:ext cx="1610795" cy="1335929"/>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t>Kuruluş Desteği</a:t>
              </a:r>
            </a:p>
          </p:txBody>
        </p:sp>
        <p:sp>
          <p:nvSpPr>
            <p:cNvPr id="20" name="Yuvarlatılmış Dikdörtgen 19"/>
            <p:cNvSpPr/>
            <p:nvPr/>
          </p:nvSpPr>
          <p:spPr>
            <a:xfrm>
              <a:off x="2168936" y="3945942"/>
              <a:ext cx="3429765" cy="1310345"/>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tr-TR" sz="1606" b="1" dirty="0">
                  <a:solidFill>
                    <a:schemeClr val="tx1"/>
                  </a:solidFill>
                </a:rPr>
                <a:t>Birinci Performans Dönemi</a:t>
              </a:r>
            </a:p>
            <a:p>
              <a:r>
                <a:rPr lang="tr-TR" sz="1606" dirty="0">
                  <a:solidFill>
                    <a:schemeClr val="tx1"/>
                  </a:solidFill>
                </a:rPr>
                <a:t>- 180-539 gün ise 5.000 TL</a:t>
              </a:r>
            </a:p>
            <a:p>
              <a:r>
                <a:rPr lang="tr-TR" sz="1606" dirty="0">
                  <a:solidFill>
                    <a:schemeClr val="tx1"/>
                  </a:solidFill>
                </a:rPr>
                <a:t>- 540-1079 gün ise 10.000 TL</a:t>
              </a:r>
            </a:p>
            <a:p>
              <a:r>
                <a:rPr lang="tr-TR" sz="1606" dirty="0">
                  <a:solidFill>
                    <a:schemeClr val="tx1"/>
                  </a:solidFill>
                </a:rPr>
                <a:t>- 1080 ve üstü gün ise 20.000 TL</a:t>
              </a:r>
            </a:p>
          </p:txBody>
        </p:sp>
        <p:sp>
          <p:nvSpPr>
            <p:cNvPr id="21" name="Yuvarlatılmış Dikdörtgen 20"/>
            <p:cNvSpPr/>
            <p:nvPr/>
          </p:nvSpPr>
          <p:spPr>
            <a:xfrm>
              <a:off x="5621586" y="3970729"/>
              <a:ext cx="3407414" cy="1285558"/>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tr-TR" sz="1606" b="1" dirty="0">
                  <a:solidFill>
                    <a:schemeClr val="tx1"/>
                  </a:solidFill>
                </a:rPr>
                <a:t>İkinci Performans Dönemi </a:t>
              </a:r>
              <a:endParaRPr lang="tr-TR" sz="1606" dirty="0">
                <a:solidFill>
                  <a:schemeClr val="tx1"/>
                </a:solidFill>
              </a:endParaRPr>
            </a:p>
            <a:p>
              <a:r>
                <a:rPr lang="tr-TR" sz="1606" dirty="0">
                  <a:solidFill>
                    <a:schemeClr val="tx1"/>
                  </a:solidFill>
                </a:rPr>
                <a:t>- 360-1079 gün ise 5.000 TL</a:t>
              </a:r>
            </a:p>
            <a:p>
              <a:r>
                <a:rPr lang="tr-TR" sz="1606" dirty="0">
                  <a:solidFill>
                    <a:schemeClr val="tx1"/>
                  </a:solidFill>
                </a:rPr>
                <a:t>- 1080-1439 gün ise 15.000 TL</a:t>
              </a:r>
            </a:p>
            <a:p>
              <a:r>
                <a:rPr lang="tr-TR" sz="1606" dirty="0">
                  <a:solidFill>
                    <a:schemeClr val="tx1"/>
                  </a:solidFill>
                </a:rPr>
                <a:t>- 1440 ve üstü gün ise 20.000 TL</a:t>
              </a:r>
            </a:p>
          </p:txBody>
        </p:sp>
        <p:sp>
          <p:nvSpPr>
            <p:cNvPr id="22" name="Yuvarlatılmış Dikdörtgen 21"/>
            <p:cNvSpPr/>
            <p:nvPr/>
          </p:nvSpPr>
          <p:spPr>
            <a:xfrm>
              <a:off x="2247074" y="3252880"/>
              <a:ext cx="6808011" cy="614194"/>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solidFill>
                    <a:schemeClr val="tx1"/>
                  </a:solidFill>
                </a:rPr>
                <a:t>Sosyal Güvenlik Kurumu  </a:t>
              </a:r>
              <a:r>
                <a:rPr lang="tr-TR" sz="1606" b="1" dirty="0">
                  <a:solidFill>
                    <a:schemeClr val="tx1"/>
                  </a:solidFill>
                </a:rPr>
                <a:t>4(a) </a:t>
              </a:r>
              <a:r>
                <a:rPr lang="tr-TR" sz="1606" dirty="0">
                  <a:solidFill>
                    <a:schemeClr val="tx1"/>
                  </a:solidFill>
                </a:rPr>
                <a:t>kapsamındaki tüm personel</a:t>
              </a:r>
            </a:p>
            <a:p>
              <a:pPr algn="ctr"/>
              <a:r>
                <a:rPr lang="tr-TR" sz="1606" dirty="0">
                  <a:solidFill>
                    <a:schemeClr val="tx1"/>
                  </a:solidFill>
                </a:rPr>
                <a:t>prim gün sayısı toplamı esas alınır. </a:t>
              </a:r>
            </a:p>
          </p:txBody>
        </p:sp>
        <p:sp>
          <p:nvSpPr>
            <p:cNvPr id="23" name="Oval 22"/>
            <p:cNvSpPr/>
            <p:nvPr/>
          </p:nvSpPr>
          <p:spPr>
            <a:xfrm>
              <a:off x="438424" y="3787957"/>
              <a:ext cx="1631885" cy="1468330"/>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t>Performans Desteği</a:t>
              </a:r>
            </a:p>
          </p:txBody>
        </p:sp>
        <p:sp>
          <p:nvSpPr>
            <p:cNvPr id="24" name="Yuvarlatılmış Dikdörtgen 23"/>
            <p:cNvSpPr/>
            <p:nvPr/>
          </p:nvSpPr>
          <p:spPr>
            <a:xfrm>
              <a:off x="2154551" y="5264187"/>
              <a:ext cx="6870162" cy="70067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solidFill>
                    <a:schemeClr val="tx1"/>
                  </a:solidFill>
                </a:rPr>
                <a:t>Asgari prim gün sayısına ulaşan işletme  sahibinin genç (&gt;30 yaş), kadın, engelli, gazi veya birinci derecede şehit yakını  olması durumunda</a:t>
              </a:r>
            </a:p>
            <a:p>
              <a:pPr algn="ctr"/>
              <a:r>
                <a:rPr lang="tr-TR" sz="1606" dirty="0">
                  <a:solidFill>
                    <a:schemeClr val="tx1"/>
                  </a:solidFill>
                </a:rPr>
                <a:t>her bir performans döneminde belirlenen tutarlara 5.000 TL eklenir.</a:t>
              </a:r>
            </a:p>
          </p:txBody>
        </p:sp>
      </p:grpSp>
    </p:spTree>
    <p:extLst>
      <p:ext uri="{BB962C8B-B14F-4D97-AF65-F5344CB8AC3E}">
        <p14:creationId xmlns:p14="http://schemas.microsoft.com/office/powerpoint/2010/main" val="288753215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2843594" y="176595"/>
            <a:ext cx="6926536" cy="859805"/>
          </a:xfrm>
        </p:spPr>
        <p:txBody>
          <a:bodyPr/>
          <a:lstStyle/>
          <a:p>
            <a:r>
              <a:rPr lang="tr-TR" sz="3212" b="1" dirty="0">
                <a:solidFill>
                  <a:srgbClr val="00BAD5"/>
                </a:solidFill>
                <a:latin typeface="Calibri" pitchFamily="34" charset="0"/>
                <a:ea typeface="ヒラギノ角ゴ Pro W3" pitchFamily="1" charset="-128"/>
              </a:rPr>
              <a:t>İleri Girişimci Destek Programı</a:t>
            </a:r>
            <a:endParaRPr lang="tr-TR" sz="3212"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smtClean="0"/>
              <a:pPr>
                <a:defRPr/>
              </a:pPr>
              <a:t>52</a:t>
            </a:fld>
            <a:endParaRPr lang="tr-TR"/>
          </a:p>
        </p:txBody>
      </p:sp>
      <p:sp>
        <p:nvSpPr>
          <p:cNvPr id="4" name="Dikdörtgen 3"/>
          <p:cNvSpPr/>
          <p:nvPr/>
        </p:nvSpPr>
        <p:spPr>
          <a:xfrm>
            <a:off x="2101783" y="1124638"/>
            <a:ext cx="8041655" cy="926762"/>
          </a:xfrm>
          <a:prstGeom prst="rect">
            <a:avLst/>
          </a:prstGeom>
        </p:spPr>
        <p:txBody>
          <a:bodyPr wrap="square">
            <a:spAutoFit/>
          </a:bodyPr>
          <a:lstStyle/>
          <a:p>
            <a:pPr algn="just"/>
            <a:r>
              <a:rPr lang="tr-TR" sz="1807" b="1" dirty="0"/>
              <a:t>Hedef :</a:t>
            </a:r>
            <a:r>
              <a:rPr lang="tr-TR" sz="1807" dirty="0"/>
              <a:t>  Yenilikçi, sanayide dijitalleşme uygulamaları, orta yüksek/yüksek teknoloji düzeyindeki sektörler ile imalat sektöründe faaliyet gösteren işletmelerin sayısının arttırılması.</a:t>
            </a:r>
          </a:p>
        </p:txBody>
      </p:sp>
      <p:grpSp>
        <p:nvGrpSpPr>
          <p:cNvPr id="3" name="Grup 2"/>
          <p:cNvGrpSpPr/>
          <p:nvPr/>
        </p:nvGrpSpPr>
        <p:grpSpPr>
          <a:xfrm>
            <a:off x="1591054" y="1872892"/>
            <a:ext cx="8740110" cy="3240313"/>
            <a:chOff x="83739" y="1865955"/>
            <a:chExt cx="8707739" cy="3228312"/>
          </a:xfrm>
        </p:grpSpPr>
        <p:sp>
          <p:nvSpPr>
            <p:cNvPr id="15" name="Yuvarlatılmış Dikdörtgen 14"/>
            <p:cNvSpPr/>
            <p:nvPr/>
          </p:nvSpPr>
          <p:spPr>
            <a:xfrm>
              <a:off x="1888511" y="1865955"/>
              <a:ext cx="6902967" cy="2364216"/>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tr-TR" sz="1807" b="1" dirty="0">
                  <a:solidFill>
                    <a:schemeClr val="accent6">
                      <a:lumMod val="60000"/>
                      <a:lumOff val="40000"/>
                    </a:schemeClr>
                  </a:solidFill>
                </a:rPr>
                <a:t>Geri ödemesiz olarak sağlanacak Destek Üst limitleri :</a:t>
              </a:r>
            </a:p>
            <a:p>
              <a:pPr lvl="0" algn="just"/>
              <a:endParaRPr lang="tr-TR" sz="1807" b="1" dirty="0">
                <a:solidFill>
                  <a:schemeClr val="accent6">
                    <a:lumMod val="60000"/>
                    <a:lumOff val="40000"/>
                  </a:schemeClr>
                </a:solidFill>
              </a:endParaRPr>
            </a:p>
            <a:p>
              <a:pPr algn="just"/>
              <a:r>
                <a:rPr lang="tr-TR" sz="1807" dirty="0"/>
                <a:t>Düşük orta-düşük teknoloji seviyesinde faaliyet gösteren işletmelere </a:t>
              </a:r>
              <a:r>
                <a:rPr lang="tr-TR" sz="2007" b="1" dirty="0">
                  <a:solidFill>
                    <a:schemeClr val="accent6">
                      <a:lumMod val="60000"/>
                      <a:lumOff val="40000"/>
                    </a:schemeClr>
                  </a:solidFill>
                </a:rPr>
                <a:t>100.000TL</a:t>
              </a:r>
            </a:p>
            <a:p>
              <a:pPr algn="just"/>
              <a:r>
                <a:rPr lang="tr-TR" sz="1807" dirty="0"/>
                <a:t>Orta-yüksek teknoloji seviyesinde faaliyet gösteren işletmelere </a:t>
              </a:r>
              <a:r>
                <a:rPr lang="tr-TR" sz="2007" b="1" dirty="0">
                  <a:solidFill>
                    <a:schemeClr val="accent6">
                      <a:lumMod val="60000"/>
                      <a:lumOff val="40000"/>
                    </a:schemeClr>
                  </a:solidFill>
                </a:rPr>
                <a:t>200.000TL</a:t>
              </a:r>
            </a:p>
            <a:p>
              <a:pPr algn="just"/>
              <a:r>
                <a:rPr lang="tr-TR" sz="1807" dirty="0"/>
                <a:t>Yüksek teknoloji seviyesinde faaliyet gösteren işletmelere </a:t>
              </a:r>
            </a:p>
            <a:p>
              <a:pPr algn="just"/>
              <a:r>
                <a:rPr lang="tr-TR" sz="2007" b="1" dirty="0">
                  <a:solidFill>
                    <a:schemeClr val="accent6">
                      <a:lumMod val="60000"/>
                      <a:lumOff val="40000"/>
                    </a:schemeClr>
                  </a:solidFill>
                </a:rPr>
                <a:t>300.000TL</a:t>
              </a:r>
            </a:p>
          </p:txBody>
        </p:sp>
        <p:sp>
          <p:nvSpPr>
            <p:cNvPr id="10" name="Oval 9"/>
            <p:cNvSpPr/>
            <p:nvPr/>
          </p:nvSpPr>
          <p:spPr>
            <a:xfrm>
              <a:off x="83739" y="3366075"/>
              <a:ext cx="1804772" cy="1728192"/>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t>Makine, Teçhizat ve Yazılım Desteği</a:t>
              </a:r>
            </a:p>
          </p:txBody>
        </p:sp>
      </p:grpSp>
      <p:sp>
        <p:nvSpPr>
          <p:cNvPr id="14" name="Yuvarlatılmış Dikdörtgen 13"/>
          <p:cNvSpPr/>
          <p:nvPr/>
        </p:nvSpPr>
        <p:spPr>
          <a:xfrm>
            <a:off x="3367450" y="4811511"/>
            <a:ext cx="6928631" cy="1228687"/>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solidFill>
                  <a:schemeClr val="tx1"/>
                </a:solidFill>
              </a:rPr>
              <a:t>Sanayi ve Teknoloji Bakanlığınca 13/09/2014 tarih ve 29118 sayılı Resmi Gazete’ de yayımlanan SGM 2014/35 sayılı Yerli Malı Tebliği’ne uygun olarak alınmış ve güncel yerli malı belgesi ile tefrik edilmesi durumunda, destek oranına %15 ilave edilir.</a:t>
            </a:r>
          </a:p>
        </p:txBody>
      </p:sp>
      <p:sp>
        <p:nvSpPr>
          <p:cNvPr id="17" name="Yuvarlatılmış Dikdörtgen 16"/>
          <p:cNvSpPr/>
          <p:nvPr/>
        </p:nvSpPr>
        <p:spPr>
          <a:xfrm>
            <a:off x="3402537" y="4271730"/>
            <a:ext cx="6893544" cy="53978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807" b="1" dirty="0">
                <a:solidFill>
                  <a:schemeClr val="tx1"/>
                </a:solidFill>
              </a:rPr>
              <a:t>Destek oranı % 75</a:t>
            </a:r>
          </a:p>
        </p:txBody>
      </p:sp>
    </p:spTree>
    <p:extLst>
      <p:ext uri="{BB962C8B-B14F-4D97-AF65-F5344CB8AC3E}">
        <p14:creationId xmlns:p14="http://schemas.microsoft.com/office/powerpoint/2010/main" val="285384219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299561" y="274681"/>
            <a:ext cx="6926536" cy="859805"/>
          </a:xfrm>
        </p:spPr>
        <p:txBody>
          <a:bodyPr/>
          <a:lstStyle/>
          <a:p>
            <a:r>
              <a:rPr lang="tr-TR" sz="3212" b="1" dirty="0">
                <a:solidFill>
                  <a:srgbClr val="00BAD5"/>
                </a:solidFill>
                <a:latin typeface="Calibri" pitchFamily="34" charset="0"/>
                <a:ea typeface="ヒラギノ角ゴ Pro W3" pitchFamily="1" charset="-128"/>
              </a:rPr>
              <a:t>İleri Girişimci Destek Programı</a:t>
            </a:r>
            <a:endParaRPr lang="tr-TR" sz="3212"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smtClean="0"/>
              <a:pPr>
                <a:defRPr/>
              </a:pPr>
              <a:t>53</a:t>
            </a:fld>
            <a:endParaRPr lang="tr-TR"/>
          </a:p>
        </p:txBody>
      </p:sp>
      <p:sp>
        <p:nvSpPr>
          <p:cNvPr id="15" name="Yuvarlatılmış Dikdörtgen 14"/>
          <p:cNvSpPr/>
          <p:nvPr/>
        </p:nvSpPr>
        <p:spPr>
          <a:xfrm>
            <a:off x="3608493" y="1333005"/>
            <a:ext cx="6718902" cy="2385098"/>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b="1" dirty="0">
                <a:solidFill>
                  <a:schemeClr val="bg1"/>
                </a:solidFill>
              </a:rPr>
              <a:t>Orta- yüksek  teknoloji ve yüksek teknoloji seviyesinde faaliyet gösteren işletmeler için,</a:t>
            </a:r>
          </a:p>
          <a:p>
            <a:pPr algn="ctr"/>
            <a:endParaRPr lang="tr-TR" sz="1606" dirty="0">
              <a:solidFill>
                <a:schemeClr val="bg1"/>
              </a:solidFill>
            </a:endParaRPr>
          </a:p>
          <a:p>
            <a:pPr algn="ctr"/>
            <a:r>
              <a:rPr lang="tr-TR" sz="1606" b="1" dirty="0" err="1">
                <a:solidFill>
                  <a:schemeClr val="bg1"/>
                </a:solidFill>
              </a:rPr>
              <a:t>Mentörlük</a:t>
            </a:r>
            <a:r>
              <a:rPr lang="tr-TR" sz="1606" b="1" dirty="0">
                <a:solidFill>
                  <a:schemeClr val="bg1"/>
                </a:solidFill>
              </a:rPr>
              <a:t> hizmeti ücretsiz</a:t>
            </a:r>
          </a:p>
          <a:p>
            <a:pPr algn="ctr"/>
            <a:r>
              <a:rPr lang="tr-TR" sz="1606" b="1" dirty="0">
                <a:solidFill>
                  <a:schemeClr val="bg1"/>
                </a:solidFill>
              </a:rPr>
              <a:t>Danışmanlık ve işletme koçluğu giderleri için geri ödemesiz olarak sağlanacak destek üst limiti 10.000 TL</a:t>
            </a:r>
          </a:p>
        </p:txBody>
      </p:sp>
      <p:sp>
        <p:nvSpPr>
          <p:cNvPr id="10" name="Oval 9"/>
          <p:cNvSpPr/>
          <p:nvPr/>
        </p:nvSpPr>
        <p:spPr>
          <a:xfrm>
            <a:off x="1687183" y="1513694"/>
            <a:ext cx="1914783" cy="1734617"/>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err="1"/>
              <a:t>Mentörlük</a:t>
            </a:r>
            <a:r>
              <a:rPr lang="tr-TR" sz="1606" dirty="0"/>
              <a:t>, Danışmanlık ve İşletme Koçluğu Desteği</a:t>
            </a:r>
          </a:p>
        </p:txBody>
      </p:sp>
      <p:sp>
        <p:nvSpPr>
          <p:cNvPr id="17" name="Yuvarlatılmış Dikdörtgen 16"/>
          <p:cNvSpPr/>
          <p:nvPr/>
        </p:nvSpPr>
        <p:spPr>
          <a:xfrm>
            <a:off x="3622847" y="3317983"/>
            <a:ext cx="6923892" cy="41558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405" b="1" dirty="0">
                <a:solidFill>
                  <a:schemeClr val="bg1"/>
                </a:solidFill>
              </a:rPr>
              <a:t>(Destek oranı % 75)</a:t>
            </a:r>
          </a:p>
        </p:txBody>
      </p:sp>
      <p:sp>
        <p:nvSpPr>
          <p:cNvPr id="7" name="Oval 6"/>
          <p:cNvSpPr/>
          <p:nvPr/>
        </p:nvSpPr>
        <p:spPr>
          <a:xfrm>
            <a:off x="1985700" y="4257466"/>
            <a:ext cx="1508376" cy="1406632"/>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t>Sertifika Desteği</a:t>
            </a:r>
          </a:p>
        </p:txBody>
      </p:sp>
      <p:sp>
        <p:nvSpPr>
          <p:cNvPr id="9" name="Yuvarlatılmış Dikdörtgen 8"/>
          <p:cNvSpPr/>
          <p:nvPr/>
        </p:nvSpPr>
        <p:spPr>
          <a:xfrm>
            <a:off x="3494076" y="4511273"/>
            <a:ext cx="6833320" cy="712377"/>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6" dirty="0">
                <a:solidFill>
                  <a:schemeClr val="tx1"/>
                </a:solidFill>
              </a:rPr>
              <a:t>Tehlikeli veya çok tehlikeli sınıflarda yer alan NACE kodlarında faaliyet gösteren işletmeler için 5.000 TL</a:t>
            </a:r>
          </a:p>
        </p:txBody>
      </p:sp>
    </p:spTree>
    <p:extLst>
      <p:ext uri="{BB962C8B-B14F-4D97-AF65-F5344CB8AC3E}">
        <p14:creationId xmlns:p14="http://schemas.microsoft.com/office/powerpoint/2010/main" val="207758801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299561" y="248870"/>
            <a:ext cx="6926536" cy="1101296"/>
          </a:xfrm>
        </p:spPr>
        <p:txBody>
          <a:bodyPr/>
          <a:lstStyle/>
          <a:p>
            <a:r>
              <a:rPr lang="tr-TR" sz="3212" b="1" dirty="0">
                <a:solidFill>
                  <a:srgbClr val="00BAD5"/>
                </a:solidFill>
                <a:latin typeface="Calibri" pitchFamily="34" charset="0"/>
                <a:ea typeface="ヒラギノ角ゴ Pro W3" pitchFamily="1" charset="-128"/>
              </a:rPr>
              <a:t>Geleneksel/İleri Girişimci </a:t>
            </a:r>
            <a:br>
              <a:rPr lang="tr-TR" sz="3212" b="1" dirty="0">
                <a:solidFill>
                  <a:srgbClr val="00BAD5"/>
                </a:solidFill>
                <a:latin typeface="Calibri" pitchFamily="34" charset="0"/>
                <a:ea typeface="ヒラギノ角ゴ Pro W3" pitchFamily="1" charset="-128"/>
              </a:rPr>
            </a:br>
            <a:r>
              <a:rPr lang="tr-TR" sz="3212" b="1" dirty="0">
                <a:solidFill>
                  <a:srgbClr val="00BAD5"/>
                </a:solidFill>
                <a:latin typeface="Calibri" pitchFamily="34" charset="0"/>
                <a:ea typeface="ヒラギノ角ゴ Pro W3" pitchFamily="1" charset="-128"/>
              </a:rPr>
              <a:t>Destek Programı</a:t>
            </a:r>
            <a:endParaRPr lang="tr-TR" sz="3212"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smtClean="0"/>
              <a:pPr>
                <a:defRPr/>
              </a:pPr>
              <a:t>54</a:t>
            </a:fld>
            <a:endParaRPr lang="tr-TR"/>
          </a:p>
        </p:txBody>
      </p:sp>
      <p:sp>
        <p:nvSpPr>
          <p:cNvPr id="5" name="Metin kutusu 4"/>
          <p:cNvSpPr txBox="1"/>
          <p:nvPr/>
        </p:nvSpPr>
        <p:spPr>
          <a:xfrm>
            <a:off x="2120837" y="1260730"/>
            <a:ext cx="6721639" cy="463381"/>
          </a:xfrm>
          <a:prstGeom prst="rect">
            <a:avLst/>
          </a:prstGeom>
          <a:solidFill>
            <a:schemeClr val="bg1"/>
          </a:solidFill>
        </p:spPr>
        <p:txBody>
          <a:bodyPr wrap="square" rtlCol="0">
            <a:spAutoFit/>
          </a:bodyPr>
          <a:lstStyle/>
          <a:p>
            <a:r>
              <a:rPr lang="tr-TR" sz="2409" b="1" dirty="0"/>
              <a:t>Destek Programından Yararlanma Koşulları</a:t>
            </a:r>
          </a:p>
        </p:txBody>
      </p:sp>
      <p:graphicFrame>
        <p:nvGraphicFramePr>
          <p:cNvPr id="11" name="Diyagram 10"/>
          <p:cNvGraphicFramePr/>
          <p:nvPr>
            <p:extLst/>
          </p:nvPr>
        </p:nvGraphicFramePr>
        <p:xfrm>
          <a:off x="2120837" y="1622108"/>
          <a:ext cx="8311704" cy="41622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3819019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1 Başlık"/>
          <p:cNvSpPr>
            <a:spLocks noGrp="1"/>
          </p:cNvSpPr>
          <p:nvPr>
            <p:ph type="ctrTitle"/>
          </p:nvPr>
        </p:nvSpPr>
        <p:spPr>
          <a:xfrm>
            <a:off x="2195353" y="2130430"/>
            <a:ext cx="7801294" cy="1470025"/>
          </a:xfrm>
        </p:spPr>
        <p:txBody>
          <a:bodyPr/>
          <a:lstStyle/>
          <a:p>
            <a:pPr eaLnBrk="1" hangingPunct="1"/>
            <a:r>
              <a:rPr lang="tr-TR" dirty="0" smtClean="0"/>
              <a:t> </a:t>
            </a:r>
          </a:p>
        </p:txBody>
      </p:sp>
      <p:sp>
        <p:nvSpPr>
          <p:cNvPr id="18436" name="6 Metin kutusu"/>
          <p:cNvSpPr txBox="1">
            <a:spLocks noChangeArrowheads="1"/>
          </p:cNvSpPr>
          <p:nvPr/>
        </p:nvSpPr>
        <p:spPr bwMode="auto">
          <a:xfrm>
            <a:off x="2662830" y="2032506"/>
            <a:ext cx="7866014" cy="525165"/>
          </a:xfrm>
          <a:prstGeom prst="rect">
            <a:avLst/>
          </a:prstGeom>
          <a:noFill/>
          <a:ln w="9525">
            <a:noFill/>
            <a:miter lim="800000"/>
            <a:headEnd/>
            <a:tailEnd/>
          </a:ln>
        </p:spPr>
        <p:txBody>
          <a:bodyPr wrap="square">
            <a:spAutoFit/>
          </a:bodyPr>
          <a:lstStyle/>
          <a:p>
            <a:pPr algn="ctr" eaLnBrk="1" hangingPunct="1"/>
            <a:r>
              <a:rPr lang="tr-TR" sz="2810" b="1" dirty="0">
                <a:solidFill>
                  <a:schemeClr val="bg2"/>
                </a:solidFill>
              </a:rPr>
              <a:t>KOSGEB GİRİŞİMCİLİK DESTEKLERİ</a:t>
            </a:r>
          </a:p>
        </p:txBody>
      </p:sp>
      <p:sp>
        <p:nvSpPr>
          <p:cNvPr id="18437" name="7 Metin kutusu"/>
          <p:cNvSpPr txBox="1">
            <a:spLocks noChangeArrowheads="1"/>
          </p:cNvSpPr>
          <p:nvPr/>
        </p:nvSpPr>
        <p:spPr bwMode="auto">
          <a:xfrm>
            <a:off x="3890732" y="3422649"/>
            <a:ext cx="6794264" cy="338554"/>
          </a:xfrm>
          <a:prstGeom prst="rect">
            <a:avLst/>
          </a:prstGeom>
          <a:noFill/>
          <a:ln w="9525">
            <a:noFill/>
            <a:miter lim="800000"/>
            <a:headEnd/>
            <a:tailEnd/>
          </a:ln>
        </p:spPr>
        <p:txBody>
          <a:bodyPr>
            <a:spAutoFit/>
          </a:bodyPr>
          <a:lstStyle/>
          <a:p>
            <a:pPr algn="r"/>
            <a:r>
              <a:rPr lang="tr-TR" sz="1606" b="1" dirty="0">
                <a:solidFill>
                  <a:srgbClr val="FFFFFF"/>
                </a:solidFill>
                <a:latin typeface="Arial" charset="0"/>
                <a:cs typeface="Arial" charset="0"/>
              </a:rPr>
              <a:t> Eylül 2020</a:t>
            </a:r>
          </a:p>
        </p:txBody>
      </p:sp>
      <p:pic>
        <p:nvPicPr>
          <p:cNvPr id="8" name="Resim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8717548" cy="4741817"/>
          </a:xfrm>
          <a:prstGeom prst="rect">
            <a:avLst/>
          </a:prstGeom>
        </p:spPr>
      </p:pic>
      <p:sp>
        <p:nvSpPr>
          <p:cNvPr id="6" name="Dikdörtgen 5"/>
          <p:cNvSpPr/>
          <p:nvPr/>
        </p:nvSpPr>
        <p:spPr>
          <a:xfrm>
            <a:off x="3147934" y="3309614"/>
            <a:ext cx="9044066" cy="3650105"/>
          </a:xfrm>
          <a:prstGeom prst="rect">
            <a:avLst/>
          </a:prstGeom>
          <a:solidFill>
            <a:schemeClr val="tx2">
              <a:lumMod val="50000"/>
              <a:alpha val="9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4400" dirty="0" smtClean="0">
                <a:solidFill>
                  <a:prstClr val="white"/>
                </a:solidFill>
                <a:latin typeface="+mj-lt"/>
              </a:rPr>
              <a:t>İŞGEM / TEKMER DESTEK PROGRAMI</a:t>
            </a:r>
            <a:endParaRPr kumimoji="0" lang="en-US" sz="4400" b="0" i="0" u="none" strike="noStrike" kern="1200" cap="none" spc="0" normalizeH="0" baseline="0" noProof="0" dirty="0">
              <a:ln>
                <a:noFill/>
              </a:ln>
              <a:solidFill>
                <a:prstClr val="white"/>
              </a:solidFill>
              <a:effectLst/>
              <a:uLnTx/>
              <a:uFillTx/>
              <a:latin typeface="+mj-lt"/>
            </a:endParaRPr>
          </a:p>
        </p:txBody>
      </p:sp>
    </p:spTree>
    <p:extLst>
      <p:ext uri="{BB962C8B-B14F-4D97-AF65-F5344CB8AC3E}">
        <p14:creationId xmlns:p14="http://schemas.microsoft.com/office/powerpoint/2010/main" val="258692071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277248" y="176594"/>
            <a:ext cx="6926536" cy="859806"/>
          </a:xfrm>
        </p:spPr>
        <p:txBody>
          <a:bodyPr/>
          <a:lstStyle/>
          <a:p>
            <a:r>
              <a:rPr lang="tr-TR" sz="3212" b="1" dirty="0">
                <a:solidFill>
                  <a:srgbClr val="00BAD5"/>
                </a:solidFill>
                <a:latin typeface="Calibri" pitchFamily="34" charset="0"/>
                <a:ea typeface="ヒラギノ角ゴ Pro W3" pitchFamily="1" charset="-128"/>
              </a:rPr>
              <a:t>İŞGEM/TEKMER Destek Programı</a:t>
            </a:r>
          </a:p>
        </p:txBody>
      </p:sp>
      <p:sp>
        <p:nvSpPr>
          <p:cNvPr id="8" name="Slayt Numarası Yer Tutucusu 7"/>
          <p:cNvSpPr>
            <a:spLocks noGrp="1"/>
          </p:cNvSpPr>
          <p:nvPr>
            <p:ph type="sldNum" sz="quarter" idx="12"/>
          </p:nvPr>
        </p:nvSpPr>
        <p:spPr/>
        <p:txBody>
          <a:bodyPr/>
          <a:lstStyle/>
          <a:p>
            <a:pPr>
              <a:defRPr/>
            </a:pPr>
            <a:fld id="{23834FD1-F4F0-40AB-A596-CAED2E9ED3B6}" type="slidenum">
              <a:rPr lang="tr-TR" smtClean="0"/>
              <a:pPr>
                <a:defRPr/>
              </a:pPr>
              <a:t>56</a:t>
            </a:fld>
            <a:endParaRPr lang="tr-TR"/>
          </a:p>
        </p:txBody>
      </p:sp>
      <p:graphicFrame>
        <p:nvGraphicFramePr>
          <p:cNvPr id="6" name="İçerik Yer Tutucusu 4"/>
          <p:cNvGraphicFramePr>
            <a:graphicFrameLocks noGrp="1"/>
          </p:cNvGraphicFramePr>
          <p:nvPr>
            <p:ph idx="1"/>
            <p:extLst/>
          </p:nvPr>
        </p:nvGraphicFramePr>
        <p:xfrm>
          <a:off x="2048562" y="176594"/>
          <a:ext cx="8260193" cy="58832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5623661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ayt Numarası Yer Tutucusu 7"/>
          <p:cNvSpPr>
            <a:spLocks noGrp="1"/>
          </p:cNvSpPr>
          <p:nvPr>
            <p:ph type="sldNum" sz="quarter" idx="12"/>
          </p:nvPr>
        </p:nvSpPr>
        <p:spPr/>
        <p:txBody>
          <a:bodyPr/>
          <a:lstStyle/>
          <a:p>
            <a:pPr>
              <a:defRPr/>
            </a:pPr>
            <a:fld id="{23834FD1-F4F0-40AB-A596-CAED2E9ED3B6}" type="slidenum">
              <a:rPr lang="tr-TR" smtClean="0"/>
              <a:pPr>
                <a:defRPr/>
              </a:pPr>
              <a:t>57</a:t>
            </a:fld>
            <a:endParaRPr lang="tr-TR"/>
          </a:p>
        </p:txBody>
      </p:sp>
      <p:sp>
        <p:nvSpPr>
          <p:cNvPr id="26" name="TextBox 24"/>
          <p:cNvSpPr txBox="1"/>
          <p:nvPr/>
        </p:nvSpPr>
        <p:spPr>
          <a:xfrm>
            <a:off x="1761551" y="2051114"/>
            <a:ext cx="4059110" cy="2976028"/>
          </a:xfrm>
          <a:prstGeom prst="rect">
            <a:avLst/>
          </a:prstGeom>
          <a:noFill/>
        </p:spPr>
        <p:txBody>
          <a:bodyPr wrap="square" lIns="76957" tIns="38479" rIns="76957" bIns="38479" rtlCol="0">
            <a:spAutoFit/>
          </a:bodyPr>
          <a:lstStyle/>
          <a:p>
            <a:pPr algn="just" defTabSz="769548"/>
            <a:r>
              <a:rPr lang="tr-TR" sz="1706" dirty="0">
                <a:solidFill>
                  <a:prstClr val="black"/>
                </a:solidFill>
                <a:cs typeface="Arial" panose="020B0604020202020204" pitchFamily="34" charset="0"/>
              </a:rPr>
              <a:t>Girişimcilik ekosisteminde yer alan aktörler arası işbirliğini arttırmak, yeni kurulan işletmelerin en kırılgan oldukları dönemde hayatta kalma oranının arttırılmasına katkı sağlayacak yapıların ve ulusal plan ve programlar doğrultusunda yenilikçi işletmelerin kurulmasını ve sürdürülmesini sağlamak için İŞGEM/TEKMER  kurulmasını ve gerçekleştireceği faaliyetleri desteklemektir</a:t>
            </a:r>
            <a:endParaRPr lang="en-US" sz="1706" kern="0" dirty="0">
              <a:solidFill>
                <a:sysClr val="windowText" lastClr="000000"/>
              </a:solidFill>
            </a:endParaRPr>
          </a:p>
        </p:txBody>
      </p:sp>
      <p:sp>
        <p:nvSpPr>
          <p:cNvPr id="27" name="TextBox 27"/>
          <p:cNvSpPr txBox="1"/>
          <p:nvPr/>
        </p:nvSpPr>
        <p:spPr>
          <a:xfrm>
            <a:off x="1761550" y="1578823"/>
            <a:ext cx="3159383" cy="386629"/>
          </a:xfrm>
          <a:prstGeom prst="rect">
            <a:avLst/>
          </a:prstGeom>
          <a:noFill/>
        </p:spPr>
        <p:txBody>
          <a:bodyPr wrap="square" lIns="76957" tIns="38479" rIns="76957" bIns="38479" rtlCol="0">
            <a:spAutoFit/>
          </a:bodyPr>
          <a:lstStyle/>
          <a:p>
            <a:pPr defTabSz="769548">
              <a:defRPr/>
            </a:pPr>
            <a:r>
              <a:rPr lang="tr-TR" sz="2007" b="1" kern="0" dirty="0">
                <a:solidFill>
                  <a:srgbClr val="1F497D"/>
                </a:solidFill>
                <a:latin typeface="Calibri"/>
              </a:rPr>
              <a:t>Programın Amacı</a:t>
            </a:r>
            <a:endParaRPr lang="en-US" sz="2007" b="1" kern="0" dirty="0">
              <a:solidFill>
                <a:srgbClr val="1F497D"/>
              </a:solidFill>
              <a:latin typeface="Calibri"/>
            </a:endParaRPr>
          </a:p>
        </p:txBody>
      </p:sp>
      <p:sp>
        <p:nvSpPr>
          <p:cNvPr id="28" name="TextBox 29"/>
          <p:cNvSpPr txBox="1"/>
          <p:nvPr/>
        </p:nvSpPr>
        <p:spPr>
          <a:xfrm>
            <a:off x="6262375" y="2119635"/>
            <a:ext cx="3814591" cy="1922094"/>
          </a:xfrm>
          <a:prstGeom prst="rect">
            <a:avLst/>
          </a:prstGeom>
          <a:noFill/>
        </p:spPr>
        <p:txBody>
          <a:bodyPr wrap="square" lIns="76957" tIns="38479" rIns="76957" bIns="38479" rtlCol="0">
            <a:spAutoFit/>
          </a:bodyPr>
          <a:lstStyle>
            <a:defPPr>
              <a:defRPr lang="en-US"/>
            </a:defPPr>
            <a:lvl1pPr algn="just" defTabSz="766711" fontAlgn="auto">
              <a:spcBef>
                <a:spcPts val="0"/>
              </a:spcBef>
              <a:spcAft>
                <a:spcPts val="0"/>
              </a:spcAft>
              <a:defRPr sz="1700">
                <a:solidFill>
                  <a:prstClr val="black"/>
                </a:solidFill>
                <a:latin typeface="+mn-lt"/>
                <a:ea typeface="+mn-ea"/>
                <a:cs typeface="Arial" panose="020B0604020202020204" pitchFamily="34" charset="0"/>
              </a:defRPr>
            </a:lvl1pPr>
          </a:lstStyle>
          <a:p>
            <a:r>
              <a:rPr lang="en-US" sz="1706" dirty="0" err="1"/>
              <a:t>Enerji</a:t>
            </a:r>
            <a:r>
              <a:rPr lang="en-US" sz="1706" dirty="0"/>
              <a:t>/</a:t>
            </a:r>
            <a:r>
              <a:rPr lang="en-US" sz="1706" dirty="0" err="1"/>
              <a:t>yenilenebilir</a:t>
            </a:r>
            <a:r>
              <a:rPr lang="en-US" sz="1706" dirty="0"/>
              <a:t> </a:t>
            </a:r>
            <a:r>
              <a:rPr lang="en-US" sz="1706" dirty="0" err="1"/>
              <a:t>enerji</a:t>
            </a:r>
            <a:r>
              <a:rPr lang="en-US" sz="1706" dirty="0"/>
              <a:t>, </a:t>
            </a:r>
            <a:r>
              <a:rPr lang="en-US" sz="1706" dirty="0" err="1"/>
              <a:t>havacılık</a:t>
            </a:r>
            <a:r>
              <a:rPr lang="en-US" sz="1706" dirty="0"/>
              <a:t>, </a:t>
            </a:r>
            <a:r>
              <a:rPr lang="en-US" sz="1706" dirty="0" err="1"/>
              <a:t>savunma</a:t>
            </a:r>
            <a:r>
              <a:rPr lang="en-US" sz="1706" dirty="0"/>
              <a:t>, </a:t>
            </a:r>
            <a:r>
              <a:rPr lang="en-US" sz="1706" dirty="0" err="1"/>
              <a:t>ilaç</a:t>
            </a:r>
            <a:r>
              <a:rPr lang="en-US" sz="1706" dirty="0"/>
              <a:t>, </a:t>
            </a:r>
            <a:r>
              <a:rPr lang="en-US" sz="1706" dirty="0" err="1"/>
              <a:t>tıbbi</a:t>
            </a:r>
            <a:r>
              <a:rPr lang="en-US" sz="1706" dirty="0"/>
              <a:t> </a:t>
            </a:r>
            <a:r>
              <a:rPr lang="en-US" sz="1706" dirty="0" err="1"/>
              <a:t>cihaz</a:t>
            </a:r>
            <a:r>
              <a:rPr lang="en-US" sz="1706" dirty="0"/>
              <a:t>, </a:t>
            </a:r>
            <a:r>
              <a:rPr lang="en-US" sz="1706" dirty="0" err="1"/>
              <a:t>medikal</a:t>
            </a:r>
            <a:r>
              <a:rPr lang="en-US" sz="1706" dirty="0"/>
              <a:t>, </a:t>
            </a:r>
            <a:r>
              <a:rPr lang="en-US" sz="1706" dirty="0" err="1"/>
              <a:t>biyoteknoloji</a:t>
            </a:r>
            <a:r>
              <a:rPr lang="en-US" sz="1706" dirty="0"/>
              <a:t>, </a:t>
            </a:r>
            <a:r>
              <a:rPr lang="en-US" sz="1706" dirty="0" err="1"/>
              <a:t>nanoteknoloji</a:t>
            </a:r>
            <a:r>
              <a:rPr lang="en-US" sz="1706" dirty="0"/>
              <a:t>, </a:t>
            </a:r>
            <a:r>
              <a:rPr lang="en-US" sz="1706" dirty="0" err="1"/>
              <a:t>genetik</a:t>
            </a:r>
            <a:r>
              <a:rPr lang="en-US" sz="1706" dirty="0"/>
              <a:t>, </a:t>
            </a:r>
            <a:r>
              <a:rPr lang="en-US" sz="1706" dirty="0" err="1"/>
              <a:t>robotik</a:t>
            </a:r>
            <a:r>
              <a:rPr lang="en-US" sz="1706" dirty="0"/>
              <a:t>, </a:t>
            </a:r>
            <a:r>
              <a:rPr lang="en-US" sz="1706" dirty="0" err="1"/>
              <a:t>makina</a:t>
            </a:r>
            <a:r>
              <a:rPr lang="en-US" sz="1706" dirty="0"/>
              <a:t>, </a:t>
            </a:r>
            <a:r>
              <a:rPr lang="en-US" sz="1706" dirty="0" err="1"/>
              <a:t>kimya</a:t>
            </a:r>
            <a:r>
              <a:rPr lang="en-US" sz="1706" dirty="0"/>
              <a:t>, </a:t>
            </a:r>
            <a:r>
              <a:rPr lang="en-US" sz="1706" dirty="0" err="1"/>
              <a:t>bilgi</a:t>
            </a:r>
            <a:r>
              <a:rPr lang="en-US" sz="1706" dirty="0"/>
              <a:t> </a:t>
            </a:r>
            <a:r>
              <a:rPr lang="en-US" sz="1706" dirty="0" err="1"/>
              <a:t>ve</a:t>
            </a:r>
            <a:r>
              <a:rPr lang="en-US" sz="1706" dirty="0"/>
              <a:t> </a:t>
            </a:r>
            <a:r>
              <a:rPr lang="en-US" sz="1706" dirty="0" err="1"/>
              <a:t>iletişim</a:t>
            </a:r>
            <a:r>
              <a:rPr lang="en-US" sz="1706" dirty="0"/>
              <a:t> </a:t>
            </a:r>
            <a:r>
              <a:rPr lang="en-US" sz="1706" dirty="0" err="1"/>
              <a:t>teknolojileri</a:t>
            </a:r>
            <a:r>
              <a:rPr lang="en-US" sz="1706" dirty="0"/>
              <a:t>, </a:t>
            </a:r>
            <a:r>
              <a:rPr lang="en-US" sz="1706" dirty="0" err="1"/>
              <a:t>elektrik</a:t>
            </a:r>
            <a:r>
              <a:rPr lang="en-US" sz="1706" dirty="0"/>
              <a:t>/</a:t>
            </a:r>
            <a:r>
              <a:rPr lang="en-US" sz="1706" dirty="0" err="1"/>
              <a:t>elektronik</a:t>
            </a:r>
            <a:r>
              <a:rPr lang="en-US" sz="1706" dirty="0"/>
              <a:t>, </a:t>
            </a:r>
            <a:r>
              <a:rPr lang="en-US" sz="1706" dirty="0" err="1"/>
              <a:t>yazılım</a:t>
            </a:r>
            <a:r>
              <a:rPr lang="en-US" sz="1706" dirty="0"/>
              <a:t>, </a:t>
            </a:r>
            <a:r>
              <a:rPr lang="en-US" sz="1706" dirty="0" err="1"/>
              <a:t>dijitalleşme</a:t>
            </a:r>
            <a:r>
              <a:rPr lang="en-US" sz="1706" dirty="0"/>
              <a:t> </a:t>
            </a:r>
            <a:r>
              <a:rPr lang="en-US" sz="1706" dirty="0" err="1"/>
              <a:t>ve</a:t>
            </a:r>
            <a:r>
              <a:rPr lang="en-US" sz="1706" dirty="0"/>
              <a:t> </a:t>
            </a:r>
            <a:r>
              <a:rPr lang="en-US" sz="1706" dirty="0" err="1"/>
              <a:t>benzeri</a:t>
            </a:r>
            <a:r>
              <a:rPr lang="en-US" sz="1706" dirty="0"/>
              <a:t> </a:t>
            </a:r>
            <a:r>
              <a:rPr lang="en-US" sz="1706" dirty="0" err="1"/>
              <a:t>konular</a:t>
            </a:r>
            <a:r>
              <a:rPr lang="en-US" sz="1706" dirty="0"/>
              <a:t> </a:t>
            </a:r>
            <a:r>
              <a:rPr lang="en-US" sz="1706" dirty="0" err="1"/>
              <a:t>olabilir</a:t>
            </a:r>
            <a:r>
              <a:rPr lang="en-US" sz="1706" dirty="0"/>
              <a:t>.</a:t>
            </a:r>
          </a:p>
        </p:txBody>
      </p:sp>
      <p:sp>
        <p:nvSpPr>
          <p:cNvPr id="29" name="TextBox 30"/>
          <p:cNvSpPr txBox="1"/>
          <p:nvPr/>
        </p:nvSpPr>
        <p:spPr>
          <a:xfrm>
            <a:off x="6262363" y="1647344"/>
            <a:ext cx="3159383" cy="386629"/>
          </a:xfrm>
          <a:prstGeom prst="rect">
            <a:avLst/>
          </a:prstGeom>
          <a:noFill/>
        </p:spPr>
        <p:txBody>
          <a:bodyPr wrap="square" lIns="76957" tIns="38479" rIns="76957" bIns="38479" rtlCol="0">
            <a:spAutoFit/>
          </a:bodyPr>
          <a:lstStyle/>
          <a:p>
            <a:pPr defTabSz="769548">
              <a:defRPr/>
            </a:pPr>
            <a:r>
              <a:rPr lang="en-US" sz="2007" b="1" kern="0" dirty="0" err="1">
                <a:solidFill>
                  <a:srgbClr val="C0504D"/>
                </a:solidFill>
                <a:latin typeface="Calibri"/>
              </a:rPr>
              <a:t>Temalar</a:t>
            </a:r>
            <a:endParaRPr lang="en-US" sz="2007" b="1" kern="0" dirty="0">
              <a:solidFill>
                <a:srgbClr val="C0504D"/>
              </a:solidFill>
              <a:latin typeface="Calibri"/>
            </a:endParaRPr>
          </a:p>
        </p:txBody>
      </p:sp>
      <p:sp>
        <p:nvSpPr>
          <p:cNvPr id="30" name="TextBox 33"/>
          <p:cNvSpPr txBox="1"/>
          <p:nvPr/>
        </p:nvSpPr>
        <p:spPr>
          <a:xfrm>
            <a:off x="4778817" y="5741618"/>
            <a:ext cx="3159382" cy="340291"/>
          </a:xfrm>
          <a:prstGeom prst="rect">
            <a:avLst/>
          </a:prstGeom>
          <a:noFill/>
        </p:spPr>
        <p:txBody>
          <a:bodyPr wrap="square" lIns="76957" tIns="38479" rIns="76957" bIns="38479" rtlCol="0">
            <a:spAutoFit/>
          </a:bodyPr>
          <a:lstStyle/>
          <a:p>
            <a:pPr marL="240484" indent="-240484" defTabSz="769548">
              <a:buFont typeface="Arial" panose="020B0604020202020204" pitchFamily="34" charset="0"/>
              <a:buChar char="•"/>
              <a:defRPr/>
            </a:pPr>
            <a:r>
              <a:rPr lang="en-US" sz="1706" kern="0" dirty="0">
                <a:solidFill>
                  <a:sysClr val="windowText" lastClr="000000"/>
                </a:solidFill>
                <a:latin typeface="Calibri"/>
              </a:rPr>
              <a:t>Program </a:t>
            </a:r>
            <a:r>
              <a:rPr lang="en-US" sz="1706" kern="0" dirty="0" err="1">
                <a:solidFill>
                  <a:sysClr val="windowText" lastClr="000000"/>
                </a:solidFill>
                <a:latin typeface="Calibri"/>
              </a:rPr>
              <a:t>süresi</a:t>
            </a:r>
            <a:r>
              <a:rPr lang="en-US" sz="1706" kern="0" dirty="0">
                <a:solidFill>
                  <a:sysClr val="windowText" lastClr="000000"/>
                </a:solidFill>
                <a:latin typeface="Calibri"/>
              </a:rPr>
              <a:t> </a:t>
            </a:r>
            <a:r>
              <a:rPr lang="en-US" sz="1706" b="1" kern="0" dirty="0">
                <a:solidFill>
                  <a:srgbClr val="FF0000"/>
                </a:solidFill>
                <a:latin typeface="Calibri"/>
              </a:rPr>
              <a:t>5 </a:t>
            </a:r>
            <a:r>
              <a:rPr lang="en-US" sz="1706" b="1" kern="0" dirty="0" err="1">
                <a:solidFill>
                  <a:srgbClr val="FF0000"/>
                </a:solidFill>
                <a:latin typeface="Calibri"/>
              </a:rPr>
              <a:t>yıldır</a:t>
            </a:r>
            <a:r>
              <a:rPr lang="en-US" sz="1706" b="1" kern="0" dirty="0">
                <a:solidFill>
                  <a:srgbClr val="FF0000"/>
                </a:solidFill>
                <a:latin typeface="Calibri"/>
              </a:rPr>
              <a:t>.</a:t>
            </a:r>
          </a:p>
        </p:txBody>
      </p:sp>
      <p:sp>
        <p:nvSpPr>
          <p:cNvPr id="31" name="TextBox 34"/>
          <p:cNvSpPr txBox="1"/>
          <p:nvPr/>
        </p:nvSpPr>
        <p:spPr>
          <a:xfrm>
            <a:off x="4612810" y="5269317"/>
            <a:ext cx="3159383" cy="386629"/>
          </a:xfrm>
          <a:prstGeom prst="rect">
            <a:avLst/>
          </a:prstGeom>
          <a:noFill/>
        </p:spPr>
        <p:txBody>
          <a:bodyPr wrap="square" lIns="76957" tIns="38479" rIns="76957" bIns="38479" rtlCol="0">
            <a:spAutoFit/>
          </a:bodyPr>
          <a:lstStyle/>
          <a:p>
            <a:pPr defTabSz="769548">
              <a:defRPr/>
            </a:pPr>
            <a:r>
              <a:rPr lang="en-US" sz="2007" b="1" kern="0" dirty="0" err="1">
                <a:solidFill>
                  <a:srgbClr val="9BBB59"/>
                </a:solidFill>
                <a:latin typeface="Calibri"/>
              </a:rPr>
              <a:t>Programın</a:t>
            </a:r>
            <a:r>
              <a:rPr lang="en-US" sz="2007" b="1" kern="0" dirty="0">
                <a:solidFill>
                  <a:srgbClr val="9BBB59"/>
                </a:solidFill>
                <a:latin typeface="Calibri"/>
              </a:rPr>
              <a:t> </a:t>
            </a:r>
            <a:r>
              <a:rPr lang="en-US" sz="2007" b="1" kern="0" dirty="0" err="1">
                <a:solidFill>
                  <a:srgbClr val="9BBB59"/>
                </a:solidFill>
                <a:latin typeface="Calibri"/>
              </a:rPr>
              <a:t>Süresi</a:t>
            </a:r>
            <a:endParaRPr lang="en-US" sz="2007" b="1" kern="0" dirty="0">
              <a:solidFill>
                <a:srgbClr val="9BBB59"/>
              </a:solidFill>
              <a:latin typeface="Calibri"/>
            </a:endParaRPr>
          </a:p>
        </p:txBody>
      </p:sp>
      <p:grpSp>
        <p:nvGrpSpPr>
          <p:cNvPr id="32" name="Battery">
            <a:extLst>
              <a:ext uri="{FF2B5EF4-FFF2-40B4-BE49-F238E27FC236}">
                <a16:creationId xmlns:a16="http://schemas.microsoft.com/office/drawing/2014/main" id="{93F064C8-D34D-4443-9F73-6127084CC10D}"/>
              </a:ext>
            </a:extLst>
          </p:cNvPr>
          <p:cNvGrpSpPr>
            <a:grpSpLocks noChangeAspect="1"/>
          </p:cNvGrpSpPr>
          <p:nvPr>
            <p:custDataLst>
              <p:tags r:id="rId1"/>
            </p:custDataLst>
          </p:nvPr>
        </p:nvGrpSpPr>
        <p:grpSpPr>
          <a:xfrm>
            <a:off x="6676569" y="5281200"/>
            <a:ext cx="524349" cy="384045"/>
            <a:chOff x="2706768" y="1786019"/>
            <a:chExt cx="2542229" cy="1401681"/>
          </a:xfrm>
          <a:solidFill>
            <a:srgbClr val="ABC674"/>
          </a:solidFill>
        </p:grpSpPr>
        <p:sp>
          <p:nvSpPr>
            <p:cNvPr id="33" name="Freeform 47">
              <a:extLst>
                <a:ext uri="{FF2B5EF4-FFF2-40B4-BE49-F238E27FC236}">
                  <a16:creationId xmlns:a16="http://schemas.microsoft.com/office/drawing/2014/main" id="{6C2B4E55-9496-47CB-B652-B5E6A69A953E}"/>
                </a:ext>
              </a:extLst>
            </p:cNvPr>
            <p:cNvSpPr>
              <a:spLocks noEditPoints="1"/>
            </p:cNvSpPr>
            <p:nvPr/>
          </p:nvSpPr>
          <p:spPr bwMode="auto">
            <a:xfrm>
              <a:off x="2706768" y="1786019"/>
              <a:ext cx="2542229" cy="1401681"/>
            </a:xfrm>
            <a:custGeom>
              <a:avLst/>
              <a:gdLst>
                <a:gd name="T0" fmla="*/ 550 w 667"/>
                <a:gd name="T1" fmla="*/ 317 h 367"/>
                <a:gd name="T2" fmla="*/ 50 w 667"/>
                <a:gd name="T3" fmla="*/ 317 h 367"/>
                <a:gd name="T4" fmla="*/ 50 w 667"/>
                <a:gd name="T5" fmla="*/ 50 h 367"/>
                <a:gd name="T6" fmla="*/ 550 w 667"/>
                <a:gd name="T7" fmla="*/ 50 h 367"/>
                <a:gd name="T8" fmla="*/ 550 w 667"/>
                <a:gd name="T9" fmla="*/ 317 h 367"/>
                <a:gd name="T10" fmla="*/ 600 w 667"/>
                <a:gd name="T11" fmla="*/ 333 h 367"/>
                <a:gd name="T12" fmla="*/ 600 w 667"/>
                <a:gd name="T13" fmla="*/ 283 h 367"/>
                <a:gd name="T14" fmla="*/ 633 w 667"/>
                <a:gd name="T15" fmla="*/ 283 h 367"/>
                <a:gd name="T16" fmla="*/ 667 w 667"/>
                <a:gd name="T17" fmla="*/ 250 h 367"/>
                <a:gd name="T18" fmla="*/ 667 w 667"/>
                <a:gd name="T19" fmla="*/ 117 h 367"/>
                <a:gd name="T20" fmla="*/ 633 w 667"/>
                <a:gd name="T21" fmla="*/ 83 h 367"/>
                <a:gd name="T22" fmla="*/ 600 w 667"/>
                <a:gd name="T23" fmla="*/ 83 h 367"/>
                <a:gd name="T24" fmla="*/ 600 w 667"/>
                <a:gd name="T25" fmla="*/ 33 h 367"/>
                <a:gd name="T26" fmla="*/ 567 w 667"/>
                <a:gd name="T27" fmla="*/ 0 h 367"/>
                <a:gd name="T28" fmla="*/ 33 w 667"/>
                <a:gd name="T29" fmla="*/ 0 h 367"/>
                <a:gd name="T30" fmla="*/ 0 w 667"/>
                <a:gd name="T31" fmla="*/ 33 h 367"/>
                <a:gd name="T32" fmla="*/ 0 w 667"/>
                <a:gd name="T33" fmla="*/ 117 h 367"/>
                <a:gd name="T34" fmla="*/ 0 w 667"/>
                <a:gd name="T35" fmla="*/ 250 h 367"/>
                <a:gd name="T36" fmla="*/ 0 w 667"/>
                <a:gd name="T37" fmla="*/ 333 h 367"/>
                <a:gd name="T38" fmla="*/ 33 w 667"/>
                <a:gd name="T39" fmla="*/ 367 h 367"/>
                <a:gd name="T40" fmla="*/ 567 w 667"/>
                <a:gd name="T41" fmla="*/ 367 h 367"/>
                <a:gd name="T42" fmla="*/ 600 w 667"/>
                <a:gd name="T43" fmla="*/ 33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7" h="367">
                  <a:moveTo>
                    <a:pt x="550" y="317"/>
                  </a:moveTo>
                  <a:lnTo>
                    <a:pt x="50" y="317"/>
                  </a:lnTo>
                  <a:lnTo>
                    <a:pt x="50" y="50"/>
                  </a:lnTo>
                  <a:lnTo>
                    <a:pt x="550" y="50"/>
                  </a:lnTo>
                  <a:lnTo>
                    <a:pt x="550" y="317"/>
                  </a:lnTo>
                  <a:close/>
                  <a:moveTo>
                    <a:pt x="600" y="333"/>
                  </a:moveTo>
                  <a:lnTo>
                    <a:pt x="600" y="283"/>
                  </a:lnTo>
                  <a:lnTo>
                    <a:pt x="633" y="283"/>
                  </a:lnTo>
                  <a:cubicBezTo>
                    <a:pt x="652" y="283"/>
                    <a:pt x="667" y="268"/>
                    <a:pt x="667" y="250"/>
                  </a:cubicBezTo>
                  <a:lnTo>
                    <a:pt x="667" y="117"/>
                  </a:lnTo>
                  <a:cubicBezTo>
                    <a:pt x="667" y="98"/>
                    <a:pt x="652" y="83"/>
                    <a:pt x="633" y="83"/>
                  </a:cubicBezTo>
                  <a:lnTo>
                    <a:pt x="600" y="83"/>
                  </a:lnTo>
                  <a:lnTo>
                    <a:pt x="600" y="33"/>
                  </a:lnTo>
                  <a:cubicBezTo>
                    <a:pt x="600" y="15"/>
                    <a:pt x="585" y="0"/>
                    <a:pt x="567" y="0"/>
                  </a:cubicBezTo>
                  <a:lnTo>
                    <a:pt x="33" y="0"/>
                  </a:lnTo>
                  <a:cubicBezTo>
                    <a:pt x="15" y="0"/>
                    <a:pt x="0" y="15"/>
                    <a:pt x="0" y="33"/>
                  </a:cubicBezTo>
                  <a:lnTo>
                    <a:pt x="0" y="117"/>
                  </a:lnTo>
                  <a:lnTo>
                    <a:pt x="0" y="250"/>
                  </a:lnTo>
                  <a:lnTo>
                    <a:pt x="0" y="333"/>
                  </a:lnTo>
                  <a:cubicBezTo>
                    <a:pt x="0" y="352"/>
                    <a:pt x="15" y="367"/>
                    <a:pt x="33" y="367"/>
                  </a:cubicBezTo>
                  <a:lnTo>
                    <a:pt x="567" y="367"/>
                  </a:lnTo>
                  <a:cubicBezTo>
                    <a:pt x="585" y="367"/>
                    <a:pt x="600" y="352"/>
                    <a:pt x="600" y="333"/>
                  </a:cubicBez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en-US" sz="1807">
                <a:solidFill>
                  <a:prstClr val="black"/>
                </a:solidFill>
                <a:latin typeface="Calibri"/>
              </a:endParaRPr>
            </a:p>
          </p:txBody>
        </p:sp>
        <p:sp>
          <p:nvSpPr>
            <p:cNvPr id="34" name="Trapezoid 688">
              <a:extLst>
                <a:ext uri="{FF2B5EF4-FFF2-40B4-BE49-F238E27FC236}">
                  <a16:creationId xmlns:a16="http://schemas.microsoft.com/office/drawing/2014/main" id="{5BA57D80-947F-4EAB-B943-93E1E26BBFA8}"/>
                </a:ext>
              </a:extLst>
            </p:cNvPr>
            <p:cNvSpPr/>
            <p:nvPr/>
          </p:nvSpPr>
          <p:spPr>
            <a:xfrm>
              <a:off x="3012682" y="2081983"/>
              <a:ext cx="263918" cy="809752"/>
            </a:xfrm>
            <a:prstGeom prst="trapezoid">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9548"/>
              <a:endParaRPr lang="en-US" sz="1807">
                <a:solidFill>
                  <a:prstClr val="white"/>
                </a:solidFill>
              </a:endParaRPr>
            </a:p>
          </p:txBody>
        </p:sp>
        <p:sp>
          <p:nvSpPr>
            <p:cNvPr id="35" name="Parallelogram 689">
              <a:extLst>
                <a:ext uri="{FF2B5EF4-FFF2-40B4-BE49-F238E27FC236}">
                  <a16:creationId xmlns:a16="http://schemas.microsoft.com/office/drawing/2014/main" id="{E90DC5EE-0BF1-49D0-A200-FA6158094D07}"/>
                </a:ext>
              </a:extLst>
            </p:cNvPr>
            <p:cNvSpPr/>
            <p:nvPr/>
          </p:nvSpPr>
          <p:spPr>
            <a:xfrm flipV="1">
              <a:off x="3035300" y="2081983"/>
              <a:ext cx="584200" cy="809752"/>
            </a:xfrm>
            <a:prstGeom prst="parallelogram">
              <a:avLst>
                <a:gd name="adj" fmla="val 423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9548"/>
              <a:endParaRPr lang="en-US" sz="1807">
                <a:solidFill>
                  <a:prstClr val="white"/>
                </a:solidFill>
              </a:endParaRPr>
            </a:p>
          </p:txBody>
        </p:sp>
        <p:sp>
          <p:nvSpPr>
            <p:cNvPr id="36" name="Parallelogram 690">
              <a:extLst>
                <a:ext uri="{FF2B5EF4-FFF2-40B4-BE49-F238E27FC236}">
                  <a16:creationId xmlns:a16="http://schemas.microsoft.com/office/drawing/2014/main" id="{5C5CA6DF-E151-487B-98EB-07AF581D3EF3}"/>
                </a:ext>
              </a:extLst>
            </p:cNvPr>
            <p:cNvSpPr/>
            <p:nvPr/>
          </p:nvSpPr>
          <p:spPr>
            <a:xfrm flipV="1">
              <a:off x="3507148" y="2081983"/>
              <a:ext cx="584200" cy="809752"/>
            </a:xfrm>
            <a:prstGeom prst="parallelogram">
              <a:avLst>
                <a:gd name="adj" fmla="val 423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9548"/>
              <a:endParaRPr lang="en-US" sz="1807">
                <a:solidFill>
                  <a:prstClr val="white"/>
                </a:solidFill>
              </a:endParaRPr>
            </a:p>
          </p:txBody>
        </p:sp>
      </p:grpSp>
      <p:sp>
        <p:nvSpPr>
          <p:cNvPr id="37" name="Target2"/>
          <p:cNvSpPr>
            <a:spLocks noChangeAspect="1" noEditPoints="1"/>
          </p:cNvSpPr>
          <p:nvPr>
            <p:custDataLst>
              <p:tags r:id="rId2"/>
            </p:custDataLst>
          </p:nvPr>
        </p:nvSpPr>
        <p:spPr bwMode="auto">
          <a:xfrm>
            <a:off x="3595192" y="1431029"/>
            <a:ext cx="766192" cy="601761"/>
          </a:xfrm>
          <a:custGeom>
            <a:avLst/>
            <a:gdLst>
              <a:gd name="T0" fmla="*/ 297 w 980"/>
              <a:gd name="T1" fmla="*/ 214 h 713"/>
              <a:gd name="T2" fmla="*/ 620 w 980"/>
              <a:gd name="T3" fmla="*/ 51 h 713"/>
              <a:gd name="T4" fmla="*/ 620 w 980"/>
              <a:gd name="T5" fmla="*/ 663 h 713"/>
              <a:gd name="T6" fmla="*/ 329 w 980"/>
              <a:gd name="T7" fmla="*/ 260 h 713"/>
              <a:gd name="T8" fmla="*/ 267 w 980"/>
              <a:gd name="T9" fmla="*/ 356 h 713"/>
              <a:gd name="T10" fmla="*/ 980 w 980"/>
              <a:gd name="T11" fmla="*/ 356 h 713"/>
              <a:gd name="T12" fmla="*/ 22 w 980"/>
              <a:gd name="T13" fmla="*/ 76 h 713"/>
              <a:gd name="T14" fmla="*/ 0 w 980"/>
              <a:gd name="T15" fmla="*/ 142 h 713"/>
              <a:gd name="T16" fmla="*/ 94 w 980"/>
              <a:gd name="T17" fmla="*/ 164 h 713"/>
              <a:gd name="T18" fmla="*/ 593 w 980"/>
              <a:gd name="T19" fmla="*/ 357 h 713"/>
              <a:gd name="T20" fmla="*/ 587 w 980"/>
              <a:gd name="T21" fmla="*/ 394 h 713"/>
              <a:gd name="T22" fmla="*/ 617 w 980"/>
              <a:gd name="T23" fmla="*/ 291 h 713"/>
              <a:gd name="T24" fmla="*/ 603 w 980"/>
              <a:gd name="T25" fmla="*/ 334 h 713"/>
              <a:gd name="T26" fmla="*/ 107 w 980"/>
              <a:gd name="T27" fmla="*/ 142 h 713"/>
              <a:gd name="T28" fmla="*/ 22 w 980"/>
              <a:gd name="T29" fmla="*/ 76 h 713"/>
              <a:gd name="T30" fmla="*/ 379 w 980"/>
              <a:gd name="T31" fmla="*/ 246 h 713"/>
              <a:gd name="T32" fmla="*/ 620 w 980"/>
              <a:gd name="T33" fmla="*/ 144 h 713"/>
              <a:gd name="T34" fmla="*/ 620 w 980"/>
              <a:gd name="T35" fmla="*/ 569 h 713"/>
              <a:gd name="T36" fmla="*/ 417 w 980"/>
              <a:gd name="T37" fmla="*/ 291 h 713"/>
              <a:gd name="T38" fmla="*/ 355 w 980"/>
              <a:gd name="T39" fmla="*/ 356 h 713"/>
              <a:gd name="T40" fmla="*/ 885 w 980"/>
              <a:gd name="T41" fmla="*/ 356 h 713"/>
              <a:gd name="T42" fmla="*/ 620 w 980"/>
              <a:gd name="T43" fmla="*/ 181 h 713"/>
              <a:gd name="T44" fmla="*/ 512 w 980"/>
              <a:gd name="T45" fmla="*/ 298 h 713"/>
              <a:gd name="T46" fmla="*/ 743 w 980"/>
              <a:gd name="T47" fmla="*/ 356 h 713"/>
              <a:gd name="T48" fmla="*/ 497 w 980"/>
              <a:gd name="T49" fmla="*/ 356 h 713"/>
              <a:gd name="T50" fmla="*/ 452 w 980"/>
              <a:gd name="T51" fmla="*/ 305 h 713"/>
              <a:gd name="T52" fmla="*/ 620 w 980"/>
              <a:gd name="T53" fmla="*/ 532 h 713"/>
              <a:gd name="T54" fmla="*/ 620 w 980"/>
              <a:gd name="T55" fmla="*/ 181 h 713"/>
              <a:gd name="T56" fmla="*/ 548 w 980"/>
              <a:gd name="T57" fmla="*/ 310 h 713"/>
              <a:gd name="T58" fmla="*/ 615 w 980"/>
              <a:gd name="T59" fmla="*/ 287 h 713"/>
              <a:gd name="T60" fmla="*/ 618 w 980"/>
              <a:gd name="T61" fmla="*/ 286 h 713"/>
              <a:gd name="T62" fmla="*/ 663 w 980"/>
              <a:gd name="T63" fmla="*/ 357 h 713"/>
              <a:gd name="T64" fmla="*/ 585 w 980"/>
              <a:gd name="T65" fmla="*/ 399 h 713"/>
              <a:gd name="T66" fmla="*/ 583 w 980"/>
              <a:gd name="T67" fmla="*/ 397 h 713"/>
              <a:gd name="T68" fmla="*/ 537 w 980"/>
              <a:gd name="T69" fmla="*/ 338 h 713"/>
              <a:gd name="T70" fmla="*/ 620 w 980"/>
              <a:gd name="T71" fmla="*/ 442 h 713"/>
              <a:gd name="T72" fmla="*/ 620 w 980"/>
              <a:gd name="T73" fmla="*/ 27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0" h="713">
                <a:moveTo>
                  <a:pt x="624" y="0"/>
                </a:moveTo>
                <a:cubicBezTo>
                  <a:pt x="478" y="0"/>
                  <a:pt x="352" y="88"/>
                  <a:pt x="297" y="214"/>
                </a:cubicBezTo>
                <a:lnTo>
                  <a:pt x="341" y="231"/>
                </a:lnTo>
                <a:cubicBezTo>
                  <a:pt x="389" y="125"/>
                  <a:pt x="496" y="51"/>
                  <a:pt x="620" y="51"/>
                </a:cubicBezTo>
                <a:cubicBezTo>
                  <a:pt x="788" y="51"/>
                  <a:pt x="926" y="188"/>
                  <a:pt x="926" y="356"/>
                </a:cubicBezTo>
                <a:cubicBezTo>
                  <a:pt x="926" y="525"/>
                  <a:pt x="788" y="663"/>
                  <a:pt x="620" y="663"/>
                </a:cubicBezTo>
                <a:cubicBezTo>
                  <a:pt x="451" y="663"/>
                  <a:pt x="314" y="525"/>
                  <a:pt x="314" y="356"/>
                </a:cubicBezTo>
                <a:cubicBezTo>
                  <a:pt x="314" y="322"/>
                  <a:pt x="318" y="291"/>
                  <a:pt x="329" y="260"/>
                </a:cubicBezTo>
                <a:lnTo>
                  <a:pt x="286" y="243"/>
                </a:lnTo>
                <a:cubicBezTo>
                  <a:pt x="273" y="279"/>
                  <a:pt x="267" y="316"/>
                  <a:pt x="267" y="356"/>
                </a:cubicBezTo>
                <a:cubicBezTo>
                  <a:pt x="267" y="553"/>
                  <a:pt x="427" y="713"/>
                  <a:pt x="624" y="713"/>
                </a:cubicBezTo>
                <a:cubicBezTo>
                  <a:pt x="821" y="713"/>
                  <a:pt x="980" y="553"/>
                  <a:pt x="980" y="356"/>
                </a:cubicBezTo>
                <a:cubicBezTo>
                  <a:pt x="980" y="160"/>
                  <a:pt x="821" y="0"/>
                  <a:pt x="624" y="0"/>
                </a:cubicBezTo>
                <a:close/>
                <a:moveTo>
                  <a:pt x="22" y="76"/>
                </a:moveTo>
                <a:cubicBezTo>
                  <a:pt x="56" y="114"/>
                  <a:pt x="60" y="134"/>
                  <a:pt x="60" y="134"/>
                </a:cubicBezTo>
                <a:cubicBezTo>
                  <a:pt x="60" y="134"/>
                  <a:pt x="48" y="140"/>
                  <a:pt x="0" y="142"/>
                </a:cubicBezTo>
                <a:cubicBezTo>
                  <a:pt x="0" y="142"/>
                  <a:pt x="50" y="172"/>
                  <a:pt x="77" y="172"/>
                </a:cubicBezTo>
                <a:cubicBezTo>
                  <a:pt x="83" y="172"/>
                  <a:pt x="94" y="164"/>
                  <a:pt x="94" y="164"/>
                </a:cubicBezTo>
                <a:lnTo>
                  <a:pt x="591" y="356"/>
                </a:lnTo>
                <a:lnTo>
                  <a:pt x="593" y="357"/>
                </a:lnTo>
                <a:lnTo>
                  <a:pt x="598" y="359"/>
                </a:lnTo>
                <a:lnTo>
                  <a:pt x="587" y="394"/>
                </a:lnTo>
                <a:lnTo>
                  <a:pt x="658" y="356"/>
                </a:lnTo>
                <a:lnTo>
                  <a:pt x="617" y="291"/>
                </a:lnTo>
                <a:lnTo>
                  <a:pt x="603" y="333"/>
                </a:lnTo>
                <a:lnTo>
                  <a:pt x="603" y="334"/>
                </a:lnTo>
                <a:cubicBezTo>
                  <a:pt x="601" y="334"/>
                  <a:pt x="602" y="334"/>
                  <a:pt x="602" y="334"/>
                </a:cubicBezTo>
                <a:lnTo>
                  <a:pt x="107" y="142"/>
                </a:lnTo>
                <a:cubicBezTo>
                  <a:pt x="107" y="142"/>
                  <a:pt x="101" y="121"/>
                  <a:pt x="93" y="113"/>
                </a:cubicBezTo>
                <a:cubicBezTo>
                  <a:pt x="75" y="94"/>
                  <a:pt x="22" y="76"/>
                  <a:pt x="22" y="76"/>
                </a:cubicBezTo>
                <a:close/>
                <a:moveTo>
                  <a:pt x="620" y="92"/>
                </a:moveTo>
                <a:cubicBezTo>
                  <a:pt x="513" y="92"/>
                  <a:pt x="421" y="155"/>
                  <a:pt x="379" y="246"/>
                </a:cubicBezTo>
                <a:lnTo>
                  <a:pt x="428" y="265"/>
                </a:lnTo>
                <a:cubicBezTo>
                  <a:pt x="462" y="194"/>
                  <a:pt x="535" y="144"/>
                  <a:pt x="620" y="144"/>
                </a:cubicBezTo>
                <a:cubicBezTo>
                  <a:pt x="737" y="144"/>
                  <a:pt x="832" y="239"/>
                  <a:pt x="832" y="356"/>
                </a:cubicBezTo>
                <a:cubicBezTo>
                  <a:pt x="832" y="474"/>
                  <a:pt x="737" y="569"/>
                  <a:pt x="620" y="569"/>
                </a:cubicBezTo>
                <a:cubicBezTo>
                  <a:pt x="503" y="569"/>
                  <a:pt x="407" y="474"/>
                  <a:pt x="407" y="356"/>
                </a:cubicBezTo>
                <a:cubicBezTo>
                  <a:pt x="407" y="333"/>
                  <a:pt x="410" y="312"/>
                  <a:pt x="417" y="291"/>
                </a:cubicBezTo>
                <a:lnTo>
                  <a:pt x="369" y="273"/>
                </a:lnTo>
                <a:cubicBezTo>
                  <a:pt x="360" y="300"/>
                  <a:pt x="355" y="327"/>
                  <a:pt x="355" y="356"/>
                </a:cubicBezTo>
                <a:cubicBezTo>
                  <a:pt x="355" y="503"/>
                  <a:pt x="474" y="621"/>
                  <a:pt x="620" y="621"/>
                </a:cubicBezTo>
                <a:cubicBezTo>
                  <a:pt x="766" y="621"/>
                  <a:pt x="885" y="503"/>
                  <a:pt x="885" y="356"/>
                </a:cubicBezTo>
                <a:cubicBezTo>
                  <a:pt x="885" y="210"/>
                  <a:pt x="766" y="92"/>
                  <a:pt x="620" y="92"/>
                </a:cubicBezTo>
                <a:close/>
                <a:moveTo>
                  <a:pt x="620" y="181"/>
                </a:moveTo>
                <a:cubicBezTo>
                  <a:pt x="551" y="181"/>
                  <a:pt x="492" y="221"/>
                  <a:pt x="463" y="278"/>
                </a:cubicBezTo>
                <a:lnTo>
                  <a:pt x="512" y="298"/>
                </a:lnTo>
                <a:cubicBezTo>
                  <a:pt x="533" y="260"/>
                  <a:pt x="573" y="234"/>
                  <a:pt x="620" y="234"/>
                </a:cubicBezTo>
                <a:cubicBezTo>
                  <a:pt x="687" y="234"/>
                  <a:pt x="743" y="289"/>
                  <a:pt x="743" y="356"/>
                </a:cubicBezTo>
                <a:cubicBezTo>
                  <a:pt x="743" y="424"/>
                  <a:pt x="687" y="479"/>
                  <a:pt x="620" y="479"/>
                </a:cubicBezTo>
                <a:cubicBezTo>
                  <a:pt x="552" y="479"/>
                  <a:pt x="497" y="424"/>
                  <a:pt x="497" y="356"/>
                </a:cubicBezTo>
                <a:cubicBezTo>
                  <a:pt x="497" y="345"/>
                  <a:pt x="498" y="335"/>
                  <a:pt x="501" y="324"/>
                </a:cubicBezTo>
                <a:lnTo>
                  <a:pt x="452" y="305"/>
                </a:lnTo>
                <a:cubicBezTo>
                  <a:pt x="447" y="322"/>
                  <a:pt x="444" y="338"/>
                  <a:pt x="444" y="356"/>
                </a:cubicBezTo>
                <a:cubicBezTo>
                  <a:pt x="444" y="453"/>
                  <a:pt x="523" y="532"/>
                  <a:pt x="620" y="532"/>
                </a:cubicBezTo>
                <a:cubicBezTo>
                  <a:pt x="716" y="532"/>
                  <a:pt x="795" y="453"/>
                  <a:pt x="795" y="356"/>
                </a:cubicBezTo>
                <a:cubicBezTo>
                  <a:pt x="795" y="260"/>
                  <a:pt x="716" y="181"/>
                  <a:pt x="620" y="181"/>
                </a:cubicBezTo>
                <a:close/>
                <a:moveTo>
                  <a:pt x="620" y="271"/>
                </a:moveTo>
                <a:cubicBezTo>
                  <a:pt x="590" y="271"/>
                  <a:pt x="564" y="287"/>
                  <a:pt x="548" y="310"/>
                </a:cubicBezTo>
                <a:lnTo>
                  <a:pt x="600" y="330"/>
                </a:lnTo>
                <a:lnTo>
                  <a:pt x="615" y="287"/>
                </a:lnTo>
                <a:lnTo>
                  <a:pt x="616" y="283"/>
                </a:lnTo>
                <a:lnTo>
                  <a:pt x="618" y="286"/>
                </a:lnTo>
                <a:lnTo>
                  <a:pt x="662" y="356"/>
                </a:lnTo>
                <a:lnTo>
                  <a:pt x="663" y="357"/>
                </a:lnTo>
                <a:lnTo>
                  <a:pt x="662" y="358"/>
                </a:lnTo>
                <a:lnTo>
                  <a:pt x="585" y="399"/>
                </a:lnTo>
                <a:lnTo>
                  <a:pt x="581" y="401"/>
                </a:lnTo>
                <a:lnTo>
                  <a:pt x="583" y="397"/>
                </a:lnTo>
                <a:lnTo>
                  <a:pt x="594" y="360"/>
                </a:lnTo>
                <a:lnTo>
                  <a:pt x="537" y="338"/>
                </a:lnTo>
                <a:cubicBezTo>
                  <a:pt x="535" y="344"/>
                  <a:pt x="535" y="350"/>
                  <a:pt x="535" y="356"/>
                </a:cubicBezTo>
                <a:cubicBezTo>
                  <a:pt x="535" y="403"/>
                  <a:pt x="573" y="442"/>
                  <a:pt x="620" y="442"/>
                </a:cubicBezTo>
                <a:cubicBezTo>
                  <a:pt x="667" y="442"/>
                  <a:pt x="705" y="403"/>
                  <a:pt x="705" y="356"/>
                </a:cubicBezTo>
                <a:cubicBezTo>
                  <a:pt x="705" y="309"/>
                  <a:pt x="667" y="271"/>
                  <a:pt x="620" y="271"/>
                </a:cubicBezTo>
                <a:close/>
              </a:path>
            </a:pathLst>
          </a:custGeom>
          <a:solidFill>
            <a:srgbClr val="1F497D"/>
          </a:solidFill>
          <a:ln w="0">
            <a:noFill/>
            <a:prstDash val="solid"/>
            <a:round/>
            <a:headEnd/>
            <a:tailEnd/>
          </a:ln>
        </p:spPr>
        <p:txBody>
          <a:bodyPr vert="horz" wrap="square" lIns="76957" tIns="38479" rIns="76957" bIns="38479" numCol="1" anchor="t" anchorCtr="0" compatLnSpc="1">
            <a:prstTxWarp prst="textNoShape">
              <a:avLst/>
            </a:prstTxWarp>
          </a:bodyPr>
          <a:lstStyle/>
          <a:p>
            <a:pPr defTabSz="769548"/>
            <a:endParaRPr lang="fr-FR" sz="1807">
              <a:solidFill>
                <a:prstClr val="black"/>
              </a:solidFill>
              <a:latin typeface="Calibri"/>
            </a:endParaRPr>
          </a:p>
        </p:txBody>
      </p:sp>
      <p:sp>
        <p:nvSpPr>
          <p:cNvPr id="38" name="Crowdsourcing"/>
          <p:cNvSpPr>
            <a:spLocks noChangeAspect="1" noEditPoints="1"/>
          </p:cNvSpPr>
          <p:nvPr>
            <p:custDataLst>
              <p:tags r:id="rId3"/>
            </p:custDataLst>
          </p:nvPr>
        </p:nvSpPr>
        <p:spPr bwMode="auto">
          <a:xfrm>
            <a:off x="7288912" y="1329015"/>
            <a:ext cx="758542" cy="771512"/>
          </a:xfrm>
          <a:custGeom>
            <a:avLst/>
            <a:gdLst>
              <a:gd name="T0" fmla="*/ 1078 w 1250"/>
              <a:gd name="T1" fmla="*/ 608 h 1250"/>
              <a:gd name="T2" fmla="*/ 882 w 1250"/>
              <a:gd name="T3" fmla="*/ 392 h 1250"/>
              <a:gd name="T4" fmla="*/ 1007 w 1250"/>
              <a:gd name="T5" fmla="*/ 330 h 1250"/>
              <a:gd name="T6" fmla="*/ 1007 w 1250"/>
              <a:gd name="T7" fmla="*/ 156 h 1250"/>
              <a:gd name="T8" fmla="*/ 935 w 1250"/>
              <a:gd name="T9" fmla="*/ 291 h 1250"/>
              <a:gd name="T10" fmla="*/ 642 w 1250"/>
              <a:gd name="T11" fmla="*/ 279 h 1250"/>
              <a:gd name="T12" fmla="*/ 712 w 1250"/>
              <a:gd name="T13" fmla="*/ 87 h 1250"/>
              <a:gd name="T14" fmla="*/ 538 w 1250"/>
              <a:gd name="T15" fmla="*/ 87 h 1250"/>
              <a:gd name="T16" fmla="*/ 608 w 1250"/>
              <a:gd name="T17" fmla="*/ 279 h 1250"/>
              <a:gd name="T18" fmla="*/ 315 w 1250"/>
              <a:gd name="T19" fmla="*/ 291 h 1250"/>
              <a:gd name="T20" fmla="*/ 243 w 1250"/>
              <a:gd name="T21" fmla="*/ 156 h 1250"/>
              <a:gd name="T22" fmla="*/ 243 w 1250"/>
              <a:gd name="T23" fmla="*/ 330 h 1250"/>
              <a:gd name="T24" fmla="*/ 368 w 1250"/>
              <a:gd name="T25" fmla="*/ 392 h 1250"/>
              <a:gd name="T26" fmla="*/ 172 w 1250"/>
              <a:gd name="T27" fmla="*/ 608 h 1250"/>
              <a:gd name="T28" fmla="*/ 0 w 1250"/>
              <a:gd name="T29" fmla="*/ 625 h 1250"/>
              <a:gd name="T30" fmla="*/ 172 w 1250"/>
              <a:gd name="T31" fmla="*/ 642 h 1250"/>
              <a:gd name="T32" fmla="*/ 368 w 1250"/>
              <a:gd name="T33" fmla="*/ 858 h 1250"/>
              <a:gd name="T34" fmla="*/ 243 w 1250"/>
              <a:gd name="T35" fmla="*/ 920 h 1250"/>
              <a:gd name="T36" fmla="*/ 243 w 1250"/>
              <a:gd name="T37" fmla="*/ 1094 h 1250"/>
              <a:gd name="T38" fmla="*/ 315 w 1250"/>
              <a:gd name="T39" fmla="*/ 959 h 1250"/>
              <a:gd name="T40" fmla="*/ 608 w 1250"/>
              <a:gd name="T41" fmla="*/ 971 h 1250"/>
              <a:gd name="T42" fmla="*/ 538 w 1250"/>
              <a:gd name="T43" fmla="*/ 1163 h 1250"/>
              <a:gd name="T44" fmla="*/ 712 w 1250"/>
              <a:gd name="T45" fmla="*/ 1163 h 1250"/>
              <a:gd name="T46" fmla="*/ 642 w 1250"/>
              <a:gd name="T47" fmla="*/ 971 h 1250"/>
              <a:gd name="T48" fmla="*/ 935 w 1250"/>
              <a:gd name="T49" fmla="*/ 959 h 1250"/>
              <a:gd name="T50" fmla="*/ 1007 w 1250"/>
              <a:gd name="T51" fmla="*/ 1094 h 1250"/>
              <a:gd name="T52" fmla="*/ 1007 w 1250"/>
              <a:gd name="T53" fmla="*/ 920 h 1250"/>
              <a:gd name="T54" fmla="*/ 882 w 1250"/>
              <a:gd name="T55" fmla="*/ 858 h 1250"/>
              <a:gd name="T56" fmla="*/ 1078 w 1250"/>
              <a:gd name="T57" fmla="*/ 642 h 1250"/>
              <a:gd name="T58" fmla="*/ 1250 w 1250"/>
              <a:gd name="T59" fmla="*/ 625 h 1250"/>
              <a:gd name="T60" fmla="*/ 1007 w 1250"/>
              <a:gd name="T61" fmla="*/ 191 h 1250"/>
              <a:gd name="T62" fmla="*/ 1007 w 1250"/>
              <a:gd name="T63" fmla="*/ 295 h 1250"/>
              <a:gd name="T64" fmla="*/ 1007 w 1250"/>
              <a:gd name="T65" fmla="*/ 191 h 1250"/>
              <a:gd name="T66" fmla="*/ 191 w 1250"/>
              <a:gd name="T67" fmla="*/ 243 h 1250"/>
              <a:gd name="T68" fmla="*/ 295 w 1250"/>
              <a:gd name="T69" fmla="*/ 243 h 1250"/>
              <a:gd name="T70" fmla="*/ 87 w 1250"/>
              <a:gd name="T71" fmla="*/ 677 h 1250"/>
              <a:gd name="T72" fmla="*/ 87 w 1250"/>
              <a:gd name="T73" fmla="*/ 573 h 1250"/>
              <a:gd name="T74" fmla="*/ 87 w 1250"/>
              <a:gd name="T75" fmla="*/ 677 h 1250"/>
              <a:gd name="T76" fmla="*/ 191 w 1250"/>
              <a:gd name="T77" fmla="*/ 1007 h 1250"/>
              <a:gd name="T78" fmla="*/ 295 w 1250"/>
              <a:gd name="T79" fmla="*/ 1007 h 1250"/>
              <a:gd name="T80" fmla="*/ 573 w 1250"/>
              <a:gd name="T81" fmla="*/ 87 h 1250"/>
              <a:gd name="T82" fmla="*/ 677 w 1250"/>
              <a:gd name="T83" fmla="*/ 87 h 1250"/>
              <a:gd name="T84" fmla="*/ 573 w 1250"/>
              <a:gd name="T85" fmla="*/ 87 h 1250"/>
              <a:gd name="T86" fmla="*/ 625 w 1250"/>
              <a:gd name="T87" fmla="*/ 1215 h 1250"/>
              <a:gd name="T88" fmla="*/ 625 w 1250"/>
              <a:gd name="T89" fmla="*/ 1111 h 1250"/>
              <a:gd name="T90" fmla="*/ 660 w 1250"/>
              <a:gd name="T91" fmla="*/ 868 h 1250"/>
              <a:gd name="T92" fmla="*/ 590 w 1250"/>
              <a:gd name="T93" fmla="*/ 799 h 1250"/>
              <a:gd name="T94" fmla="*/ 660 w 1250"/>
              <a:gd name="T95" fmla="*/ 868 h 1250"/>
              <a:gd name="T96" fmla="*/ 660 w 1250"/>
              <a:gd name="T97" fmla="*/ 747 h 1250"/>
              <a:gd name="T98" fmla="*/ 668 w 1250"/>
              <a:gd name="T99" fmla="*/ 606 h 1250"/>
              <a:gd name="T100" fmla="*/ 625 w 1250"/>
              <a:gd name="T101" fmla="*/ 451 h 1250"/>
              <a:gd name="T102" fmla="*/ 469 w 1250"/>
              <a:gd name="T103" fmla="*/ 538 h 1250"/>
              <a:gd name="T104" fmla="*/ 781 w 1250"/>
              <a:gd name="T105" fmla="*/ 538 h 1250"/>
              <a:gd name="T106" fmla="*/ 1007 w 1250"/>
              <a:gd name="T107" fmla="*/ 955 h 1250"/>
              <a:gd name="T108" fmla="*/ 1007 w 1250"/>
              <a:gd name="T109" fmla="*/ 1059 h 1250"/>
              <a:gd name="T110" fmla="*/ 1007 w 1250"/>
              <a:gd name="T111" fmla="*/ 955 h 1250"/>
              <a:gd name="T112" fmla="*/ 1111 w 1250"/>
              <a:gd name="T113" fmla="*/ 625 h 1250"/>
              <a:gd name="T114" fmla="*/ 1215 w 1250"/>
              <a:gd name="T115"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0" h="1250">
                <a:moveTo>
                  <a:pt x="1163" y="538"/>
                </a:moveTo>
                <a:cubicBezTo>
                  <a:pt x="1121" y="538"/>
                  <a:pt x="1086" y="568"/>
                  <a:pt x="1078" y="608"/>
                </a:cubicBezTo>
                <a:lnTo>
                  <a:pt x="971" y="608"/>
                </a:lnTo>
                <a:cubicBezTo>
                  <a:pt x="967" y="525"/>
                  <a:pt x="934" y="450"/>
                  <a:pt x="882" y="392"/>
                </a:cubicBezTo>
                <a:lnTo>
                  <a:pt x="959" y="315"/>
                </a:lnTo>
                <a:cubicBezTo>
                  <a:pt x="973" y="325"/>
                  <a:pt x="989" y="330"/>
                  <a:pt x="1007" y="330"/>
                </a:cubicBezTo>
                <a:cubicBezTo>
                  <a:pt x="1055" y="330"/>
                  <a:pt x="1094" y="291"/>
                  <a:pt x="1094" y="243"/>
                </a:cubicBezTo>
                <a:cubicBezTo>
                  <a:pt x="1094" y="195"/>
                  <a:pt x="1055" y="156"/>
                  <a:pt x="1007" y="156"/>
                </a:cubicBezTo>
                <a:cubicBezTo>
                  <a:pt x="959" y="156"/>
                  <a:pt x="920" y="195"/>
                  <a:pt x="920" y="243"/>
                </a:cubicBezTo>
                <a:cubicBezTo>
                  <a:pt x="920" y="261"/>
                  <a:pt x="926" y="277"/>
                  <a:pt x="935" y="291"/>
                </a:cubicBezTo>
                <a:lnTo>
                  <a:pt x="858" y="368"/>
                </a:lnTo>
                <a:cubicBezTo>
                  <a:pt x="800" y="316"/>
                  <a:pt x="725" y="283"/>
                  <a:pt x="642" y="279"/>
                </a:cubicBezTo>
                <a:lnTo>
                  <a:pt x="642" y="172"/>
                </a:lnTo>
                <a:cubicBezTo>
                  <a:pt x="682" y="164"/>
                  <a:pt x="712" y="129"/>
                  <a:pt x="712" y="87"/>
                </a:cubicBezTo>
                <a:cubicBezTo>
                  <a:pt x="712" y="39"/>
                  <a:pt x="673" y="0"/>
                  <a:pt x="625" y="0"/>
                </a:cubicBezTo>
                <a:cubicBezTo>
                  <a:pt x="577" y="0"/>
                  <a:pt x="538" y="39"/>
                  <a:pt x="538" y="87"/>
                </a:cubicBezTo>
                <a:cubicBezTo>
                  <a:pt x="538" y="129"/>
                  <a:pt x="568" y="164"/>
                  <a:pt x="608" y="172"/>
                </a:cubicBezTo>
                <a:lnTo>
                  <a:pt x="608" y="279"/>
                </a:lnTo>
                <a:cubicBezTo>
                  <a:pt x="525" y="283"/>
                  <a:pt x="450" y="316"/>
                  <a:pt x="392" y="368"/>
                </a:cubicBezTo>
                <a:lnTo>
                  <a:pt x="315" y="291"/>
                </a:lnTo>
                <a:cubicBezTo>
                  <a:pt x="325" y="277"/>
                  <a:pt x="330" y="261"/>
                  <a:pt x="330" y="243"/>
                </a:cubicBezTo>
                <a:cubicBezTo>
                  <a:pt x="330" y="195"/>
                  <a:pt x="291" y="156"/>
                  <a:pt x="243" y="156"/>
                </a:cubicBezTo>
                <a:cubicBezTo>
                  <a:pt x="195" y="156"/>
                  <a:pt x="156" y="195"/>
                  <a:pt x="156" y="243"/>
                </a:cubicBezTo>
                <a:cubicBezTo>
                  <a:pt x="156" y="291"/>
                  <a:pt x="195" y="330"/>
                  <a:pt x="243" y="330"/>
                </a:cubicBezTo>
                <a:cubicBezTo>
                  <a:pt x="261" y="330"/>
                  <a:pt x="277" y="324"/>
                  <a:pt x="291" y="315"/>
                </a:cubicBezTo>
                <a:lnTo>
                  <a:pt x="368" y="392"/>
                </a:lnTo>
                <a:cubicBezTo>
                  <a:pt x="316" y="450"/>
                  <a:pt x="283" y="525"/>
                  <a:pt x="279" y="608"/>
                </a:cubicBezTo>
                <a:lnTo>
                  <a:pt x="172" y="608"/>
                </a:lnTo>
                <a:cubicBezTo>
                  <a:pt x="164" y="568"/>
                  <a:pt x="129" y="538"/>
                  <a:pt x="87" y="538"/>
                </a:cubicBezTo>
                <a:cubicBezTo>
                  <a:pt x="39" y="538"/>
                  <a:pt x="0" y="577"/>
                  <a:pt x="0" y="625"/>
                </a:cubicBezTo>
                <a:cubicBezTo>
                  <a:pt x="0" y="673"/>
                  <a:pt x="39" y="712"/>
                  <a:pt x="87" y="712"/>
                </a:cubicBezTo>
                <a:cubicBezTo>
                  <a:pt x="129" y="712"/>
                  <a:pt x="164" y="682"/>
                  <a:pt x="172" y="642"/>
                </a:cubicBezTo>
                <a:lnTo>
                  <a:pt x="279" y="642"/>
                </a:lnTo>
                <a:cubicBezTo>
                  <a:pt x="283" y="725"/>
                  <a:pt x="316" y="800"/>
                  <a:pt x="368" y="858"/>
                </a:cubicBezTo>
                <a:lnTo>
                  <a:pt x="291" y="935"/>
                </a:lnTo>
                <a:cubicBezTo>
                  <a:pt x="277" y="925"/>
                  <a:pt x="261" y="920"/>
                  <a:pt x="243" y="920"/>
                </a:cubicBezTo>
                <a:cubicBezTo>
                  <a:pt x="195" y="920"/>
                  <a:pt x="156" y="959"/>
                  <a:pt x="156" y="1007"/>
                </a:cubicBezTo>
                <a:cubicBezTo>
                  <a:pt x="156" y="1055"/>
                  <a:pt x="195" y="1094"/>
                  <a:pt x="243" y="1094"/>
                </a:cubicBezTo>
                <a:cubicBezTo>
                  <a:pt x="291" y="1094"/>
                  <a:pt x="330" y="1055"/>
                  <a:pt x="330" y="1007"/>
                </a:cubicBezTo>
                <a:cubicBezTo>
                  <a:pt x="330" y="989"/>
                  <a:pt x="324" y="973"/>
                  <a:pt x="315" y="959"/>
                </a:cubicBezTo>
                <a:lnTo>
                  <a:pt x="392" y="882"/>
                </a:lnTo>
                <a:cubicBezTo>
                  <a:pt x="450" y="934"/>
                  <a:pt x="525" y="967"/>
                  <a:pt x="608" y="971"/>
                </a:cubicBezTo>
                <a:lnTo>
                  <a:pt x="608" y="1078"/>
                </a:lnTo>
                <a:cubicBezTo>
                  <a:pt x="568" y="1086"/>
                  <a:pt x="538" y="1121"/>
                  <a:pt x="538" y="1163"/>
                </a:cubicBezTo>
                <a:cubicBezTo>
                  <a:pt x="538" y="1211"/>
                  <a:pt x="577" y="1250"/>
                  <a:pt x="625" y="1250"/>
                </a:cubicBezTo>
                <a:cubicBezTo>
                  <a:pt x="673" y="1250"/>
                  <a:pt x="712" y="1211"/>
                  <a:pt x="712" y="1163"/>
                </a:cubicBezTo>
                <a:cubicBezTo>
                  <a:pt x="712" y="1121"/>
                  <a:pt x="682" y="1086"/>
                  <a:pt x="642" y="1078"/>
                </a:cubicBezTo>
                <a:lnTo>
                  <a:pt x="642" y="971"/>
                </a:lnTo>
                <a:cubicBezTo>
                  <a:pt x="725" y="967"/>
                  <a:pt x="800" y="934"/>
                  <a:pt x="858" y="882"/>
                </a:cubicBezTo>
                <a:lnTo>
                  <a:pt x="935" y="959"/>
                </a:lnTo>
                <a:cubicBezTo>
                  <a:pt x="925" y="973"/>
                  <a:pt x="920" y="989"/>
                  <a:pt x="920" y="1007"/>
                </a:cubicBezTo>
                <a:cubicBezTo>
                  <a:pt x="920" y="1055"/>
                  <a:pt x="959" y="1094"/>
                  <a:pt x="1007" y="1094"/>
                </a:cubicBezTo>
                <a:cubicBezTo>
                  <a:pt x="1055" y="1094"/>
                  <a:pt x="1094" y="1055"/>
                  <a:pt x="1094" y="1007"/>
                </a:cubicBezTo>
                <a:cubicBezTo>
                  <a:pt x="1094" y="959"/>
                  <a:pt x="1055" y="920"/>
                  <a:pt x="1007" y="920"/>
                </a:cubicBezTo>
                <a:cubicBezTo>
                  <a:pt x="989" y="920"/>
                  <a:pt x="973" y="926"/>
                  <a:pt x="959" y="935"/>
                </a:cubicBezTo>
                <a:lnTo>
                  <a:pt x="882" y="858"/>
                </a:lnTo>
                <a:cubicBezTo>
                  <a:pt x="934" y="800"/>
                  <a:pt x="967" y="725"/>
                  <a:pt x="971" y="642"/>
                </a:cubicBezTo>
                <a:lnTo>
                  <a:pt x="1078" y="642"/>
                </a:lnTo>
                <a:cubicBezTo>
                  <a:pt x="1086" y="682"/>
                  <a:pt x="1121" y="712"/>
                  <a:pt x="1163" y="712"/>
                </a:cubicBezTo>
                <a:cubicBezTo>
                  <a:pt x="1211" y="712"/>
                  <a:pt x="1250" y="673"/>
                  <a:pt x="1250" y="625"/>
                </a:cubicBezTo>
                <a:cubicBezTo>
                  <a:pt x="1250" y="577"/>
                  <a:pt x="1211" y="538"/>
                  <a:pt x="1163" y="538"/>
                </a:cubicBezTo>
                <a:close/>
                <a:moveTo>
                  <a:pt x="1007" y="191"/>
                </a:moveTo>
                <a:cubicBezTo>
                  <a:pt x="1036" y="191"/>
                  <a:pt x="1059" y="214"/>
                  <a:pt x="1059" y="243"/>
                </a:cubicBezTo>
                <a:cubicBezTo>
                  <a:pt x="1059" y="272"/>
                  <a:pt x="1036" y="295"/>
                  <a:pt x="1007" y="295"/>
                </a:cubicBezTo>
                <a:cubicBezTo>
                  <a:pt x="978" y="295"/>
                  <a:pt x="955" y="272"/>
                  <a:pt x="955" y="243"/>
                </a:cubicBezTo>
                <a:cubicBezTo>
                  <a:pt x="955" y="214"/>
                  <a:pt x="978" y="191"/>
                  <a:pt x="1007" y="191"/>
                </a:cubicBezTo>
                <a:close/>
                <a:moveTo>
                  <a:pt x="243" y="295"/>
                </a:moveTo>
                <a:cubicBezTo>
                  <a:pt x="214" y="295"/>
                  <a:pt x="191" y="272"/>
                  <a:pt x="191" y="243"/>
                </a:cubicBezTo>
                <a:cubicBezTo>
                  <a:pt x="191" y="214"/>
                  <a:pt x="214" y="191"/>
                  <a:pt x="243" y="191"/>
                </a:cubicBezTo>
                <a:cubicBezTo>
                  <a:pt x="272" y="191"/>
                  <a:pt x="295" y="214"/>
                  <a:pt x="295" y="243"/>
                </a:cubicBezTo>
                <a:cubicBezTo>
                  <a:pt x="295" y="272"/>
                  <a:pt x="272" y="295"/>
                  <a:pt x="243" y="295"/>
                </a:cubicBezTo>
                <a:close/>
                <a:moveTo>
                  <a:pt x="87" y="677"/>
                </a:moveTo>
                <a:cubicBezTo>
                  <a:pt x="58" y="677"/>
                  <a:pt x="35" y="654"/>
                  <a:pt x="35" y="625"/>
                </a:cubicBezTo>
                <a:cubicBezTo>
                  <a:pt x="35" y="596"/>
                  <a:pt x="58" y="573"/>
                  <a:pt x="87" y="573"/>
                </a:cubicBezTo>
                <a:cubicBezTo>
                  <a:pt x="116" y="573"/>
                  <a:pt x="139" y="596"/>
                  <a:pt x="139" y="625"/>
                </a:cubicBezTo>
                <a:cubicBezTo>
                  <a:pt x="139" y="654"/>
                  <a:pt x="116" y="677"/>
                  <a:pt x="87" y="677"/>
                </a:cubicBezTo>
                <a:close/>
                <a:moveTo>
                  <a:pt x="243" y="1059"/>
                </a:moveTo>
                <a:cubicBezTo>
                  <a:pt x="214" y="1059"/>
                  <a:pt x="191" y="1036"/>
                  <a:pt x="191" y="1007"/>
                </a:cubicBezTo>
                <a:cubicBezTo>
                  <a:pt x="191" y="978"/>
                  <a:pt x="214" y="955"/>
                  <a:pt x="243" y="955"/>
                </a:cubicBezTo>
                <a:cubicBezTo>
                  <a:pt x="272" y="955"/>
                  <a:pt x="295" y="978"/>
                  <a:pt x="295" y="1007"/>
                </a:cubicBezTo>
                <a:cubicBezTo>
                  <a:pt x="295" y="1036"/>
                  <a:pt x="272" y="1059"/>
                  <a:pt x="243" y="1059"/>
                </a:cubicBezTo>
                <a:close/>
                <a:moveTo>
                  <a:pt x="573" y="87"/>
                </a:moveTo>
                <a:cubicBezTo>
                  <a:pt x="573" y="58"/>
                  <a:pt x="596" y="35"/>
                  <a:pt x="625" y="35"/>
                </a:cubicBezTo>
                <a:cubicBezTo>
                  <a:pt x="654" y="35"/>
                  <a:pt x="677" y="58"/>
                  <a:pt x="677" y="87"/>
                </a:cubicBezTo>
                <a:cubicBezTo>
                  <a:pt x="677" y="116"/>
                  <a:pt x="654" y="139"/>
                  <a:pt x="625" y="139"/>
                </a:cubicBezTo>
                <a:cubicBezTo>
                  <a:pt x="596" y="139"/>
                  <a:pt x="573" y="116"/>
                  <a:pt x="573" y="87"/>
                </a:cubicBezTo>
                <a:close/>
                <a:moveTo>
                  <a:pt x="677" y="1163"/>
                </a:moveTo>
                <a:cubicBezTo>
                  <a:pt x="677" y="1192"/>
                  <a:pt x="654" y="1215"/>
                  <a:pt x="625" y="1215"/>
                </a:cubicBezTo>
                <a:cubicBezTo>
                  <a:pt x="596" y="1215"/>
                  <a:pt x="573" y="1192"/>
                  <a:pt x="573" y="1163"/>
                </a:cubicBezTo>
                <a:cubicBezTo>
                  <a:pt x="573" y="1134"/>
                  <a:pt x="596" y="1111"/>
                  <a:pt x="625" y="1111"/>
                </a:cubicBezTo>
                <a:cubicBezTo>
                  <a:pt x="654" y="1111"/>
                  <a:pt x="677" y="1134"/>
                  <a:pt x="677" y="1163"/>
                </a:cubicBezTo>
                <a:close/>
                <a:moveTo>
                  <a:pt x="660" y="868"/>
                </a:moveTo>
                <a:lnTo>
                  <a:pt x="590" y="868"/>
                </a:lnTo>
                <a:lnTo>
                  <a:pt x="590" y="799"/>
                </a:lnTo>
                <a:lnTo>
                  <a:pt x="660" y="799"/>
                </a:lnTo>
                <a:lnTo>
                  <a:pt x="660" y="868"/>
                </a:lnTo>
                <a:close/>
                <a:moveTo>
                  <a:pt x="711" y="660"/>
                </a:moveTo>
                <a:cubicBezTo>
                  <a:pt x="681" y="684"/>
                  <a:pt x="660" y="700"/>
                  <a:pt x="660" y="747"/>
                </a:cubicBezTo>
                <a:lnTo>
                  <a:pt x="590" y="747"/>
                </a:lnTo>
                <a:cubicBezTo>
                  <a:pt x="590" y="667"/>
                  <a:pt x="635" y="631"/>
                  <a:pt x="668" y="606"/>
                </a:cubicBezTo>
                <a:cubicBezTo>
                  <a:pt x="698" y="583"/>
                  <a:pt x="712" y="570"/>
                  <a:pt x="712" y="538"/>
                </a:cubicBezTo>
                <a:cubicBezTo>
                  <a:pt x="712" y="477"/>
                  <a:pt x="686" y="451"/>
                  <a:pt x="625" y="451"/>
                </a:cubicBezTo>
                <a:cubicBezTo>
                  <a:pt x="564" y="451"/>
                  <a:pt x="538" y="477"/>
                  <a:pt x="538" y="538"/>
                </a:cubicBezTo>
                <a:lnTo>
                  <a:pt x="469" y="538"/>
                </a:lnTo>
                <a:cubicBezTo>
                  <a:pt x="469" y="439"/>
                  <a:pt x="526" y="382"/>
                  <a:pt x="625" y="382"/>
                </a:cubicBezTo>
                <a:cubicBezTo>
                  <a:pt x="724" y="382"/>
                  <a:pt x="781" y="439"/>
                  <a:pt x="781" y="538"/>
                </a:cubicBezTo>
                <a:cubicBezTo>
                  <a:pt x="781" y="605"/>
                  <a:pt x="742" y="636"/>
                  <a:pt x="711" y="660"/>
                </a:cubicBezTo>
                <a:close/>
                <a:moveTo>
                  <a:pt x="1007" y="955"/>
                </a:moveTo>
                <a:cubicBezTo>
                  <a:pt x="1036" y="955"/>
                  <a:pt x="1059" y="978"/>
                  <a:pt x="1059" y="1007"/>
                </a:cubicBezTo>
                <a:cubicBezTo>
                  <a:pt x="1059" y="1036"/>
                  <a:pt x="1036" y="1059"/>
                  <a:pt x="1007" y="1059"/>
                </a:cubicBezTo>
                <a:cubicBezTo>
                  <a:pt x="978" y="1059"/>
                  <a:pt x="955" y="1036"/>
                  <a:pt x="955" y="1007"/>
                </a:cubicBezTo>
                <a:cubicBezTo>
                  <a:pt x="955" y="978"/>
                  <a:pt x="978" y="955"/>
                  <a:pt x="1007" y="955"/>
                </a:cubicBezTo>
                <a:close/>
                <a:moveTo>
                  <a:pt x="1163" y="677"/>
                </a:moveTo>
                <a:cubicBezTo>
                  <a:pt x="1134" y="677"/>
                  <a:pt x="1111" y="654"/>
                  <a:pt x="1111" y="625"/>
                </a:cubicBezTo>
                <a:cubicBezTo>
                  <a:pt x="1111" y="596"/>
                  <a:pt x="1134" y="573"/>
                  <a:pt x="1163" y="573"/>
                </a:cubicBezTo>
                <a:cubicBezTo>
                  <a:pt x="1192" y="573"/>
                  <a:pt x="1215" y="596"/>
                  <a:pt x="1215" y="625"/>
                </a:cubicBezTo>
                <a:cubicBezTo>
                  <a:pt x="1215" y="654"/>
                  <a:pt x="1192" y="677"/>
                  <a:pt x="1163" y="677"/>
                </a:cubicBezTo>
                <a:close/>
              </a:path>
            </a:pathLst>
          </a:custGeom>
          <a:solidFill>
            <a:srgbClr val="C0504D"/>
          </a:solidFill>
          <a:ln w="0">
            <a:noFill/>
            <a:prstDash val="solid"/>
            <a:round/>
            <a:headEnd/>
            <a:tailEnd/>
          </a:ln>
        </p:spPr>
        <p:txBody>
          <a:bodyPr vert="horz" wrap="square" lIns="76957" tIns="38479" rIns="76957" bIns="38479" numCol="1" anchor="t" anchorCtr="0" compatLnSpc="1">
            <a:prstTxWarp prst="textNoShape">
              <a:avLst/>
            </a:prstTxWarp>
          </a:bodyPr>
          <a:lstStyle/>
          <a:p>
            <a:pPr defTabSz="769548"/>
            <a:endParaRPr lang="fr-FR" sz="1807">
              <a:solidFill>
                <a:prstClr val="black"/>
              </a:solidFill>
              <a:latin typeface="Calibri"/>
            </a:endParaRPr>
          </a:p>
        </p:txBody>
      </p:sp>
      <p:sp>
        <p:nvSpPr>
          <p:cNvPr id="18" name="1 Başlık"/>
          <p:cNvSpPr>
            <a:spLocks noGrp="1"/>
          </p:cNvSpPr>
          <p:nvPr>
            <p:ph type="title"/>
          </p:nvPr>
        </p:nvSpPr>
        <p:spPr>
          <a:xfrm>
            <a:off x="3277248" y="176594"/>
            <a:ext cx="6926536" cy="859806"/>
          </a:xfrm>
        </p:spPr>
        <p:txBody>
          <a:bodyPr/>
          <a:lstStyle/>
          <a:p>
            <a:r>
              <a:rPr lang="tr-TR" sz="3212" b="1" dirty="0">
                <a:solidFill>
                  <a:srgbClr val="00BAD5"/>
                </a:solidFill>
                <a:latin typeface="Calibri" pitchFamily="34" charset="0"/>
                <a:ea typeface="ヒラギノ角ゴ Pro W3" pitchFamily="1" charset="-128"/>
              </a:rPr>
              <a:t>İŞGEM/TEKMER Destek Programı</a:t>
            </a:r>
          </a:p>
        </p:txBody>
      </p:sp>
    </p:spTree>
    <p:extLst>
      <p:ext uri="{BB962C8B-B14F-4D97-AF65-F5344CB8AC3E}">
        <p14:creationId xmlns:p14="http://schemas.microsoft.com/office/powerpoint/2010/main" val="373619586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2534088" y="240588"/>
            <a:ext cx="6926536" cy="859806"/>
          </a:xfrm>
        </p:spPr>
        <p:txBody>
          <a:bodyPr/>
          <a:lstStyle/>
          <a:p>
            <a:r>
              <a:rPr lang="tr-TR" sz="3212" b="1" dirty="0">
                <a:solidFill>
                  <a:srgbClr val="00BAD5"/>
                </a:solidFill>
                <a:latin typeface="Calibri" pitchFamily="34" charset="0"/>
                <a:ea typeface="ヒラギノ角ゴ Pro W3" pitchFamily="1" charset="-128"/>
              </a:rPr>
              <a:t>İŞGEM Başvuru</a:t>
            </a:r>
          </a:p>
        </p:txBody>
      </p:sp>
      <p:sp>
        <p:nvSpPr>
          <p:cNvPr id="8" name="Slayt Numarası Yer Tutucusu 7"/>
          <p:cNvSpPr>
            <a:spLocks noGrp="1"/>
          </p:cNvSpPr>
          <p:nvPr>
            <p:ph type="sldNum" sz="quarter" idx="12"/>
          </p:nvPr>
        </p:nvSpPr>
        <p:spPr/>
        <p:txBody>
          <a:bodyPr/>
          <a:lstStyle/>
          <a:p>
            <a:pPr>
              <a:defRPr/>
            </a:pPr>
            <a:fld id="{23834FD1-F4F0-40AB-A596-CAED2E9ED3B6}" type="slidenum">
              <a:rPr lang="tr-TR" smtClean="0"/>
              <a:pPr>
                <a:defRPr/>
              </a:pPr>
              <a:t>58</a:t>
            </a:fld>
            <a:endParaRPr lang="tr-TR"/>
          </a:p>
        </p:txBody>
      </p:sp>
      <p:grpSp>
        <p:nvGrpSpPr>
          <p:cNvPr id="17" name="Group 2"/>
          <p:cNvGrpSpPr/>
          <p:nvPr/>
        </p:nvGrpSpPr>
        <p:grpSpPr>
          <a:xfrm>
            <a:off x="2195220" y="1188075"/>
            <a:ext cx="3329866" cy="4243236"/>
            <a:chOff x="609602" y="1329816"/>
            <a:chExt cx="3427863" cy="5197110"/>
          </a:xfrm>
        </p:grpSpPr>
        <p:sp>
          <p:nvSpPr>
            <p:cNvPr id="18" name="Rectangle 3"/>
            <p:cNvSpPr/>
            <p:nvPr/>
          </p:nvSpPr>
          <p:spPr>
            <a:xfrm>
              <a:off x="609602" y="1752896"/>
              <a:ext cx="3427863" cy="47740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69548">
                <a:defRPr/>
              </a:pPr>
              <a:endParaRPr lang="tr-TR" sz="2007" kern="0" dirty="0">
                <a:solidFill>
                  <a:prstClr val="black"/>
                </a:solidFill>
              </a:endParaRPr>
            </a:p>
            <a:p>
              <a:pPr defTabSz="769548">
                <a:defRPr/>
              </a:pPr>
              <a:endParaRPr lang="tr-TR" sz="1706" b="1" dirty="0">
                <a:solidFill>
                  <a:prstClr val="black"/>
                </a:solidFill>
              </a:endParaRPr>
            </a:p>
            <a:p>
              <a:pPr marL="288581" indent="-288581" defTabSz="769548">
                <a:buFont typeface="Wingdings" panose="05000000000000000000" pitchFamily="2" charset="2"/>
                <a:buChar char="ü"/>
                <a:defRPr/>
              </a:pPr>
              <a:r>
                <a:rPr lang="tr-TR" sz="1706" b="1" kern="0" dirty="0">
                  <a:solidFill>
                    <a:prstClr val="black"/>
                  </a:solidFill>
                </a:rPr>
                <a:t>İl özel idaresi</a:t>
              </a:r>
            </a:p>
            <a:p>
              <a:pPr marL="288581" indent="-288581" defTabSz="769548">
                <a:buFont typeface="Wingdings" panose="05000000000000000000" pitchFamily="2" charset="2"/>
                <a:buChar char="ü"/>
                <a:defRPr/>
              </a:pPr>
              <a:r>
                <a:rPr lang="tr-TR" sz="1706" b="1" kern="0" dirty="0">
                  <a:solidFill>
                    <a:prstClr val="black"/>
                  </a:solidFill>
                </a:rPr>
                <a:t>Belediye</a:t>
              </a:r>
            </a:p>
            <a:p>
              <a:pPr marL="288581" indent="-288581" defTabSz="769548">
                <a:buFont typeface="Wingdings" panose="05000000000000000000" pitchFamily="2" charset="2"/>
                <a:buChar char="ü"/>
                <a:defRPr/>
              </a:pPr>
              <a:r>
                <a:rPr lang="tr-TR" sz="1706" b="1" kern="0" dirty="0">
                  <a:solidFill>
                    <a:prstClr val="black"/>
                  </a:solidFill>
                </a:rPr>
                <a:t>Organize sanayi bölgesi (OSB) yönetimi</a:t>
              </a:r>
            </a:p>
            <a:p>
              <a:pPr marL="288581" indent="-288581" defTabSz="769548">
                <a:buFont typeface="Wingdings" panose="05000000000000000000" pitchFamily="2" charset="2"/>
                <a:buChar char="ü"/>
                <a:defRPr/>
              </a:pPr>
              <a:r>
                <a:rPr lang="tr-TR" sz="1706" b="1" kern="0" dirty="0">
                  <a:solidFill>
                    <a:prstClr val="black"/>
                  </a:solidFill>
                </a:rPr>
                <a:t>Türkiye Odalar ve Borsalar Birliğine bağlı odalar </a:t>
              </a:r>
            </a:p>
            <a:p>
              <a:pPr defTabSz="769548">
                <a:defRPr/>
              </a:pPr>
              <a:r>
                <a:rPr lang="tr-TR" sz="1706" dirty="0">
                  <a:solidFill>
                    <a:prstClr val="black"/>
                  </a:solidFill>
                </a:rPr>
                <a:t>başvuru yapabilirler</a:t>
              </a:r>
            </a:p>
            <a:p>
              <a:pPr algn="ctr" defTabSz="769548">
                <a:defRPr/>
              </a:pPr>
              <a:endParaRPr lang="en-US" sz="1807" b="1" kern="0" dirty="0">
                <a:solidFill>
                  <a:srgbClr val="FF0000"/>
                </a:solidFill>
              </a:endParaRPr>
            </a:p>
          </p:txBody>
        </p:sp>
        <p:sp>
          <p:nvSpPr>
            <p:cNvPr id="19" name="Rectangle 5"/>
            <p:cNvSpPr/>
            <p:nvPr/>
          </p:nvSpPr>
          <p:spPr>
            <a:xfrm>
              <a:off x="609602" y="1329816"/>
              <a:ext cx="3427863" cy="86483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9548">
                <a:defRPr/>
              </a:pPr>
              <a:r>
                <a:rPr lang="tr-TR" sz="2710" b="1" kern="0" dirty="0">
                  <a:solidFill>
                    <a:prstClr val="white"/>
                  </a:solidFill>
                </a:rPr>
                <a:t>KURUCU</a:t>
              </a:r>
              <a:endParaRPr lang="en-US" sz="2710" b="1" kern="0" dirty="0">
                <a:solidFill>
                  <a:prstClr val="white"/>
                </a:solidFill>
              </a:endParaRPr>
            </a:p>
          </p:txBody>
        </p:sp>
      </p:grpSp>
      <p:grpSp>
        <p:nvGrpSpPr>
          <p:cNvPr id="20" name="Group 11"/>
          <p:cNvGrpSpPr/>
          <p:nvPr/>
        </p:nvGrpSpPr>
        <p:grpSpPr>
          <a:xfrm>
            <a:off x="6469625" y="1100400"/>
            <a:ext cx="3329867" cy="4537422"/>
            <a:chOff x="8154538" y="1219356"/>
            <a:chExt cx="3427864" cy="5456032"/>
          </a:xfrm>
        </p:grpSpPr>
        <p:sp>
          <p:nvSpPr>
            <p:cNvPr id="21" name="Rectangle 7"/>
            <p:cNvSpPr/>
            <p:nvPr/>
          </p:nvSpPr>
          <p:spPr>
            <a:xfrm>
              <a:off x="8154539" y="1752897"/>
              <a:ext cx="3427863" cy="49224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69548">
                <a:defRPr/>
              </a:pPr>
              <a:endParaRPr lang="tr-TR" sz="1807" kern="0" dirty="0">
                <a:solidFill>
                  <a:prstClr val="black"/>
                </a:solidFill>
              </a:endParaRPr>
            </a:p>
            <a:p>
              <a:pPr defTabSz="769548">
                <a:defRPr/>
              </a:pPr>
              <a:r>
                <a:rPr lang="tr-TR" sz="1606" b="1" kern="0" dirty="0">
                  <a:solidFill>
                    <a:prstClr val="black"/>
                  </a:solidFill>
                </a:rPr>
                <a:t>İşletici Kuruluşa;</a:t>
              </a:r>
            </a:p>
            <a:p>
              <a:pPr marL="288581" indent="-288581" defTabSz="769548">
                <a:buFont typeface="Wingdings" panose="05000000000000000000" pitchFamily="2" charset="2"/>
                <a:buChar char="ü"/>
                <a:defRPr/>
              </a:pPr>
              <a:r>
                <a:rPr lang="tr-TR" sz="1606" kern="0" dirty="0">
                  <a:solidFill>
                    <a:prstClr val="black"/>
                  </a:solidFill>
                </a:rPr>
                <a:t>Kurucu niteliği taşıyanlar,</a:t>
              </a:r>
            </a:p>
            <a:p>
              <a:pPr marL="288581" indent="-288581" defTabSz="769548">
                <a:buFont typeface="Wingdings" panose="05000000000000000000" pitchFamily="2" charset="2"/>
                <a:buChar char="ü"/>
                <a:defRPr/>
              </a:pPr>
              <a:r>
                <a:rPr lang="tr-TR" sz="1606" kern="0" dirty="0">
                  <a:solidFill>
                    <a:prstClr val="black"/>
                  </a:solidFill>
                </a:rPr>
                <a:t>Üniversiteler,</a:t>
              </a:r>
            </a:p>
            <a:p>
              <a:pPr marL="240484" indent="-240484" defTabSz="769548">
                <a:buFont typeface="Wingdings" panose="05000000000000000000" pitchFamily="2" charset="2"/>
                <a:buChar char="ü"/>
                <a:defRPr/>
              </a:pPr>
              <a:r>
                <a:rPr lang="tr-TR" sz="1606" kern="0" dirty="0">
                  <a:solidFill>
                    <a:prstClr val="black"/>
                  </a:solidFill>
                </a:rPr>
                <a:t>TOBB’a bağlı borsalar, </a:t>
              </a:r>
            </a:p>
            <a:p>
              <a:pPr marL="240484" indent="-240484" defTabSz="769548">
                <a:buFont typeface="Wingdings" panose="05000000000000000000" pitchFamily="2" charset="2"/>
                <a:buChar char="ü"/>
                <a:defRPr/>
              </a:pPr>
              <a:r>
                <a:rPr lang="tr-TR" sz="1606" kern="0" dirty="0">
                  <a:solidFill>
                    <a:prstClr val="black"/>
                  </a:solidFill>
                </a:rPr>
                <a:t>TESK’ e bağlı birlikler ve federasyonlar</a:t>
              </a:r>
            </a:p>
            <a:p>
              <a:pPr marL="240484" indent="-240484" defTabSz="769548">
                <a:buFont typeface="Wingdings" panose="05000000000000000000" pitchFamily="2" charset="2"/>
                <a:buChar char="ü"/>
                <a:defRPr/>
              </a:pPr>
              <a:r>
                <a:rPr lang="tr-TR" sz="1606" kern="0" dirty="0">
                  <a:solidFill>
                    <a:prstClr val="black"/>
                  </a:solidFill>
                </a:rPr>
                <a:t>İhracatçı birlikleri, </a:t>
              </a:r>
            </a:p>
            <a:p>
              <a:pPr marL="240484" indent="-240484" defTabSz="769548">
                <a:buFont typeface="Wingdings" panose="05000000000000000000" pitchFamily="2" charset="2"/>
                <a:buChar char="ü"/>
                <a:defRPr/>
              </a:pPr>
              <a:r>
                <a:rPr lang="tr-TR" sz="1606" kern="0" dirty="0">
                  <a:solidFill>
                    <a:prstClr val="black"/>
                  </a:solidFill>
                </a:rPr>
                <a:t>Araştırma ve geliştirme enstitüleri/merkezleri,</a:t>
              </a:r>
            </a:p>
            <a:p>
              <a:pPr marL="240484" indent="-240484" defTabSz="769548">
                <a:buFont typeface="Wingdings" panose="05000000000000000000" pitchFamily="2" charset="2"/>
                <a:buChar char="ü"/>
                <a:defRPr/>
              </a:pPr>
              <a:r>
                <a:rPr lang="tr-TR" sz="1606" kern="0" dirty="0">
                  <a:solidFill>
                    <a:prstClr val="black"/>
                  </a:solidFill>
                </a:rPr>
                <a:t>Girişimcilik, ar-ge, teknoloji geliştirme veya tema/temalar ile ilgili vakıf, kooperatif, dernek ve birlikler, </a:t>
              </a:r>
            </a:p>
            <a:p>
              <a:pPr marL="240484" indent="-240484" defTabSz="769548">
                <a:buFont typeface="Wingdings" panose="05000000000000000000" pitchFamily="2" charset="2"/>
                <a:buChar char="ü"/>
                <a:defRPr/>
              </a:pPr>
              <a:r>
                <a:rPr lang="tr-TR" sz="1606" kern="0" dirty="0">
                  <a:solidFill>
                    <a:prstClr val="black"/>
                  </a:solidFill>
                </a:rPr>
                <a:t>Bireysel katılım yatırımcıları</a:t>
              </a:r>
            </a:p>
            <a:p>
              <a:pPr defTabSz="769548">
                <a:defRPr/>
              </a:pPr>
              <a:r>
                <a:rPr lang="tr-TR" sz="1606" b="1" kern="0" dirty="0">
                  <a:solidFill>
                    <a:prstClr val="black"/>
                  </a:solidFill>
                </a:rPr>
                <a:t>ortak olabilir.</a:t>
              </a:r>
              <a:endParaRPr lang="en-US" sz="1606" b="1" kern="0" dirty="0">
                <a:solidFill>
                  <a:prstClr val="black"/>
                </a:solidFill>
              </a:endParaRPr>
            </a:p>
          </p:txBody>
        </p:sp>
        <p:sp>
          <p:nvSpPr>
            <p:cNvPr id="22" name="Rectangle 8"/>
            <p:cNvSpPr/>
            <p:nvPr/>
          </p:nvSpPr>
          <p:spPr>
            <a:xfrm>
              <a:off x="8154538" y="1219356"/>
              <a:ext cx="3427863" cy="856093"/>
            </a:xfrm>
            <a:prstGeom prst="rect">
              <a:avLst/>
            </a:prstGeom>
            <a:solidFill>
              <a:schemeClr val="accent4">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9548">
                <a:defRPr/>
              </a:pPr>
              <a:r>
                <a:rPr lang="tr-TR" sz="2710" b="1" kern="0" dirty="0">
                  <a:solidFill>
                    <a:prstClr val="white"/>
                  </a:solidFill>
                </a:rPr>
                <a:t>İŞLETİCİ KURULUŞ</a:t>
              </a:r>
              <a:endParaRPr lang="en-US" sz="2710" b="1" kern="0" dirty="0">
                <a:solidFill>
                  <a:prstClr val="white"/>
                </a:solidFill>
              </a:endParaRPr>
            </a:p>
          </p:txBody>
        </p:sp>
      </p:grpSp>
      <p:sp>
        <p:nvSpPr>
          <p:cNvPr id="24" name="Rectangle 3"/>
          <p:cNvSpPr/>
          <p:nvPr/>
        </p:nvSpPr>
        <p:spPr>
          <a:xfrm>
            <a:off x="2195221" y="5741458"/>
            <a:ext cx="7604270" cy="5113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957" tIns="38479" rIns="76957" bIns="38479" rtlCol="0" anchor="t"/>
          <a:lstStyle/>
          <a:p>
            <a:pPr algn="ctr" defTabSz="769548">
              <a:defRPr/>
            </a:pPr>
            <a:r>
              <a:rPr lang="tr-TR" sz="1706" dirty="0">
                <a:solidFill>
                  <a:prstClr val="black"/>
                </a:solidFill>
              </a:rPr>
              <a:t>Kurucu olabileceklerden en az ikisi müştereken başvuru yapabilirler.</a:t>
            </a:r>
            <a:endParaRPr lang="tr-TR" sz="1706" kern="0" dirty="0">
              <a:solidFill>
                <a:prstClr val="black"/>
              </a:solidFill>
            </a:endParaRPr>
          </a:p>
        </p:txBody>
      </p:sp>
    </p:spTree>
    <p:extLst>
      <p:ext uri="{BB962C8B-B14F-4D97-AF65-F5344CB8AC3E}">
        <p14:creationId xmlns:p14="http://schemas.microsoft.com/office/powerpoint/2010/main" val="247963736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2771318" y="149598"/>
            <a:ext cx="6926536" cy="859806"/>
          </a:xfrm>
        </p:spPr>
        <p:txBody>
          <a:bodyPr/>
          <a:lstStyle/>
          <a:p>
            <a:r>
              <a:rPr lang="tr-TR" sz="3212" b="1" dirty="0">
                <a:solidFill>
                  <a:srgbClr val="00BAD5"/>
                </a:solidFill>
                <a:latin typeface="Calibri" pitchFamily="34" charset="0"/>
                <a:ea typeface="ヒラギノ角ゴ Pro W3" pitchFamily="1" charset="-128"/>
              </a:rPr>
              <a:t>TEKMER Başvuru</a:t>
            </a:r>
          </a:p>
        </p:txBody>
      </p:sp>
      <p:sp>
        <p:nvSpPr>
          <p:cNvPr id="8" name="Slayt Numarası Yer Tutucusu 7"/>
          <p:cNvSpPr>
            <a:spLocks noGrp="1"/>
          </p:cNvSpPr>
          <p:nvPr>
            <p:ph type="sldNum" sz="quarter" idx="12"/>
          </p:nvPr>
        </p:nvSpPr>
        <p:spPr/>
        <p:txBody>
          <a:bodyPr/>
          <a:lstStyle/>
          <a:p>
            <a:pPr>
              <a:defRPr/>
            </a:pPr>
            <a:fld id="{23834FD1-F4F0-40AB-A596-CAED2E9ED3B6}" type="slidenum">
              <a:rPr lang="tr-TR" smtClean="0"/>
              <a:pPr>
                <a:defRPr/>
              </a:pPr>
              <a:t>59</a:t>
            </a:fld>
            <a:endParaRPr lang="tr-TR"/>
          </a:p>
        </p:txBody>
      </p:sp>
      <p:grpSp>
        <p:nvGrpSpPr>
          <p:cNvPr id="11" name="Group 2"/>
          <p:cNvGrpSpPr/>
          <p:nvPr/>
        </p:nvGrpSpPr>
        <p:grpSpPr>
          <a:xfrm>
            <a:off x="2409940" y="1043902"/>
            <a:ext cx="3329866" cy="4697921"/>
            <a:chOff x="609602" y="1329816"/>
            <a:chExt cx="3427863" cy="6142040"/>
          </a:xfrm>
        </p:grpSpPr>
        <p:sp>
          <p:nvSpPr>
            <p:cNvPr id="12" name="Rectangle 3"/>
            <p:cNvSpPr/>
            <p:nvPr/>
          </p:nvSpPr>
          <p:spPr>
            <a:xfrm>
              <a:off x="609602" y="1730316"/>
              <a:ext cx="3427863" cy="57415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69548">
                <a:defRPr/>
              </a:pPr>
              <a:endParaRPr lang="tr-TR" sz="2007" kern="0" dirty="0">
                <a:solidFill>
                  <a:prstClr val="black"/>
                </a:solidFill>
              </a:endParaRPr>
            </a:p>
            <a:p>
              <a:pPr defTabSz="769548">
                <a:defRPr/>
              </a:pPr>
              <a:r>
                <a:rPr lang="tr-TR" sz="1706" b="1" dirty="0">
                  <a:solidFill>
                    <a:prstClr val="black"/>
                  </a:solidFill>
                </a:rPr>
                <a:t>Üniversite</a:t>
              </a:r>
            </a:p>
            <a:p>
              <a:pPr defTabSz="769548">
                <a:defRPr/>
              </a:pPr>
              <a:r>
                <a:rPr lang="tr-TR" sz="1706" b="1" dirty="0">
                  <a:solidFill>
                    <a:prstClr val="black"/>
                  </a:solidFill>
                </a:rPr>
                <a:t>TGB Yönetici Şirketi</a:t>
              </a:r>
            </a:p>
            <a:p>
              <a:pPr defTabSz="769548">
                <a:defRPr/>
              </a:pPr>
              <a:r>
                <a:rPr lang="tr-TR" sz="1706" b="1" kern="0" dirty="0">
                  <a:solidFill>
                    <a:prstClr val="black"/>
                  </a:solidFill>
                </a:rPr>
                <a:t>Teknoloji Transfer Ofisleri</a:t>
              </a:r>
            </a:p>
            <a:p>
              <a:pPr defTabSz="769548">
                <a:defRPr/>
              </a:pPr>
              <a:r>
                <a:rPr lang="tr-TR" sz="1706" b="1" kern="0" dirty="0">
                  <a:solidFill>
                    <a:prstClr val="black"/>
                  </a:solidFill>
                </a:rPr>
                <a:t>Organize Sanayi Bölgeleri</a:t>
              </a:r>
            </a:p>
            <a:p>
              <a:pPr defTabSz="769548">
                <a:defRPr/>
              </a:pPr>
              <a:r>
                <a:rPr lang="tr-TR" sz="1706" b="1" kern="0" dirty="0">
                  <a:solidFill>
                    <a:prstClr val="black"/>
                  </a:solidFill>
                </a:rPr>
                <a:t>Kamu kurum/kuruluşları</a:t>
              </a:r>
            </a:p>
            <a:p>
              <a:pPr defTabSz="769548">
                <a:defRPr/>
              </a:pPr>
              <a:r>
                <a:rPr lang="tr-TR" sz="1706" b="1" kern="0" dirty="0">
                  <a:solidFill>
                    <a:prstClr val="black"/>
                  </a:solidFill>
                </a:rPr>
                <a:t>TOBB’a bağlı odalar ve borsalar</a:t>
              </a:r>
            </a:p>
            <a:p>
              <a:pPr defTabSz="769548">
                <a:defRPr/>
              </a:pPr>
              <a:r>
                <a:rPr lang="tr-TR" sz="1706" b="1" kern="0" dirty="0">
                  <a:solidFill>
                    <a:prstClr val="black"/>
                  </a:solidFill>
                </a:rPr>
                <a:t>TİM ve bağlı ihracatçı birlikleri</a:t>
              </a:r>
            </a:p>
            <a:p>
              <a:pPr defTabSz="769548">
                <a:defRPr/>
              </a:pPr>
              <a:r>
                <a:rPr lang="tr-TR" sz="1706" b="1" kern="0" dirty="0">
                  <a:solidFill>
                    <a:prstClr val="black"/>
                  </a:solidFill>
                </a:rPr>
                <a:t>Araştırma ve geliştirme enstitüleri/merkezleri,</a:t>
              </a:r>
            </a:p>
            <a:p>
              <a:pPr defTabSz="769548">
                <a:defRPr/>
              </a:pPr>
              <a:r>
                <a:rPr lang="tr-TR" sz="1706" b="1" kern="0" dirty="0">
                  <a:solidFill>
                    <a:prstClr val="black"/>
                  </a:solidFill>
                </a:rPr>
                <a:t>Girişimcilik, ar-ge, teknoloji geliştirme veya tema/temalar ile ilgili vakıf, kooperatif, dernek ve birlikler, </a:t>
              </a:r>
            </a:p>
            <a:p>
              <a:pPr defTabSz="769548">
                <a:defRPr/>
              </a:pPr>
              <a:r>
                <a:rPr lang="tr-TR" sz="1706" b="1" kern="0" dirty="0">
                  <a:solidFill>
                    <a:prstClr val="black"/>
                  </a:solidFill>
                </a:rPr>
                <a:t>Bireysel katılım yatırımcıları</a:t>
              </a:r>
            </a:p>
            <a:p>
              <a:pPr defTabSz="769548">
                <a:defRPr/>
              </a:pPr>
              <a:r>
                <a:rPr lang="tr-TR" sz="1706" b="1" kern="0" dirty="0">
                  <a:solidFill>
                    <a:prstClr val="black"/>
                  </a:solidFill>
                </a:rPr>
                <a:t>Diğer Firmalar </a:t>
              </a:r>
            </a:p>
            <a:p>
              <a:pPr defTabSz="769548">
                <a:defRPr/>
              </a:pPr>
              <a:endParaRPr lang="tr-TR" sz="1606" kern="0" dirty="0">
                <a:solidFill>
                  <a:prstClr val="black"/>
                </a:solidFill>
              </a:endParaRPr>
            </a:p>
            <a:p>
              <a:pPr defTabSz="769548">
                <a:defRPr/>
              </a:pPr>
              <a:endParaRPr lang="tr-TR" sz="1606" kern="0" dirty="0">
                <a:solidFill>
                  <a:prstClr val="black"/>
                </a:solidFill>
              </a:endParaRPr>
            </a:p>
            <a:p>
              <a:pPr defTabSz="769548">
                <a:defRPr/>
              </a:pPr>
              <a:endParaRPr lang="tr-TR" sz="1606" kern="0" dirty="0">
                <a:solidFill>
                  <a:prstClr val="black"/>
                </a:solidFill>
              </a:endParaRPr>
            </a:p>
            <a:p>
              <a:pPr defTabSz="769548">
                <a:defRPr/>
              </a:pPr>
              <a:endParaRPr lang="tr-TR" sz="1606" b="1" kern="0" dirty="0">
                <a:solidFill>
                  <a:prstClr val="black"/>
                </a:solidFill>
              </a:endParaRPr>
            </a:p>
            <a:p>
              <a:pPr defTabSz="769548">
                <a:defRPr/>
              </a:pPr>
              <a:r>
                <a:rPr lang="tr-TR" sz="1606" b="1" kern="0" dirty="0">
                  <a:solidFill>
                    <a:prstClr val="black"/>
                  </a:solidFill>
                </a:rPr>
                <a:t> </a:t>
              </a:r>
              <a:endParaRPr lang="tr-TR" sz="1706" b="1" kern="0" dirty="0">
                <a:solidFill>
                  <a:prstClr val="black"/>
                </a:solidFill>
              </a:endParaRPr>
            </a:p>
            <a:p>
              <a:pPr defTabSz="769548">
                <a:defRPr/>
              </a:pPr>
              <a:endParaRPr lang="tr-TR" sz="1706" b="1" kern="0" dirty="0">
                <a:solidFill>
                  <a:prstClr val="black"/>
                </a:solidFill>
              </a:endParaRPr>
            </a:p>
            <a:p>
              <a:pPr defTabSz="769548">
                <a:defRPr/>
              </a:pPr>
              <a:endParaRPr lang="tr-TR" sz="1706" b="1" kern="0" dirty="0">
                <a:solidFill>
                  <a:prstClr val="black"/>
                </a:solidFill>
              </a:endParaRPr>
            </a:p>
            <a:p>
              <a:pPr algn="ctr" defTabSz="769548">
                <a:defRPr/>
              </a:pPr>
              <a:endParaRPr lang="en-US" sz="1807" b="1" kern="0" dirty="0">
                <a:solidFill>
                  <a:srgbClr val="FF0000"/>
                </a:solidFill>
              </a:endParaRPr>
            </a:p>
          </p:txBody>
        </p:sp>
        <p:sp>
          <p:nvSpPr>
            <p:cNvPr id="13" name="Rectangle 5"/>
            <p:cNvSpPr/>
            <p:nvPr/>
          </p:nvSpPr>
          <p:spPr>
            <a:xfrm>
              <a:off x="609602" y="1329816"/>
              <a:ext cx="3427863" cy="86483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9548">
                <a:defRPr/>
              </a:pPr>
              <a:r>
                <a:rPr lang="tr-TR" sz="2710" b="1" kern="0" dirty="0">
                  <a:solidFill>
                    <a:prstClr val="white"/>
                  </a:solidFill>
                </a:rPr>
                <a:t>KURUCU</a:t>
              </a:r>
              <a:endParaRPr lang="en-US" sz="2710" b="1" kern="0" dirty="0">
                <a:solidFill>
                  <a:prstClr val="white"/>
                </a:solidFill>
              </a:endParaRPr>
            </a:p>
          </p:txBody>
        </p:sp>
      </p:grpSp>
      <p:grpSp>
        <p:nvGrpSpPr>
          <p:cNvPr id="3" name="Grup 2"/>
          <p:cNvGrpSpPr/>
          <p:nvPr/>
        </p:nvGrpSpPr>
        <p:grpSpPr>
          <a:xfrm>
            <a:off x="6466880" y="1116178"/>
            <a:ext cx="3329867" cy="4553369"/>
            <a:chOff x="4941506" y="1112043"/>
            <a:chExt cx="3317534" cy="4536505"/>
          </a:xfrm>
        </p:grpSpPr>
        <p:grpSp>
          <p:nvGrpSpPr>
            <p:cNvPr id="14" name="Group 11"/>
            <p:cNvGrpSpPr/>
            <p:nvPr/>
          </p:nvGrpSpPr>
          <p:grpSpPr>
            <a:xfrm>
              <a:off x="4941506" y="1112043"/>
              <a:ext cx="3317534" cy="3240361"/>
              <a:chOff x="8154538" y="1329817"/>
              <a:chExt cx="3427864" cy="5345571"/>
            </a:xfrm>
          </p:grpSpPr>
          <p:sp>
            <p:nvSpPr>
              <p:cNvPr id="15" name="Rectangle 7"/>
              <p:cNvSpPr/>
              <p:nvPr/>
            </p:nvSpPr>
            <p:spPr>
              <a:xfrm>
                <a:off x="8154539" y="1752897"/>
                <a:ext cx="3427863" cy="49224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69548">
                  <a:defRPr/>
                </a:pPr>
                <a:endParaRPr lang="tr-TR" sz="1807" kern="0" dirty="0">
                  <a:solidFill>
                    <a:prstClr val="black"/>
                  </a:solidFill>
                </a:endParaRPr>
              </a:p>
              <a:p>
                <a:pPr defTabSz="769548">
                  <a:defRPr/>
                </a:pPr>
                <a:r>
                  <a:rPr lang="tr-TR" sz="1606" b="1" kern="0" dirty="0">
                    <a:solidFill>
                      <a:prstClr val="black"/>
                    </a:solidFill>
                  </a:rPr>
                  <a:t>İşletici Kuruluşa;</a:t>
                </a:r>
              </a:p>
              <a:p>
                <a:pPr defTabSz="769548">
                  <a:defRPr/>
                </a:pPr>
                <a:r>
                  <a:rPr lang="tr-TR" sz="1606" kern="0" dirty="0">
                    <a:solidFill>
                      <a:prstClr val="black"/>
                    </a:solidFill>
                  </a:rPr>
                  <a:t>Kurucu niteliği taşıyanlar,</a:t>
                </a:r>
              </a:p>
              <a:p>
                <a:pPr defTabSz="769548">
                  <a:defRPr/>
                </a:pPr>
                <a:r>
                  <a:rPr lang="tr-TR" sz="1606" b="1" kern="0" dirty="0">
                    <a:solidFill>
                      <a:prstClr val="black"/>
                    </a:solidFill>
                  </a:rPr>
                  <a:t>ortak olabilir.</a:t>
                </a:r>
                <a:endParaRPr lang="en-US" sz="1606" b="1" kern="0" dirty="0">
                  <a:solidFill>
                    <a:prstClr val="black"/>
                  </a:solidFill>
                </a:endParaRPr>
              </a:p>
            </p:txBody>
          </p:sp>
          <p:sp>
            <p:nvSpPr>
              <p:cNvPr id="16" name="Rectangle 8"/>
              <p:cNvSpPr/>
              <p:nvPr/>
            </p:nvSpPr>
            <p:spPr>
              <a:xfrm>
                <a:off x="8154538" y="1329817"/>
                <a:ext cx="3427863" cy="860619"/>
              </a:xfrm>
              <a:prstGeom prst="rect">
                <a:avLst/>
              </a:prstGeom>
              <a:solidFill>
                <a:schemeClr val="accent4">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9548">
                  <a:defRPr/>
                </a:pPr>
                <a:r>
                  <a:rPr lang="tr-TR" sz="2710" b="1" kern="0" dirty="0">
                    <a:solidFill>
                      <a:prstClr val="white"/>
                    </a:solidFill>
                  </a:rPr>
                  <a:t>İŞLETİCİ KURULUŞ</a:t>
                </a:r>
                <a:endParaRPr lang="en-US" sz="2710" b="1" kern="0" dirty="0">
                  <a:solidFill>
                    <a:prstClr val="white"/>
                  </a:solidFill>
                </a:endParaRPr>
              </a:p>
            </p:txBody>
          </p:sp>
        </p:grpSp>
        <p:sp>
          <p:nvSpPr>
            <p:cNvPr id="23" name="Rectangle 3"/>
            <p:cNvSpPr/>
            <p:nvPr/>
          </p:nvSpPr>
          <p:spPr>
            <a:xfrm>
              <a:off x="4941507" y="2699151"/>
              <a:ext cx="3317533" cy="29493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957" tIns="38479" rIns="76957" bIns="38479" rtlCol="0" anchor="t"/>
            <a:lstStyle/>
            <a:p>
              <a:pPr algn="ctr" defTabSz="769548">
                <a:defRPr/>
              </a:pPr>
              <a:r>
                <a:rPr lang="tr-TR" sz="1706" dirty="0">
                  <a:solidFill>
                    <a:prstClr val="black"/>
                  </a:solidFill>
                </a:rPr>
                <a:t>Kurucu tarafından </a:t>
              </a:r>
              <a:r>
                <a:rPr lang="tr-TR" sz="1706" dirty="0" err="1">
                  <a:solidFill>
                    <a:prstClr val="black"/>
                  </a:solidFill>
                </a:rPr>
                <a:t>limited</a:t>
              </a:r>
              <a:r>
                <a:rPr lang="tr-TR" sz="1706" dirty="0">
                  <a:solidFill>
                    <a:prstClr val="black"/>
                  </a:solidFill>
                </a:rPr>
                <a:t> veya anonim şirketi statüsündeki İşletici Kuruluş kurulur. </a:t>
              </a:r>
            </a:p>
            <a:p>
              <a:pPr algn="ctr" defTabSz="769548">
                <a:defRPr/>
              </a:pPr>
              <a:r>
                <a:rPr lang="tr-TR" sz="1706" dirty="0">
                  <a:solidFill>
                    <a:prstClr val="black"/>
                  </a:solidFill>
                </a:rPr>
                <a:t>Münferiden veya müştereken başvuru yapabilir.</a:t>
              </a:r>
            </a:p>
            <a:p>
              <a:pPr algn="ctr" defTabSz="769548">
                <a:defRPr/>
              </a:pPr>
              <a:endParaRPr lang="tr-TR" sz="1706" dirty="0">
                <a:solidFill>
                  <a:prstClr val="black"/>
                </a:solidFill>
              </a:endParaRPr>
            </a:p>
            <a:p>
              <a:pPr defTabSz="769548">
                <a:defRPr/>
              </a:pPr>
              <a:r>
                <a:rPr lang="tr-TR" sz="1706" b="1" dirty="0">
                  <a:solidFill>
                    <a:prstClr val="black"/>
                  </a:solidFill>
                </a:rPr>
                <a:t>Üniversite ve TGB Yönetici Şirketi haricindeki kurucu olabilecekler, Üniversite veya TGB Yönetici Şirketi ile işbirliği içinde başvuru yapmalıdır.</a:t>
              </a:r>
            </a:p>
            <a:p>
              <a:pPr algn="ctr" defTabSz="769548">
                <a:defRPr/>
              </a:pPr>
              <a:endParaRPr lang="tr-TR" sz="1706" dirty="0">
                <a:solidFill>
                  <a:prstClr val="black"/>
                </a:solidFill>
              </a:endParaRPr>
            </a:p>
          </p:txBody>
        </p:sp>
      </p:grpSp>
    </p:spTree>
    <p:extLst>
      <p:ext uri="{BB962C8B-B14F-4D97-AF65-F5344CB8AC3E}">
        <p14:creationId xmlns:p14="http://schemas.microsoft.com/office/powerpoint/2010/main" val="8533474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F599670B-3E4C-4DE4-A60C-2B605A99CC80}" type="slidenum">
              <a:rPr lang="tr-TR" smtClean="0"/>
              <a:pPr>
                <a:defRPr/>
              </a:pPr>
              <a:t>6</a:t>
            </a:fld>
            <a:endParaRPr lang="tr-TR" dirty="0"/>
          </a:p>
        </p:txBody>
      </p:sp>
      <p:graphicFrame>
        <p:nvGraphicFramePr>
          <p:cNvPr id="6" name="Diyagram 5"/>
          <p:cNvGraphicFramePr/>
          <p:nvPr>
            <p:extLst>
              <p:ext uri="{D42A27DB-BD31-4B8C-83A1-F6EECF244321}">
                <p14:modId xmlns:p14="http://schemas.microsoft.com/office/powerpoint/2010/main" val="3700317282"/>
              </p:ext>
            </p:extLst>
          </p:nvPr>
        </p:nvGraphicFramePr>
        <p:xfrm>
          <a:off x="1614909" y="1449532"/>
          <a:ext cx="8995502" cy="39509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Metin kutusu 6"/>
          <p:cNvSpPr txBox="1"/>
          <p:nvPr/>
        </p:nvSpPr>
        <p:spPr>
          <a:xfrm>
            <a:off x="4168201" y="1049833"/>
            <a:ext cx="1710972" cy="527042"/>
          </a:xfrm>
          <a:prstGeom prst="rect">
            <a:avLst/>
          </a:prstGeom>
          <a:ln>
            <a:solidFill>
              <a:schemeClr val="accent6"/>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chemeClr val="accent6">
                    <a:lumMod val="75000"/>
                  </a:schemeClr>
                </a:solidFill>
              </a:rPr>
              <a:t>Geleneksel Girişimci Destek Programı</a:t>
            </a:r>
          </a:p>
        </p:txBody>
      </p:sp>
      <p:sp>
        <p:nvSpPr>
          <p:cNvPr id="8" name="Metin kutusu 7"/>
          <p:cNvSpPr txBox="1"/>
          <p:nvPr/>
        </p:nvSpPr>
        <p:spPr>
          <a:xfrm>
            <a:off x="9104125" y="1838935"/>
            <a:ext cx="1741065" cy="744154"/>
          </a:xfrm>
          <a:prstGeom prst="rect">
            <a:avLst/>
          </a:prstGeom>
          <a:ln>
            <a:solidFill>
              <a:schemeClr val="accent3">
                <a:lumMod val="75000"/>
              </a:schemeClr>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chemeClr val="accent3">
                    <a:lumMod val="50000"/>
                  </a:schemeClr>
                </a:solidFill>
              </a:rPr>
              <a:t>KOBİGEL – KOBİ Gelişim Destek Programı</a:t>
            </a:r>
          </a:p>
        </p:txBody>
      </p:sp>
      <p:sp>
        <p:nvSpPr>
          <p:cNvPr id="9" name="Metin kutusu 8"/>
          <p:cNvSpPr txBox="1"/>
          <p:nvPr/>
        </p:nvSpPr>
        <p:spPr>
          <a:xfrm>
            <a:off x="9104125" y="2636339"/>
            <a:ext cx="1741065" cy="527105"/>
          </a:xfrm>
          <a:prstGeom prst="rect">
            <a:avLst/>
          </a:prstGeom>
          <a:ln>
            <a:solidFill>
              <a:schemeClr val="accent3">
                <a:lumMod val="75000"/>
              </a:schemeClr>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chemeClr val="accent3">
                    <a:lumMod val="50000"/>
                  </a:schemeClr>
                </a:solidFill>
              </a:rPr>
              <a:t>İşletme Geliştirme Destek Programı</a:t>
            </a:r>
          </a:p>
        </p:txBody>
      </p:sp>
      <p:sp>
        <p:nvSpPr>
          <p:cNvPr id="10" name="Metin kutusu 9"/>
          <p:cNvSpPr txBox="1"/>
          <p:nvPr/>
        </p:nvSpPr>
        <p:spPr>
          <a:xfrm>
            <a:off x="9104125" y="3227225"/>
            <a:ext cx="1741065" cy="527105"/>
          </a:xfrm>
          <a:prstGeom prst="rect">
            <a:avLst/>
          </a:prstGeom>
          <a:ln>
            <a:solidFill>
              <a:schemeClr val="accent3">
                <a:lumMod val="75000"/>
              </a:schemeClr>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chemeClr val="accent3">
                    <a:lumMod val="50000"/>
                  </a:schemeClr>
                </a:solidFill>
              </a:rPr>
              <a:t>İşbirliği Destek Programı</a:t>
            </a:r>
          </a:p>
        </p:txBody>
      </p:sp>
      <p:sp>
        <p:nvSpPr>
          <p:cNvPr id="11" name="Metin kutusu 10"/>
          <p:cNvSpPr txBox="1"/>
          <p:nvPr/>
        </p:nvSpPr>
        <p:spPr>
          <a:xfrm>
            <a:off x="9104125" y="3816345"/>
            <a:ext cx="1741065" cy="961202"/>
          </a:xfrm>
          <a:prstGeom prst="rect">
            <a:avLst/>
          </a:prstGeom>
          <a:ln>
            <a:solidFill>
              <a:schemeClr val="accent3">
                <a:lumMod val="75000"/>
              </a:schemeClr>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chemeClr val="accent3">
                    <a:lumMod val="50000"/>
                  </a:schemeClr>
                </a:solidFill>
              </a:rPr>
              <a:t>Uluslararası Kuluçka Merkezi ve Hızlandırıcı Destek Programı</a:t>
            </a:r>
          </a:p>
        </p:txBody>
      </p:sp>
      <p:sp>
        <p:nvSpPr>
          <p:cNvPr id="12" name="Metin kutusu 11"/>
          <p:cNvSpPr txBox="1"/>
          <p:nvPr/>
        </p:nvSpPr>
        <p:spPr>
          <a:xfrm>
            <a:off x="9104125" y="4831965"/>
            <a:ext cx="1741065" cy="527042"/>
          </a:xfrm>
          <a:prstGeom prst="rect">
            <a:avLst/>
          </a:prstGeom>
          <a:ln>
            <a:solidFill>
              <a:schemeClr val="accent3">
                <a:lumMod val="75000"/>
              </a:schemeClr>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chemeClr val="accent3">
                    <a:lumMod val="50000"/>
                  </a:schemeClr>
                </a:solidFill>
              </a:rPr>
              <a:t>Yurtdışı Pazar Destek Programı</a:t>
            </a:r>
          </a:p>
        </p:txBody>
      </p:sp>
      <p:sp>
        <p:nvSpPr>
          <p:cNvPr id="13" name="Metin kutusu 12"/>
          <p:cNvSpPr txBox="1"/>
          <p:nvPr/>
        </p:nvSpPr>
        <p:spPr>
          <a:xfrm>
            <a:off x="5100496" y="5447305"/>
            <a:ext cx="1710972" cy="527042"/>
          </a:xfrm>
          <a:prstGeom prst="rect">
            <a:avLst/>
          </a:prstGeom>
          <a:ln>
            <a:solidFill>
              <a:schemeClr val="accent4">
                <a:lumMod val="75000"/>
              </a:schemeClr>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chemeClr val="accent4">
                    <a:lumMod val="50000"/>
                  </a:schemeClr>
                </a:solidFill>
              </a:rPr>
              <a:t>KOBİ Finansman Destek Programı</a:t>
            </a:r>
          </a:p>
        </p:txBody>
      </p:sp>
      <p:sp>
        <p:nvSpPr>
          <p:cNvPr id="14" name="Metin kutusu 13"/>
          <p:cNvSpPr txBox="1"/>
          <p:nvPr/>
        </p:nvSpPr>
        <p:spPr>
          <a:xfrm>
            <a:off x="1404839" y="2159510"/>
            <a:ext cx="1741065" cy="744059"/>
          </a:xfrm>
          <a:prstGeom prst="rect">
            <a:avLst/>
          </a:prstGeom>
          <a:ln>
            <a:solidFill>
              <a:schemeClr val="accent2"/>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rgbClr val="C00000"/>
                </a:solidFill>
              </a:rPr>
              <a:t>AR-GE, ÜR-GE ve </a:t>
            </a:r>
            <a:r>
              <a:rPr lang="tr-TR" sz="1410" b="1" dirty="0" err="1">
                <a:solidFill>
                  <a:srgbClr val="C00000"/>
                </a:solidFill>
              </a:rPr>
              <a:t>İnovasyon</a:t>
            </a:r>
            <a:r>
              <a:rPr lang="tr-TR" sz="1410" b="1" dirty="0">
                <a:solidFill>
                  <a:srgbClr val="C00000"/>
                </a:solidFill>
              </a:rPr>
              <a:t> Destek Programı</a:t>
            </a:r>
          </a:p>
        </p:txBody>
      </p:sp>
      <p:sp>
        <p:nvSpPr>
          <p:cNvPr id="15" name="Metin kutusu 14"/>
          <p:cNvSpPr txBox="1"/>
          <p:nvPr/>
        </p:nvSpPr>
        <p:spPr>
          <a:xfrm>
            <a:off x="1404839" y="2995346"/>
            <a:ext cx="1741065" cy="961202"/>
          </a:xfrm>
          <a:prstGeom prst="rect">
            <a:avLst/>
          </a:prstGeom>
          <a:ln>
            <a:solidFill>
              <a:schemeClr val="accent2"/>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rgbClr val="C00000"/>
                </a:solidFill>
              </a:rPr>
              <a:t>KOBİ TEKNOYATIRIM – KOBİ Teknolojik Ürün Yatırım Destek Programı</a:t>
            </a:r>
          </a:p>
        </p:txBody>
      </p:sp>
      <p:sp>
        <p:nvSpPr>
          <p:cNvPr id="16" name="Metin kutusu 15"/>
          <p:cNvSpPr txBox="1"/>
          <p:nvPr/>
        </p:nvSpPr>
        <p:spPr>
          <a:xfrm>
            <a:off x="1404839" y="4058306"/>
            <a:ext cx="1741065" cy="527105"/>
          </a:xfrm>
          <a:prstGeom prst="rect">
            <a:avLst/>
          </a:prstGeom>
          <a:ln>
            <a:solidFill>
              <a:schemeClr val="accent2"/>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rgbClr val="C00000"/>
                </a:solidFill>
              </a:rPr>
              <a:t>Stratejik Ürün</a:t>
            </a:r>
          </a:p>
          <a:p>
            <a:r>
              <a:rPr lang="tr-TR" sz="1410" b="1" dirty="0">
                <a:solidFill>
                  <a:srgbClr val="C00000"/>
                </a:solidFill>
              </a:rPr>
              <a:t>Destek Programı</a:t>
            </a:r>
          </a:p>
        </p:txBody>
      </p:sp>
      <p:sp>
        <p:nvSpPr>
          <p:cNvPr id="18" name="Metin kutusu 17"/>
          <p:cNvSpPr txBox="1"/>
          <p:nvPr/>
        </p:nvSpPr>
        <p:spPr>
          <a:xfrm>
            <a:off x="5975094" y="1049833"/>
            <a:ext cx="1710972" cy="527042"/>
          </a:xfrm>
          <a:prstGeom prst="rect">
            <a:avLst/>
          </a:prstGeom>
          <a:ln>
            <a:solidFill>
              <a:schemeClr val="accent6"/>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chemeClr val="accent6">
                    <a:lumMod val="75000"/>
                  </a:schemeClr>
                </a:solidFill>
              </a:rPr>
              <a:t>İleri Girişimci Destek Programı</a:t>
            </a:r>
          </a:p>
        </p:txBody>
      </p:sp>
      <p:sp>
        <p:nvSpPr>
          <p:cNvPr id="19" name="Metin kutusu 18"/>
          <p:cNvSpPr txBox="1"/>
          <p:nvPr/>
        </p:nvSpPr>
        <p:spPr>
          <a:xfrm>
            <a:off x="4168201" y="444585"/>
            <a:ext cx="1710972" cy="527042"/>
          </a:xfrm>
          <a:prstGeom prst="rect">
            <a:avLst/>
          </a:prstGeom>
          <a:ln>
            <a:solidFill>
              <a:schemeClr val="accent6"/>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chemeClr val="accent6">
                    <a:lumMod val="75000"/>
                  </a:schemeClr>
                </a:solidFill>
              </a:rPr>
              <a:t>İş Planı Ödülü Destek Programı</a:t>
            </a:r>
          </a:p>
        </p:txBody>
      </p:sp>
      <p:sp>
        <p:nvSpPr>
          <p:cNvPr id="20" name="Metin kutusu 19"/>
          <p:cNvSpPr txBox="1"/>
          <p:nvPr/>
        </p:nvSpPr>
        <p:spPr>
          <a:xfrm>
            <a:off x="5975094" y="444585"/>
            <a:ext cx="1710972" cy="527042"/>
          </a:xfrm>
          <a:prstGeom prst="rect">
            <a:avLst/>
          </a:prstGeom>
          <a:ln>
            <a:solidFill>
              <a:schemeClr val="accent6"/>
            </a:solidFill>
          </a:ln>
        </p:spPr>
        <p:style>
          <a:lnRef idx="2">
            <a:schemeClr val="accent2"/>
          </a:lnRef>
          <a:fillRef idx="1">
            <a:schemeClr val="lt1"/>
          </a:fillRef>
          <a:effectRef idx="0">
            <a:schemeClr val="accent2"/>
          </a:effectRef>
          <a:fontRef idx="minor">
            <a:schemeClr val="dk1"/>
          </a:fontRef>
        </p:style>
        <p:txBody>
          <a:bodyPr wrap="square" lIns="92110" tIns="46055" rIns="92110" bIns="46055" rtlCol="0">
            <a:spAutoFit/>
          </a:bodyPr>
          <a:lstStyle/>
          <a:p>
            <a:r>
              <a:rPr lang="tr-TR" sz="1410" b="1" dirty="0">
                <a:solidFill>
                  <a:schemeClr val="accent6">
                    <a:lumMod val="75000"/>
                  </a:schemeClr>
                </a:solidFill>
              </a:rPr>
              <a:t>İŞGEM/TEKMER Programı</a:t>
            </a:r>
          </a:p>
        </p:txBody>
      </p:sp>
      <p:pic>
        <p:nvPicPr>
          <p:cNvPr id="21" name="Picture 3"/>
          <p:cNvPicPr>
            <a:picLocks noChangeAspect="1" noChangeArrowheads="1"/>
          </p:cNvPicPr>
          <p:nvPr/>
        </p:nvPicPr>
        <p:blipFill>
          <a:blip r:embed="rId7" cstate="print"/>
          <a:srcRect/>
          <a:stretch>
            <a:fillRect/>
          </a:stretch>
        </p:blipFill>
        <p:spPr bwMode="auto">
          <a:xfrm>
            <a:off x="333632" y="217942"/>
            <a:ext cx="919801" cy="648787"/>
          </a:xfrm>
          <a:prstGeom prst="rect">
            <a:avLst/>
          </a:prstGeom>
          <a:noFill/>
          <a:ln w="9525">
            <a:noFill/>
            <a:miter lim="800000"/>
            <a:headEnd/>
            <a:tailEnd/>
          </a:ln>
        </p:spPr>
      </p:pic>
    </p:spTree>
    <p:extLst>
      <p:ext uri="{BB962C8B-B14F-4D97-AF65-F5344CB8AC3E}">
        <p14:creationId xmlns:p14="http://schemas.microsoft.com/office/powerpoint/2010/main" val="221053758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20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CA" sz="1204"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168" name="Picture 3"/>
          <p:cNvPicPr>
            <a:picLocks noChangeAspect="1" noChangeArrowheads="1"/>
          </p:cNvPicPr>
          <p:nvPr/>
        </p:nvPicPr>
        <p:blipFill>
          <a:blip r:embed="rId10" cstate="print"/>
          <a:srcRect/>
          <a:stretch>
            <a:fillRect/>
          </a:stretch>
        </p:blipFill>
        <p:spPr bwMode="auto">
          <a:xfrm>
            <a:off x="10859643" y="345041"/>
            <a:ext cx="722757" cy="509801"/>
          </a:xfrm>
          <a:prstGeom prst="rect">
            <a:avLst/>
          </a:prstGeom>
          <a:noFill/>
          <a:ln w="9525">
            <a:noFill/>
            <a:miter lim="800000"/>
            <a:headEnd/>
            <a:tailEnd/>
          </a:ln>
        </p:spPr>
      </p:pic>
      <p:grpSp>
        <p:nvGrpSpPr>
          <p:cNvPr id="13" name="Grup 12"/>
          <p:cNvGrpSpPr/>
          <p:nvPr/>
        </p:nvGrpSpPr>
        <p:grpSpPr>
          <a:xfrm>
            <a:off x="0" y="5108267"/>
            <a:ext cx="12185119" cy="1775439"/>
            <a:chOff x="0" y="3190567"/>
            <a:chExt cx="12185119" cy="1775439"/>
          </a:xfrm>
        </p:grpSpPr>
        <p:pic>
          <p:nvPicPr>
            <p:cNvPr id="2" name="Resim 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335571" y="3190568"/>
              <a:ext cx="2862029" cy="1773439"/>
            </a:xfrm>
            <a:prstGeom prst="rect">
              <a:avLst/>
            </a:prstGeom>
          </p:spPr>
        </p:pic>
        <p:pic>
          <p:nvPicPr>
            <p:cNvPr id="8" name="Resim 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97600" y="3190568"/>
              <a:ext cx="3073401" cy="1775438"/>
            </a:xfrm>
            <a:prstGeom prst="rect">
              <a:avLst/>
            </a:prstGeom>
          </p:spPr>
        </p:pic>
        <p:pic>
          <p:nvPicPr>
            <p:cNvPr id="10" name="Resim 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271001" y="3190567"/>
              <a:ext cx="2914118" cy="1773439"/>
            </a:xfrm>
            <a:prstGeom prst="rect">
              <a:avLst/>
            </a:prstGeom>
          </p:spPr>
        </p:pic>
        <p:pic>
          <p:nvPicPr>
            <p:cNvPr id="12" name="Resim 11"/>
            <p:cNvPicPr>
              <a:picLocks noChangeAspect="1"/>
            </p:cNvPicPr>
            <p:nvPr/>
          </p:nvPicPr>
          <p:blipFill rotWithShape="1">
            <a:blip r:embed="rId14" cstate="print">
              <a:extLst>
                <a:ext uri="{28A0092B-C50C-407E-A947-70E740481C1C}">
                  <a14:useLocalDpi xmlns:a14="http://schemas.microsoft.com/office/drawing/2010/main" val="0"/>
                </a:ext>
              </a:extLst>
            </a:blip>
            <a:srcRect b="8154"/>
            <a:stretch/>
          </p:blipFill>
          <p:spPr>
            <a:xfrm>
              <a:off x="0" y="3190569"/>
              <a:ext cx="3335571" cy="1773438"/>
            </a:xfrm>
            <a:prstGeom prst="rect">
              <a:avLst/>
            </a:prstGeom>
          </p:spPr>
        </p:pic>
      </p:grpSp>
      <p:sp>
        <p:nvSpPr>
          <p:cNvPr id="83" name="Rectangle 45"/>
          <p:cNvSpPr/>
          <p:nvPr/>
        </p:nvSpPr>
        <p:spPr>
          <a:xfrm>
            <a:off x="444727" y="1175814"/>
            <a:ext cx="4598761" cy="4840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En az 1.000 m2 kapalı kullanım alanı </a:t>
            </a:r>
          </a:p>
        </p:txBody>
      </p:sp>
      <p:sp>
        <p:nvSpPr>
          <p:cNvPr id="84" name="Rectangle 46"/>
          <p:cNvSpPr/>
          <p:nvPr/>
        </p:nvSpPr>
        <p:spPr>
          <a:xfrm>
            <a:off x="409685" y="3835780"/>
            <a:ext cx="4633803" cy="781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D</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oluluk</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oranı</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program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başlangıç</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tarihinden</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itibaren</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2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inci</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yılın</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sonunda</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en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az</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50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olmalı</a:t>
            </a:r>
            <a:endPar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endParaRPr>
          </a:p>
        </p:txBody>
      </p:sp>
      <p:sp>
        <p:nvSpPr>
          <p:cNvPr id="85" name="Rectangle 47"/>
          <p:cNvSpPr/>
          <p:nvPr/>
        </p:nvSpPr>
        <p:spPr>
          <a:xfrm>
            <a:off x="435095" y="2247015"/>
            <a:ext cx="4608393" cy="996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Yönetim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ofisleri</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tr-TR"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o</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rtak</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çalışma</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alanı</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işlikler</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toplantı</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odası</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etkinlik</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alanı</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ile</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ortak</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kullanıma</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yönelik</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makine-teçhizat</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ve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yazılım</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için</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ayrılmış</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bağımsız</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bir</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alan</a:t>
            </a:r>
            <a:r>
              <a:rPr kumimoji="0" lang="tr-TR"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olmalı</a:t>
            </a:r>
            <a:endPar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endParaRPr>
          </a:p>
        </p:txBody>
      </p:sp>
      <p:sp>
        <p:nvSpPr>
          <p:cNvPr id="88" name="Rectangle 50"/>
          <p:cNvSpPr/>
          <p:nvPr/>
        </p:nvSpPr>
        <p:spPr>
          <a:xfrm>
            <a:off x="5545056" y="1257092"/>
            <a:ext cx="6385086" cy="7776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İşletici</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kuruluş</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program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süresinde</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bilanço</a:t>
            </a:r>
            <a:r>
              <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a:t>
            </a:r>
            <a:r>
              <a:rPr kumimoji="0" lang="en-US" sz="2000" b="0" i="0" u="none" strike="noStrike" kern="0" cap="none" spc="0" normalizeH="0" baseline="0" noProof="0" dirty="0" err="1">
                <a:ln>
                  <a:noFill/>
                </a:ln>
                <a:solidFill>
                  <a:prstClr val="white"/>
                </a:solidFill>
                <a:effectLst/>
                <a:uLnTx/>
                <a:uFillTx/>
                <a:latin typeface="Calibri" panose="020F0502020204030204" pitchFamily="34" charset="0"/>
                <a:ea typeface="+mn-ea"/>
                <a:cs typeface="Arial" pitchFamily="34" charset="0"/>
              </a:rPr>
              <a:t>kârını</a:t>
            </a:r>
            <a:r>
              <a:rPr kumimoji="0" lang="tr-TR"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rPr>
              <a:t> ortaklarına dağıtamaz</a:t>
            </a:r>
            <a:endPar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Arial" pitchFamily="34" charset="0"/>
            </a:endParaRPr>
          </a:p>
        </p:txBody>
      </p:sp>
      <p:sp>
        <p:nvSpPr>
          <p:cNvPr id="89" name="TextBox 57"/>
          <p:cNvSpPr txBox="1"/>
          <p:nvPr/>
        </p:nvSpPr>
        <p:spPr>
          <a:xfrm>
            <a:off x="5545056" y="2121777"/>
            <a:ext cx="6385086" cy="710066"/>
          </a:xfrm>
          <a:prstGeom prst="rect">
            <a:avLst/>
          </a:prstGeom>
          <a:noFill/>
        </p:spPr>
        <p:txBody>
          <a:bodyPr wrap="square" rtlCol="0">
            <a:spAutoFit/>
          </a:bodyPr>
          <a:lstStyle/>
          <a:p>
            <a:pPr marL="0" marR="0" lvl="0" indent="0" algn="l" defTabSz="914388" rtl="0" eaLnBrk="1" fontAlgn="auto" latinLnBrk="0" hangingPunct="1">
              <a:lnSpc>
                <a:spcPct val="100000"/>
              </a:lnSpc>
              <a:spcBef>
                <a:spcPts val="0"/>
              </a:spcBef>
              <a:spcAft>
                <a:spcPts val="0"/>
              </a:spcAft>
              <a:buClrTx/>
              <a:buSzTx/>
              <a:buFontTx/>
              <a:buNone/>
              <a:tabLst/>
              <a:defRPr/>
            </a:pPr>
            <a:r>
              <a:rPr kumimoji="0" lang="tr-TR" sz="2007" b="0" i="0" u="none" strike="noStrike" kern="1200" cap="none" spc="0" normalizeH="0" baseline="0" noProof="0" dirty="0">
                <a:ln>
                  <a:noFill/>
                </a:ln>
                <a:solidFill>
                  <a:prstClr val="white"/>
                </a:solidFill>
                <a:effectLst/>
                <a:uLnTx/>
                <a:uFillTx/>
                <a:latin typeface="Calibri"/>
                <a:ea typeface="+mn-ea"/>
                <a:cs typeface="+mn-cs"/>
              </a:rPr>
              <a:t>Girişimci ve işletmeye bir ar-ge veya </a:t>
            </a:r>
            <a:r>
              <a:rPr kumimoji="0" lang="tr-TR" sz="2007" b="0" i="0" u="none" strike="noStrike" kern="1200" cap="none" spc="0" normalizeH="0" baseline="0" noProof="0" dirty="0" err="1">
                <a:ln>
                  <a:noFill/>
                </a:ln>
                <a:solidFill>
                  <a:prstClr val="white"/>
                </a:solidFill>
                <a:effectLst/>
                <a:uLnTx/>
                <a:uFillTx/>
                <a:latin typeface="Calibri"/>
                <a:ea typeface="+mn-ea"/>
                <a:cs typeface="+mn-cs"/>
              </a:rPr>
              <a:t>inovasyon</a:t>
            </a:r>
            <a:r>
              <a:rPr kumimoji="0" lang="tr-TR" sz="2007" b="0" i="0" u="none" strike="noStrike" kern="1200" cap="none" spc="0" normalizeH="0" baseline="0" noProof="0" dirty="0">
                <a:ln>
                  <a:noFill/>
                </a:ln>
                <a:solidFill>
                  <a:prstClr val="white"/>
                </a:solidFill>
                <a:effectLst/>
                <a:uLnTx/>
                <a:uFillTx/>
                <a:latin typeface="Calibri"/>
                <a:ea typeface="+mn-ea"/>
                <a:cs typeface="+mn-cs"/>
              </a:rPr>
              <a:t> iş fikri veya projesi kapsamında yer tahsis edilir</a:t>
            </a:r>
            <a:endParaRPr kumimoji="0" lang="en-US" sz="2007" b="0" i="0" u="none" strike="noStrike" kern="1200" cap="none" spc="0" normalizeH="0" baseline="0" noProof="0" dirty="0">
              <a:ln>
                <a:noFill/>
              </a:ln>
              <a:solidFill>
                <a:prstClr val="white"/>
              </a:solidFill>
              <a:effectLst/>
              <a:uLnTx/>
              <a:uFillTx/>
              <a:latin typeface="Calibri"/>
              <a:ea typeface="+mn-ea"/>
              <a:cs typeface="+mn-cs"/>
            </a:endParaRPr>
          </a:p>
        </p:txBody>
      </p:sp>
      <p:sp>
        <p:nvSpPr>
          <p:cNvPr id="90" name="TextBox 58"/>
          <p:cNvSpPr txBox="1"/>
          <p:nvPr/>
        </p:nvSpPr>
        <p:spPr>
          <a:xfrm>
            <a:off x="5545056" y="3919221"/>
            <a:ext cx="6385086" cy="1018933"/>
          </a:xfrm>
          <a:prstGeom prst="rect">
            <a:avLst/>
          </a:prstGeom>
          <a:noFill/>
        </p:spPr>
        <p:txBody>
          <a:bodyPr wrap="square" rtlCol="0">
            <a:spAutoFit/>
          </a:bodyPr>
          <a:lstStyle/>
          <a:p>
            <a:pPr marL="0" marR="0" lvl="0" indent="0" algn="l" defTabSz="914388" rtl="0" eaLnBrk="1" fontAlgn="auto" latinLnBrk="0" hangingPunct="1">
              <a:lnSpc>
                <a:spcPct val="100000"/>
              </a:lnSpc>
              <a:spcBef>
                <a:spcPts val="0"/>
              </a:spcBef>
              <a:spcAft>
                <a:spcPts val="0"/>
              </a:spcAft>
              <a:buClrTx/>
              <a:buSzTx/>
              <a:buFontTx/>
              <a:buNone/>
              <a:tabLst/>
              <a:defRPr/>
            </a:pPr>
            <a:r>
              <a:rPr kumimoji="0" lang="tr-TR" sz="2007" b="0" i="0" u="none" strike="noStrike" kern="1200" cap="none" spc="0" normalizeH="0" baseline="0" noProof="0" dirty="0" err="1">
                <a:ln>
                  <a:noFill/>
                </a:ln>
                <a:solidFill>
                  <a:prstClr val="white"/>
                </a:solidFill>
                <a:effectLst/>
                <a:uLnTx/>
                <a:uFillTx/>
                <a:latin typeface="Calibri"/>
                <a:ea typeface="+mn-ea"/>
                <a:cs typeface="+mn-cs"/>
              </a:rPr>
              <a:t>TEKMER’e</a:t>
            </a:r>
            <a:r>
              <a:rPr kumimoji="0" lang="tr-TR" sz="2007" b="0" i="0" u="none" strike="noStrike" kern="1200" cap="none" spc="0" normalizeH="0" baseline="0" noProof="0" dirty="0">
                <a:ln>
                  <a:noFill/>
                </a:ln>
                <a:solidFill>
                  <a:prstClr val="white"/>
                </a:solidFill>
                <a:effectLst/>
                <a:uLnTx/>
                <a:uFillTx/>
                <a:latin typeface="Calibri"/>
                <a:ea typeface="+mn-ea"/>
                <a:cs typeface="+mn-cs"/>
              </a:rPr>
              <a:t> kabul şartını sağlamayan çapa işletmeler olabilir ve bu işletmeler en fazla toplam işlik alanının %30’unu oluşturabilir </a:t>
            </a:r>
            <a:endParaRPr kumimoji="0" lang="en-US" sz="2007" b="0" i="0" u="none" strike="noStrike" kern="1200" cap="none" spc="0" normalizeH="0" baseline="0" noProof="0" dirty="0">
              <a:ln>
                <a:noFill/>
              </a:ln>
              <a:solidFill>
                <a:prstClr val="white"/>
              </a:solidFill>
              <a:effectLst/>
              <a:uLnTx/>
              <a:uFillTx/>
              <a:latin typeface="Calibri"/>
              <a:ea typeface="+mn-ea"/>
              <a:cs typeface="+mn-cs"/>
            </a:endParaRPr>
          </a:p>
        </p:txBody>
      </p:sp>
      <p:sp>
        <p:nvSpPr>
          <p:cNvPr id="93" name="Dikdörtgen 92"/>
          <p:cNvSpPr/>
          <p:nvPr/>
        </p:nvSpPr>
        <p:spPr>
          <a:xfrm>
            <a:off x="435095" y="304825"/>
            <a:ext cx="5109961"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a:noFill/>
                </a:ln>
                <a:solidFill>
                  <a:srgbClr val="F79646"/>
                </a:solidFill>
                <a:effectLst/>
                <a:uLnTx/>
                <a:uFillTx/>
                <a:latin typeface="Times New Roman" panose="02020603050405020304" pitchFamily="18" charset="0"/>
                <a:ea typeface="+mn-ea"/>
                <a:cs typeface="Times New Roman" panose="02020603050405020304" pitchFamily="18" charset="0"/>
              </a:rPr>
              <a:t>KRİTERLER</a:t>
            </a:r>
            <a:endParaRPr kumimoji="0" lang="en-US" sz="2800" b="1" i="0" u="none" strike="noStrike" kern="1200" cap="none" spc="0" normalizeH="0" baseline="0" noProof="0" dirty="0">
              <a:ln>
                <a:noFill/>
              </a:ln>
              <a:solidFill>
                <a:srgbClr val="F79646"/>
              </a:solidFill>
              <a:effectLst/>
              <a:uLnTx/>
              <a:uFillTx/>
              <a:latin typeface="Times New Roman" panose="02020603050405020304" pitchFamily="18" charset="0"/>
              <a:ea typeface="+mn-ea"/>
              <a:cs typeface="Times New Roman" panose="02020603050405020304" pitchFamily="18" charset="0"/>
            </a:endParaRPr>
          </a:p>
        </p:txBody>
      </p:sp>
      <p:sp>
        <p:nvSpPr>
          <p:cNvPr id="20" name="Pin"/>
          <p:cNvSpPr>
            <a:spLocks noChangeAspect="1"/>
          </p:cNvSpPr>
          <p:nvPr>
            <p:custDataLst>
              <p:tags r:id="rId1"/>
            </p:custDataLst>
          </p:nvPr>
        </p:nvSpPr>
        <p:spPr bwMode="auto">
          <a:xfrm rot="-2700000">
            <a:off x="159368" y="1216675"/>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Pin"/>
          <p:cNvSpPr>
            <a:spLocks noChangeAspect="1"/>
          </p:cNvSpPr>
          <p:nvPr>
            <p:custDataLst>
              <p:tags r:id="rId2"/>
            </p:custDataLst>
          </p:nvPr>
        </p:nvSpPr>
        <p:spPr bwMode="auto">
          <a:xfrm rot="-2700000">
            <a:off x="159368" y="3797856"/>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Pin"/>
          <p:cNvSpPr>
            <a:spLocks noChangeAspect="1"/>
          </p:cNvSpPr>
          <p:nvPr>
            <p:custDataLst>
              <p:tags r:id="rId3"/>
            </p:custDataLst>
          </p:nvPr>
        </p:nvSpPr>
        <p:spPr bwMode="auto">
          <a:xfrm rot="-2700000">
            <a:off x="159368" y="1855545"/>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Pin"/>
          <p:cNvSpPr>
            <a:spLocks noChangeAspect="1"/>
          </p:cNvSpPr>
          <p:nvPr>
            <p:custDataLst>
              <p:tags r:id="rId4"/>
            </p:custDataLst>
          </p:nvPr>
        </p:nvSpPr>
        <p:spPr bwMode="auto">
          <a:xfrm rot="-2700000">
            <a:off x="5294739" y="1191631"/>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Pin"/>
          <p:cNvSpPr>
            <a:spLocks noChangeAspect="1"/>
          </p:cNvSpPr>
          <p:nvPr>
            <p:custDataLst>
              <p:tags r:id="rId5"/>
            </p:custDataLst>
          </p:nvPr>
        </p:nvSpPr>
        <p:spPr bwMode="auto">
          <a:xfrm rot="-2700000">
            <a:off x="5298639" y="2089611"/>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Pin"/>
          <p:cNvSpPr>
            <a:spLocks noChangeAspect="1"/>
          </p:cNvSpPr>
          <p:nvPr>
            <p:custDataLst>
              <p:tags r:id="rId6"/>
            </p:custDataLst>
          </p:nvPr>
        </p:nvSpPr>
        <p:spPr bwMode="auto">
          <a:xfrm rot="-2700000">
            <a:off x="5294739" y="3780038"/>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extBox 57"/>
          <p:cNvSpPr txBox="1"/>
          <p:nvPr/>
        </p:nvSpPr>
        <p:spPr>
          <a:xfrm>
            <a:off x="5541156" y="3089899"/>
            <a:ext cx="6385086" cy="401200"/>
          </a:xfrm>
          <a:prstGeom prst="rect">
            <a:avLst/>
          </a:prstGeom>
          <a:noFill/>
        </p:spPr>
        <p:txBody>
          <a:bodyPr wrap="square" rtlCol="0">
            <a:spAutoFit/>
          </a:bodyPr>
          <a:lstStyle/>
          <a:p>
            <a:pPr marL="0" marR="0" lvl="0" indent="0" algn="l" defTabSz="914388" rtl="0" eaLnBrk="1" fontAlgn="auto" latinLnBrk="0" hangingPunct="1">
              <a:lnSpc>
                <a:spcPct val="100000"/>
              </a:lnSpc>
              <a:spcBef>
                <a:spcPts val="0"/>
              </a:spcBef>
              <a:spcAft>
                <a:spcPts val="0"/>
              </a:spcAft>
              <a:buClrTx/>
              <a:buSzTx/>
              <a:buFontTx/>
              <a:buNone/>
              <a:tabLst/>
              <a:defRPr/>
            </a:pPr>
            <a:r>
              <a:rPr kumimoji="0" lang="tr-TR" sz="2007" b="0" i="0" u="none" strike="noStrike" kern="1200" cap="none" spc="0" normalizeH="0" baseline="0" noProof="0" dirty="0">
                <a:ln>
                  <a:noFill/>
                </a:ln>
                <a:solidFill>
                  <a:prstClr val="white"/>
                </a:solidFill>
                <a:effectLst/>
                <a:uLnTx/>
                <a:uFillTx/>
                <a:latin typeface="Calibri"/>
                <a:ea typeface="+mn-ea"/>
                <a:cs typeface="+mn-cs"/>
              </a:rPr>
              <a:t>Girişimci ve işletmelerde herhangi bir yaş sınırı aranmaz</a:t>
            </a:r>
            <a:endParaRPr kumimoji="0" lang="en-US" sz="2007" b="0" i="0" u="none" strike="noStrike" kern="1200" cap="none" spc="0" normalizeH="0" baseline="0" noProof="0" dirty="0">
              <a:ln>
                <a:noFill/>
              </a:ln>
              <a:solidFill>
                <a:prstClr val="white"/>
              </a:solidFill>
              <a:effectLst/>
              <a:uLnTx/>
              <a:uFillTx/>
              <a:latin typeface="Calibri"/>
              <a:ea typeface="+mn-ea"/>
              <a:cs typeface="+mn-cs"/>
            </a:endParaRPr>
          </a:p>
        </p:txBody>
      </p:sp>
      <p:sp>
        <p:nvSpPr>
          <p:cNvPr id="28" name="Pin"/>
          <p:cNvSpPr>
            <a:spLocks noChangeAspect="1"/>
          </p:cNvSpPr>
          <p:nvPr>
            <p:custDataLst>
              <p:tags r:id="rId7"/>
            </p:custDataLst>
          </p:nvPr>
        </p:nvSpPr>
        <p:spPr bwMode="auto">
          <a:xfrm rot="-2700000">
            <a:off x="5294739" y="3057733"/>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06426"/>
      </p:ext>
    </p:extLst>
  </p:cSld>
  <p:clrMapOvr>
    <a:masterClrMapping/>
  </p:clrMapOvr>
  <p:transition spd="slow">
    <p:push dir="u"/>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Başlık 1"/>
          <p:cNvSpPr txBox="1">
            <a:spLocks/>
          </p:cNvSpPr>
          <p:nvPr/>
        </p:nvSpPr>
        <p:spPr>
          <a:xfrm>
            <a:off x="3531968" y="548088"/>
            <a:ext cx="4228128" cy="722542"/>
          </a:xfrm>
          <a:prstGeom prst="rect">
            <a:avLst/>
          </a:prstGeom>
        </p:spPr>
        <p:txBody>
          <a:bodyPr vert="horz" lIns="76957" tIns="38479" rIns="76957" bIns="38479"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tr-TR" sz="2309" b="1" dirty="0">
                <a:solidFill>
                  <a:srgbClr val="0070C0"/>
                </a:solidFill>
              </a:rPr>
              <a:t>Destek Kalemleri</a:t>
            </a:r>
          </a:p>
        </p:txBody>
      </p:sp>
      <p:pic>
        <p:nvPicPr>
          <p:cNvPr id="83" name="Picture 3"/>
          <p:cNvPicPr>
            <a:picLocks noChangeAspect="1" noChangeArrowheads="1"/>
          </p:cNvPicPr>
          <p:nvPr/>
        </p:nvPicPr>
        <p:blipFill>
          <a:blip r:embed="rId23" cstate="print"/>
          <a:srcRect/>
          <a:stretch>
            <a:fillRect/>
          </a:stretch>
        </p:blipFill>
        <p:spPr bwMode="auto">
          <a:xfrm>
            <a:off x="9682015" y="345044"/>
            <a:ext cx="544083" cy="509801"/>
          </a:xfrm>
          <a:prstGeom prst="rect">
            <a:avLst/>
          </a:prstGeom>
          <a:noFill/>
          <a:ln w="9525">
            <a:noFill/>
            <a:miter lim="800000"/>
            <a:headEnd/>
            <a:tailEnd/>
          </a:ln>
        </p:spPr>
      </p:pic>
      <p:sp>
        <p:nvSpPr>
          <p:cNvPr id="47" name="Başlık 1"/>
          <p:cNvSpPr txBox="1">
            <a:spLocks/>
          </p:cNvSpPr>
          <p:nvPr/>
        </p:nvSpPr>
        <p:spPr>
          <a:xfrm>
            <a:off x="2031740" y="-260836"/>
            <a:ext cx="7650274" cy="1143000"/>
          </a:xfrm>
          <a:prstGeom prst="rect">
            <a:avLst/>
          </a:prstGeom>
        </p:spPr>
        <p:txBody>
          <a:bodyPr vert="horz" lIns="76957" tIns="38479" rIns="76957" bIns="38479"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tr-TR" sz="3212" b="1" dirty="0">
                <a:solidFill>
                  <a:srgbClr val="00BAD5"/>
                </a:solidFill>
                <a:latin typeface="Calibri" pitchFamily="34" charset="0"/>
                <a:ea typeface="ヒラギノ角ゴ Pro W3" pitchFamily="1" charset="-128"/>
              </a:rPr>
              <a:t>İŞGEM/TEKMER Destek Programı</a:t>
            </a:r>
          </a:p>
        </p:txBody>
      </p:sp>
      <p:grpSp>
        <p:nvGrpSpPr>
          <p:cNvPr id="10" name="Grup 9"/>
          <p:cNvGrpSpPr/>
          <p:nvPr/>
        </p:nvGrpSpPr>
        <p:grpSpPr>
          <a:xfrm>
            <a:off x="1711004" y="1280848"/>
            <a:ext cx="8801962" cy="4907578"/>
            <a:chOff x="270993" y="1433242"/>
            <a:chExt cx="11692483" cy="4907580"/>
          </a:xfrm>
        </p:grpSpPr>
        <p:sp>
          <p:nvSpPr>
            <p:cNvPr id="20" name="TextBox 19"/>
            <p:cNvSpPr txBox="1"/>
            <p:nvPr/>
          </p:nvSpPr>
          <p:spPr>
            <a:xfrm>
              <a:off x="363718" y="2782870"/>
              <a:ext cx="2172160" cy="1930756"/>
            </a:xfrm>
            <a:prstGeom prst="rect">
              <a:avLst/>
            </a:prstGeom>
            <a:noFill/>
          </p:spPr>
          <p:txBody>
            <a:bodyPr wrap="square" rtlCol="0">
              <a:spAutoFit/>
            </a:bodyPr>
            <a:lstStyle/>
            <a:p>
              <a:pPr algn="ctr" defTabSz="769548">
                <a:defRPr/>
              </a:pPr>
              <a:r>
                <a:rPr lang="en-US" sz="1706" b="1" kern="0" dirty="0">
                  <a:solidFill>
                    <a:srgbClr val="C0504D"/>
                  </a:solidFill>
                  <a:latin typeface="Calibri"/>
                </a:rPr>
                <a:t>ORTAK KULLANIMA YÖNELİK MAKİNE-TEÇHİZAT VE YAZILIM</a:t>
              </a:r>
            </a:p>
            <a:p>
              <a:pPr algn="ctr" defTabSz="769548">
                <a:defRPr/>
              </a:pPr>
              <a:endParaRPr lang="en-US" sz="1706" b="1" kern="0" dirty="0">
                <a:solidFill>
                  <a:srgbClr val="C0504D"/>
                </a:solidFill>
                <a:latin typeface="Calibri"/>
              </a:endParaRPr>
            </a:p>
          </p:txBody>
        </p:sp>
        <p:sp>
          <p:nvSpPr>
            <p:cNvPr id="30" name="Pentagon 29"/>
            <p:cNvSpPr/>
            <p:nvPr/>
          </p:nvSpPr>
          <p:spPr>
            <a:xfrm>
              <a:off x="282358" y="1441319"/>
              <a:ext cx="2481739" cy="1277359"/>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9548">
                <a:defRPr/>
              </a:pPr>
              <a:endParaRPr lang="en-US" sz="1807" kern="0" dirty="0">
                <a:solidFill>
                  <a:prstClr val="white"/>
                </a:solidFill>
              </a:endParaRPr>
            </a:p>
          </p:txBody>
        </p:sp>
        <p:cxnSp>
          <p:nvCxnSpPr>
            <p:cNvPr id="14" name="Straight Connector 13"/>
            <p:cNvCxnSpPr/>
            <p:nvPr/>
          </p:nvCxnSpPr>
          <p:spPr>
            <a:xfrm flipH="1">
              <a:off x="282359" y="1445358"/>
              <a:ext cx="0" cy="4802007"/>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5" name="POWER_USER_ID_ICONS_Industrial_Press"/>
            <p:cNvGrpSpPr>
              <a:grpSpLocks noChangeAspect="1"/>
            </p:cNvGrpSpPr>
            <p:nvPr>
              <p:custDataLst>
                <p:tags r:id="rId2"/>
              </p:custDataLst>
            </p:nvPr>
          </p:nvGrpSpPr>
          <p:grpSpPr bwMode="auto">
            <a:xfrm>
              <a:off x="717961" y="1570753"/>
              <a:ext cx="971839" cy="1018490"/>
              <a:chOff x="8" y="8"/>
              <a:chExt cx="476" cy="477"/>
            </a:xfrm>
            <a:solidFill>
              <a:schemeClr val="bg1"/>
            </a:solidFill>
          </p:grpSpPr>
          <p:sp>
            <p:nvSpPr>
              <p:cNvPr id="26" name="POWER_USER_ID_ICONS_Industrial_Press"/>
              <p:cNvSpPr>
                <a:spLocks noChangeArrowheads="1"/>
              </p:cNvSpPr>
              <p:nvPr>
                <p:custDataLst>
                  <p:tags r:id="rId11"/>
                </p:custDataLst>
              </p:nvPr>
            </p:nvSpPr>
            <p:spPr bwMode="auto">
              <a:xfrm>
                <a:off x="420" y="207"/>
                <a:ext cx="16" cy="16"/>
              </a:xfrm>
              <a:prstGeom prst="rect">
                <a:avLst/>
              </a:prstGeom>
              <a:grpFill/>
              <a:ln w="0">
                <a:noFill/>
                <a:prstDash val="solid"/>
                <a:miter lim="800000"/>
                <a:headEnd/>
                <a:tailEnd/>
              </a:ln>
            </p:spPr>
            <p:txBody>
              <a:bodyPr vert="horz" wrap="square" lIns="91780" tIns="45890" rIns="91780" bIns="45890" numCol="1" anchor="t" anchorCtr="0" compatLnSpc="1">
                <a:prstTxWarp prst="textNoShape">
                  <a:avLst/>
                </a:prstTxWarp>
              </a:bodyPr>
              <a:lstStyle/>
              <a:p>
                <a:pPr defTabSz="769548">
                  <a:defRPr/>
                </a:pPr>
                <a:endParaRPr lang="en-US" sz="1807" kern="0" dirty="0">
                  <a:solidFill>
                    <a:sysClr val="windowText" lastClr="000000"/>
                  </a:solidFill>
                  <a:latin typeface="Calibri"/>
                </a:endParaRPr>
              </a:p>
            </p:txBody>
          </p:sp>
          <p:sp>
            <p:nvSpPr>
              <p:cNvPr id="31" name="POWER_USER_ID_ICONS_Industrial_Press"/>
              <p:cNvSpPr>
                <a:spLocks noChangeArrowheads="1"/>
              </p:cNvSpPr>
              <p:nvPr>
                <p:custDataLst>
                  <p:tags r:id="rId12"/>
                </p:custDataLst>
              </p:nvPr>
            </p:nvSpPr>
            <p:spPr bwMode="auto">
              <a:xfrm>
                <a:off x="357" y="207"/>
                <a:ext cx="16" cy="16"/>
              </a:xfrm>
              <a:prstGeom prst="rect">
                <a:avLst/>
              </a:prstGeom>
              <a:grpFill/>
              <a:ln w="0">
                <a:noFill/>
                <a:prstDash val="solid"/>
                <a:miter lim="800000"/>
                <a:headEnd/>
                <a:tailEnd/>
              </a:ln>
            </p:spPr>
            <p:txBody>
              <a:bodyPr vert="horz" wrap="square" lIns="91780" tIns="45890" rIns="91780" bIns="45890" numCol="1" anchor="t" anchorCtr="0" compatLnSpc="1">
                <a:prstTxWarp prst="textNoShape">
                  <a:avLst/>
                </a:prstTxWarp>
              </a:bodyPr>
              <a:lstStyle/>
              <a:p>
                <a:pPr defTabSz="769548">
                  <a:defRPr/>
                </a:pPr>
                <a:endParaRPr lang="en-US" sz="1807" kern="0" dirty="0">
                  <a:solidFill>
                    <a:sysClr val="windowText" lastClr="000000"/>
                  </a:solidFill>
                  <a:latin typeface="Calibri"/>
                </a:endParaRPr>
              </a:p>
            </p:txBody>
          </p:sp>
          <p:sp>
            <p:nvSpPr>
              <p:cNvPr id="32" name="POWER_USER_ID_ICONS_Industrial_Press"/>
              <p:cNvSpPr>
                <a:spLocks noChangeArrowheads="1"/>
              </p:cNvSpPr>
              <p:nvPr>
                <p:custDataLst>
                  <p:tags r:id="rId13"/>
                </p:custDataLst>
              </p:nvPr>
            </p:nvSpPr>
            <p:spPr bwMode="auto">
              <a:xfrm>
                <a:off x="357" y="56"/>
                <a:ext cx="79" cy="47"/>
              </a:xfrm>
              <a:prstGeom prst="rect">
                <a:avLst/>
              </a:prstGeom>
              <a:grpFill/>
              <a:ln w="0">
                <a:noFill/>
                <a:prstDash val="solid"/>
                <a:miter lim="800000"/>
                <a:headEnd/>
                <a:tailEnd/>
              </a:ln>
            </p:spPr>
            <p:txBody>
              <a:bodyPr vert="horz" wrap="square" lIns="91780" tIns="45890" rIns="91780" bIns="45890" numCol="1" anchor="t" anchorCtr="0" compatLnSpc="1">
                <a:prstTxWarp prst="textNoShape">
                  <a:avLst/>
                </a:prstTxWarp>
              </a:bodyPr>
              <a:lstStyle/>
              <a:p>
                <a:pPr defTabSz="769548">
                  <a:defRPr/>
                </a:pPr>
                <a:endParaRPr lang="en-US" sz="1807" kern="0" dirty="0">
                  <a:solidFill>
                    <a:sysClr val="windowText" lastClr="000000"/>
                  </a:solidFill>
                  <a:latin typeface="Calibri"/>
                </a:endParaRPr>
              </a:p>
            </p:txBody>
          </p:sp>
          <p:sp>
            <p:nvSpPr>
              <p:cNvPr id="33" name="POWER_USER_ID_ICONS_Industrial_Press"/>
              <p:cNvSpPr>
                <a:spLocks noChangeArrowheads="1"/>
              </p:cNvSpPr>
              <p:nvPr>
                <p:custDataLst>
                  <p:tags r:id="rId14"/>
                </p:custDataLst>
              </p:nvPr>
            </p:nvSpPr>
            <p:spPr bwMode="auto">
              <a:xfrm>
                <a:off x="270" y="310"/>
                <a:ext cx="16" cy="16"/>
              </a:xfrm>
              <a:prstGeom prst="ellipse">
                <a:avLst/>
              </a:pr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defRPr/>
                </a:pPr>
                <a:endParaRPr lang="en-US" sz="1807" kern="0" dirty="0">
                  <a:solidFill>
                    <a:sysClr val="windowText" lastClr="000000"/>
                  </a:solidFill>
                  <a:latin typeface="Calibri"/>
                </a:endParaRPr>
              </a:p>
            </p:txBody>
          </p:sp>
          <p:sp>
            <p:nvSpPr>
              <p:cNvPr id="34" name="POWER_USER_ID_ICONS_Industrial_Press"/>
              <p:cNvSpPr>
                <a:spLocks noChangeArrowheads="1"/>
              </p:cNvSpPr>
              <p:nvPr>
                <p:custDataLst>
                  <p:tags r:id="rId15"/>
                </p:custDataLst>
              </p:nvPr>
            </p:nvSpPr>
            <p:spPr bwMode="auto">
              <a:xfrm>
                <a:off x="206" y="310"/>
                <a:ext cx="16" cy="16"/>
              </a:xfrm>
              <a:prstGeom prst="ellipse">
                <a:avLst/>
              </a:pr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defRPr/>
                </a:pPr>
                <a:endParaRPr lang="en-US" sz="1807" kern="0" dirty="0">
                  <a:solidFill>
                    <a:sysClr val="windowText" lastClr="000000"/>
                  </a:solidFill>
                  <a:latin typeface="Calibri"/>
                </a:endParaRPr>
              </a:p>
            </p:txBody>
          </p:sp>
          <p:sp>
            <p:nvSpPr>
              <p:cNvPr id="35" name="POWER_USER_ID_ICONS_Industrial_Press"/>
              <p:cNvSpPr>
                <a:spLocks noChangeArrowheads="1"/>
              </p:cNvSpPr>
              <p:nvPr>
                <p:custDataLst>
                  <p:tags r:id="rId16"/>
                </p:custDataLst>
              </p:nvPr>
            </p:nvSpPr>
            <p:spPr bwMode="auto">
              <a:xfrm>
                <a:off x="143" y="310"/>
                <a:ext cx="16" cy="16"/>
              </a:xfrm>
              <a:prstGeom prst="ellipse">
                <a:avLst/>
              </a:pr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defRPr/>
                </a:pPr>
                <a:endParaRPr lang="en-US" sz="1807" kern="0" dirty="0">
                  <a:solidFill>
                    <a:sysClr val="windowText" lastClr="000000"/>
                  </a:solidFill>
                  <a:latin typeface="Calibri"/>
                </a:endParaRPr>
              </a:p>
            </p:txBody>
          </p:sp>
          <p:sp>
            <p:nvSpPr>
              <p:cNvPr id="36" name="POWER_USER_ID_ICONS_Industrial_Press"/>
              <p:cNvSpPr>
                <a:spLocks noChangeArrowheads="1"/>
              </p:cNvSpPr>
              <p:nvPr>
                <p:custDataLst>
                  <p:tags r:id="rId17"/>
                </p:custDataLst>
              </p:nvPr>
            </p:nvSpPr>
            <p:spPr bwMode="auto">
              <a:xfrm>
                <a:off x="333" y="310"/>
                <a:ext cx="16" cy="16"/>
              </a:xfrm>
              <a:prstGeom prst="ellipse">
                <a:avLst/>
              </a:pr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defRPr/>
                </a:pPr>
                <a:endParaRPr lang="en-US" sz="1807" kern="0" dirty="0">
                  <a:solidFill>
                    <a:sysClr val="windowText" lastClr="000000"/>
                  </a:solidFill>
                  <a:latin typeface="Calibri"/>
                </a:endParaRPr>
              </a:p>
            </p:txBody>
          </p:sp>
          <p:sp>
            <p:nvSpPr>
              <p:cNvPr id="37" name="POWER_USER_ID_ICONS_Industrial_Press"/>
              <p:cNvSpPr>
                <a:spLocks noChangeArrowheads="1"/>
              </p:cNvSpPr>
              <p:nvPr>
                <p:custDataLst>
                  <p:tags r:id="rId18"/>
                </p:custDataLst>
              </p:nvPr>
            </p:nvSpPr>
            <p:spPr bwMode="auto">
              <a:xfrm>
                <a:off x="80" y="310"/>
                <a:ext cx="15" cy="16"/>
              </a:xfrm>
              <a:prstGeom prst="ellipse">
                <a:avLst/>
              </a:pr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defRPr/>
                </a:pPr>
                <a:endParaRPr lang="en-US" sz="1807" kern="0" dirty="0">
                  <a:solidFill>
                    <a:sysClr val="windowText" lastClr="000000"/>
                  </a:solidFill>
                  <a:latin typeface="Calibri"/>
                </a:endParaRPr>
              </a:p>
            </p:txBody>
          </p:sp>
          <p:sp>
            <p:nvSpPr>
              <p:cNvPr id="38" name="POWER_USER_ID_ICONS_Industrial_Press"/>
              <p:cNvSpPr>
                <a:spLocks noChangeArrowheads="1"/>
              </p:cNvSpPr>
              <p:nvPr>
                <p:custDataLst>
                  <p:tags r:id="rId19"/>
                </p:custDataLst>
              </p:nvPr>
            </p:nvSpPr>
            <p:spPr bwMode="auto">
              <a:xfrm>
                <a:off x="397" y="310"/>
                <a:ext cx="16" cy="16"/>
              </a:xfrm>
              <a:prstGeom prst="ellipse">
                <a:avLst/>
              </a:pr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defRPr/>
                </a:pPr>
                <a:endParaRPr lang="en-US" sz="1807" kern="0" dirty="0">
                  <a:solidFill>
                    <a:sysClr val="windowText" lastClr="000000"/>
                  </a:solidFill>
                  <a:latin typeface="Calibri"/>
                </a:endParaRPr>
              </a:p>
            </p:txBody>
          </p:sp>
          <p:sp>
            <p:nvSpPr>
              <p:cNvPr id="39" name="POWER_USER_ID_ICONS_Industrial_Press"/>
              <p:cNvSpPr>
                <a:spLocks noEditPoints="1"/>
              </p:cNvSpPr>
              <p:nvPr>
                <p:custDataLst>
                  <p:tags r:id="rId20"/>
                </p:custDataLst>
              </p:nvPr>
            </p:nvSpPr>
            <p:spPr bwMode="auto">
              <a:xfrm>
                <a:off x="8" y="8"/>
                <a:ext cx="476" cy="477"/>
              </a:xfrm>
              <a:custGeom>
                <a:avLst/>
                <a:gdLst>
                  <a:gd name="T0" fmla="*/ 375 w 750"/>
                  <a:gd name="T1" fmla="*/ 0 h 750"/>
                  <a:gd name="T2" fmla="*/ 13 w 750"/>
                  <a:gd name="T3" fmla="*/ 0 h 750"/>
                  <a:gd name="T4" fmla="*/ 0 w 750"/>
                  <a:gd name="T5" fmla="*/ 563 h 750"/>
                  <a:gd name="T6" fmla="*/ 38 w 750"/>
                  <a:gd name="T7" fmla="*/ 725 h 750"/>
                  <a:gd name="T8" fmla="*/ 13 w 750"/>
                  <a:gd name="T9" fmla="*/ 750 h 750"/>
                  <a:gd name="T10" fmla="*/ 625 w 750"/>
                  <a:gd name="T11" fmla="*/ 750 h 750"/>
                  <a:gd name="T12" fmla="*/ 750 w 750"/>
                  <a:gd name="T13" fmla="*/ 738 h 750"/>
                  <a:gd name="T14" fmla="*/ 713 w 750"/>
                  <a:gd name="T15" fmla="*/ 575 h 750"/>
                  <a:gd name="T16" fmla="*/ 750 w 750"/>
                  <a:gd name="T17" fmla="*/ 413 h 750"/>
                  <a:gd name="T18" fmla="*/ 525 w 750"/>
                  <a:gd name="T19" fmla="*/ 213 h 750"/>
                  <a:gd name="T20" fmla="*/ 550 w 750"/>
                  <a:gd name="T21" fmla="*/ 250 h 750"/>
                  <a:gd name="T22" fmla="*/ 525 w 750"/>
                  <a:gd name="T23" fmla="*/ 213 h 750"/>
                  <a:gd name="T24" fmla="*/ 588 w 750"/>
                  <a:gd name="T25" fmla="*/ 288 h 750"/>
                  <a:gd name="T26" fmla="*/ 588 w 750"/>
                  <a:gd name="T27" fmla="*/ 363 h 750"/>
                  <a:gd name="T28" fmla="*/ 525 w 750"/>
                  <a:gd name="T29" fmla="*/ 300 h 750"/>
                  <a:gd name="T30" fmla="*/ 588 w 750"/>
                  <a:gd name="T31" fmla="*/ 200 h 750"/>
                  <a:gd name="T32" fmla="*/ 588 w 750"/>
                  <a:gd name="T33" fmla="*/ 263 h 750"/>
                  <a:gd name="T34" fmla="*/ 563 w 750"/>
                  <a:gd name="T35" fmla="*/ 488 h 750"/>
                  <a:gd name="T36" fmla="*/ 525 w 750"/>
                  <a:gd name="T37" fmla="*/ 450 h 750"/>
                  <a:gd name="T38" fmla="*/ 188 w 750"/>
                  <a:gd name="T39" fmla="*/ 138 h 750"/>
                  <a:gd name="T40" fmla="*/ 213 w 750"/>
                  <a:gd name="T41" fmla="*/ 216 h 750"/>
                  <a:gd name="T42" fmla="*/ 236 w 750"/>
                  <a:gd name="T43" fmla="*/ 263 h 750"/>
                  <a:gd name="T44" fmla="*/ 336 w 750"/>
                  <a:gd name="T45" fmla="*/ 263 h 750"/>
                  <a:gd name="T46" fmla="*/ 360 w 750"/>
                  <a:gd name="T47" fmla="*/ 216 h 750"/>
                  <a:gd name="T48" fmla="*/ 385 w 750"/>
                  <a:gd name="T49" fmla="*/ 138 h 750"/>
                  <a:gd name="T50" fmla="*/ 472 w 750"/>
                  <a:gd name="T51" fmla="*/ 400 h 750"/>
                  <a:gd name="T52" fmla="*/ 372 w 750"/>
                  <a:gd name="T53" fmla="*/ 338 h 750"/>
                  <a:gd name="T54" fmla="*/ 188 w 750"/>
                  <a:gd name="T55" fmla="*/ 400 h 750"/>
                  <a:gd name="T56" fmla="*/ 463 w 750"/>
                  <a:gd name="T57" fmla="*/ 488 h 750"/>
                  <a:gd name="T58" fmla="*/ 425 w 750"/>
                  <a:gd name="T59" fmla="*/ 450 h 750"/>
                  <a:gd name="T60" fmla="*/ 325 w 750"/>
                  <a:gd name="T61" fmla="*/ 525 h 750"/>
                  <a:gd name="T62" fmla="*/ 363 w 750"/>
                  <a:gd name="T63" fmla="*/ 488 h 750"/>
                  <a:gd name="T64" fmla="*/ 188 w 750"/>
                  <a:gd name="T65" fmla="*/ 488 h 750"/>
                  <a:gd name="T66" fmla="*/ 113 w 750"/>
                  <a:gd name="T67" fmla="*/ 725 h 750"/>
                  <a:gd name="T68" fmla="*/ 113 w 750"/>
                  <a:gd name="T69" fmla="*/ 575 h 750"/>
                  <a:gd name="T70" fmla="*/ 125 w 750"/>
                  <a:gd name="T71" fmla="*/ 450 h 750"/>
                  <a:gd name="T72" fmla="*/ 88 w 750"/>
                  <a:gd name="T73" fmla="*/ 488 h 750"/>
                  <a:gd name="T74" fmla="*/ 138 w 750"/>
                  <a:gd name="T75" fmla="*/ 575 h 750"/>
                  <a:gd name="T76" fmla="*/ 588 w 750"/>
                  <a:gd name="T77" fmla="*/ 488 h 750"/>
                  <a:gd name="T78" fmla="*/ 625 w 750"/>
                  <a:gd name="T79" fmla="*/ 525 h 750"/>
                  <a:gd name="T80" fmla="*/ 638 w 750"/>
                  <a:gd name="T81" fmla="*/ 725 h 750"/>
                  <a:gd name="T82" fmla="*/ 688 w 750"/>
                  <a:gd name="T83" fmla="*/ 725 h 750"/>
                  <a:gd name="T84" fmla="*/ 638 w 750"/>
                  <a:gd name="T85" fmla="*/ 363 h 750"/>
                  <a:gd name="T86" fmla="*/ 638 w 750"/>
                  <a:gd name="T87" fmla="*/ 288 h 750"/>
                  <a:gd name="T88" fmla="*/ 700 w 750"/>
                  <a:gd name="T89" fmla="*/ 350 h 750"/>
                  <a:gd name="T90" fmla="*/ 638 w 750"/>
                  <a:gd name="T91" fmla="*/ 200 h 750"/>
                  <a:gd name="T92" fmla="*/ 638 w 750"/>
                  <a:gd name="T93" fmla="*/ 263 h 750"/>
                  <a:gd name="T94" fmla="*/ 688 w 750"/>
                  <a:gd name="T95" fmla="*/ 263 h 750"/>
                  <a:gd name="T96" fmla="*/ 688 w 750"/>
                  <a:gd name="T97" fmla="*/ 200 h 750"/>
                  <a:gd name="T98" fmla="*/ 700 w 750"/>
                  <a:gd name="T99" fmla="*/ 163 h 750"/>
                  <a:gd name="T100" fmla="*/ 525 w 750"/>
                  <a:gd name="T101" fmla="*/ 163 h 750"/>
                  <a:gd name="T102" fmla="*/ 688 w 750"/>
                  <a:gd name="T103" fmla="*/ 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50" h="750">
                    <a:moveTo>
                      <a:pt x="738" y="0"/>
                    </a:moveTo>
                    <a:lnTo>
                      <a:pt x="488" y="0"/>
                    </a:lnTo>
                    <a:lnTo>
                      <a:pt x="375" y="0"/>
                    </a:lnTo>
                    <a:lnTo>
                      <a:pt x="200" y="0"/>
                    </a:lnTo>
                    <a:lnTo>
                      <a:pt x="88" y="0"/>
                    </a:lnTo>
                    <a:lnTo>
                      <a:pt x="13" y="0"/>
                    </a:lnTo>
                    <a:cubicBezTo>
                      <a:pt x="5" y="0"/>
                      <a:pt x="0" y="5"/>
                      <a:pt x="0" y="13"/>
                    </a:cubicBezTo>
                    <a:lnTo>
                      <a:pt x="0" y="413"/>
                    </a:lnTo>
                    <a:lnTo>
                      <a:pt x="0" y="563"/>
                    </a:lnTo>
                    <a:cubicBezTo>
                      <a:pt x="0" y="570"/>
                      <a:pt x="5" y="575"/>
                      <a:pt x="13" y="575"/>
                    </a:cubicBezTo>
                    <a:lnTo>
                      <a:pt x="38" y="575"/>
                    </a:lnTo>
                    <a:lnTo>
                      <a:pt x="38" y="725"/>
                    </a:lnTo>
                    <a:lnTo>
                      <a:pt x="13" y="725"/>
                    </a:lnTo>
                    <a:cubicBezTo>
                      <a:pt x="5" y="725"/>
                      <a:pt x="0" y="730"/>
                      <a:pt x="0" y="738"/>
                    </a:cubicBezTo>
                    <a:cubicBezTo>
                      <a:pt x="0" y="745"/>
                      <a:pt x="5" y="750"/>
                      <a:pt x="13" y="750"/>
                    </a:cubicBezTo>
                    <a:lnTo>
                      <a:pt x="50" y="750"/>
                    </a:lnTo>
                    <a:lnTo>
                      <a:pt x="125" y="750"/>
                    </a:lnTo>
                    <a:lnTo>
                      <a:pt x="625" y="750"/>
                    </a:lnTo>
                    <a:lnTo>
                      <a:pt x="700" y="750"/>
                    </a:lnTo>
                    <a:lnTo>
                      <a:pt x="738" y="750"/>
                    </a:lnTo>
                    <a:cubicBezTo>
                      <a:pt x="745" y="750"/>
                      <a:pt x="750" y="745"/>
                      <a:pt x="750" y="738"/>
                    </a:cubicBezTo>
                    <a:cubicBezTo>
                      <a:pt x="750" y="730"/>
                      <a:pt x="745" y="725"/>
                      <a:pt x="738" y="725"/>
                    </a:cubicBezTo>
                    <a:lnTo>
                      <a:pt x="713" y="725"/>
                    </a:lnTo>
                    <a:lnTo>
                      <a:pt x="713" y="575"/>
                    </a:lnTo>
                    <a:lnTo>
                      <a:pt x="738" y="575"/>
                    </a:lnTo>
                    <a:cubicBezTo>
                      <a:pt x="745" y="575"/>
                      <a:pt x="750" y="570"/>
                      <a:pt x="750" y="563"/>
                    </a:cubicBezTo>
                    <a:lnTo>
                      <a:pt x="750" y="413"/>
                    </a:lnTo>
                    <a:lnTo>
                      <a:pt x="750" y="13"/>
                    </a:lnTo>
                    <a:cubicBezTo>
                      <a:pt x="750" y="5"/>
                      <a:pt x="745" y="0"/>
                      <a:pt x="738" y="0"/>
                    </a:cubicBezTo>
                    <a:close/>
                    <a:moveTo>
                      <a:pt x="525" y="213"/>
                    </a:moveTo>
                    <a:cubicBezTo>
                      <a:pt x="525" y="205"/>
                      <a:pt x="530" y="200"/>
                      <a:pt x="538" y="200"/>
                    </a:cubicBezTo>
                    <a:cubicBezTo>
                      <a:pt x="545" y="200"/>
                      <a:pt x="550" y="205"/>
                      <a:pt x="550" y="213"/>
                    </a:cubicBezTo>
                    <a:lnTo>
                      <a:pt x="550" y="250"/>
                    </a:lnTo>
                    <a:cubicBezTo>
                      <a:pt x="550" y="258"/>
                      <a:pt x="545" y="263"/>
                      <a:pt x="538" y="263"/>
                    </a:cubicBezTo>
                    <a:cubicBezTo>
                      <a:pt x="530" y="263"/>
                      <a:pt x="525" y="258"/>
                      <a:pt x="525" y="250"/>
                    </a:cubicBezTo>
                    <a:lnTo>
                      <a:pt x="525" y="213"/>
                    </a:lnTo>
                    <a:close/>
                    <a:moveTo>
                      <a:pt x="525" y="300"/>
                    </a:moveTo>
                    <a:cubicBezTo>
                      <a:pt x="525" y="293"/>
                      <a:pt x="530" y="288"/>
                      <a:pt x="538" y="288"/>
                    </a:cubicBezTo>
                    <a:lnTo>
                      <a:pt x="588" y="288"/>
                    </a:lnTo>
                    <a:cubicBezTo>
                      <a:pt x="595" y="288"/>
                      <a:pt x="600" y="293"/>
                      <a:pt x="600" y="300"/>
                    </a:cubicBezTo>
                    <a:lnTo>
                      <a:pt x="600" y="350"/>
                    </a:lnTo>
                    <a:cubicBezTo>
                      <a:pt x="600" y="358"/>
                      <a:pt x="595" y="363"/>
                      <a:pt x="588" y="363"/>
                    </a:cubicBezTo>
                    <a:lnTo>
                      <a:pt x="538" y="363"/>
                    </a:lnTo>
                    <a:cubicBezTo>
                      <a:pt x="530" y="363"/>
                      <a:pt x="525" y="358"/>
                      <a:pt x="525" y="350"/>
                    </a:cubicBezTo>
                    <a:lnTo>
                      <a:pt x="525" y="300"/>
                    </a:lnTo>
                    <a:close/>
                    <a:moveTo>
                      <a:pt x="575" y="250"/>
                    </a:moveTo>
                    <a:lnTo>
                      <a:pt x="575" y="213"/>
                    </a:lnTo>
                    <a:cubicBezTo>
                      <a:pt x="575" y="205"/>
                      <a:pt x="580" y="200"/>
                      <a:pt x="588" y="200"/>
                    </a:cubicBezTo>
                    <a:cubicBezTo>
                      <a:pt x="595" y="200"/>
                      <a:pt x="600" y="205"/>
                      <a:pt x="600" y="213"/>
                    </a:cubicBezTo>
                    <a:lnTo>
                      <a:pt x="600" y="250"/>
                    </a:lnTo>
                    <a:cubicBezTo>
                      <a:pt x="600" y="258"/>
                      <a:pt x="595" y="263"/>
                      <a:pt x="588" y="263"/>
                    </a:cubicBezTo>
                    <a:cubicBezTo>
                      <a:pt x="580" y="263"/>
                      <a:pt x="575" y="258"/>
                      <a:pt x="575" y="250"/>
                    </a:cubicBezTo>
                    <a:close/>
                    <a:moveTo>
                      <a:pt x="525" y="450"/>
                    </a:moveTo>
                    <a:cubicBezTo>
                      <a:pt x="546" y="450"/>
                      <a:pt x="563" y="466"/>
                      <a:pt x="563" y="488"/>
                    </a:cubicBezTo>
                    <a:cubicBezTo>
                      <a:pt x="563" y="509"/>
                      <a:pt x="546" y="525"/>
                      <a:pt x="525" y="525"/>
                    </a:cubicBezTo>
                    <a:cubicBezTo>
                      <a:pt x="504" y="525"/>
                      <a:pt x="488" y="509"/>
                      <a:pt x="488" y="488"/>
                    </a:cubicBezTo>
                    <a:cubicBezTo>
                      <a:pt x="488" y="466"/>
                      <a:pt x="504" y="450"/>
                      <a:pt x="525" y="450"/>
                    </a:cubicBezTo>
                    <a:close/>
                    <a:moveTo>
                      <a:pt x="100" y="25"/>
                    </a:moveTo>
                    <a:lnTo>
                      <a:pt x="188" y="25"/>
                    </a:lnTo>
                    <a:lnTo>
                      <a:pt x="188" y="138"/>
                    </a:lnTo>
                    <a:lnTo>
                      <a:pt x="188" y="138"/>
                    </a:lnTo>
                    <a:lnTo>
                      <a:pt x="188" y="141"/>
                    </a:lnTo>
                    <a:lnTo>
                      <a:pt x="213" y="216"/>
                    </a:lnTo>
                    <a:cubicBezTo>
                      <a:pt x="214" y="221"/>
                      <a:pt x="219" y="225"/>
                      <a:pt x="224" y="225"/>
                    </a:cubicBezTo>
                    <a:lnTo>
                      <a:pt x="236" y="225"/>
                    </a:lnTo>
                    <a:lnTo>
                      <a:pt x="236" y="263"/>
                    </a:lnTo>
                    <a:cubicBezTo>
                      <a:pt x="236" y="270"/>
                      <a:pt x="241" y="275"/>
                      <a:pt x="249" y="275"/>
                    </a:cubicBezTo>
                    <a:lnTo>
                      <a:pt x="324" y="275"/>
                    </a:lnTo>
                    <a:cubicBezTo>
                      <a:pt x="331" y="275"/>
                      <a:pt x="336" y="270"/>
                      <a:pt x="336" y="263"/>
                    </a:cubicBezTo>
                    <a:lnTo>
                      <a:pt x="336" y="225"/>
                    </a:lnTo>
                    <a:lnTo>
                      <a:pt x="349" y="225"/>
                    </a:lnTo>
                    <a:cubicBezTo>
                      <a:pt x="354" y="225"/>
                      <a:pt x="359" y="221"/>
                      <a:pt x="360" y="216"/>
                    </a:cubicBezTo>
                    <a:lnTo>
                      <a:pt x="385" y="141"/>
                    </a:lnTo>
                    <a:lnTo>
                      <a:pt x="385" y="138"/>
                    </a:lnTo>
                    <a:lnTo>
                      <a:pt x="385" y="138"/>
                    </a:lnTo>
                    <a:lnTo>
                      <a:pt x="385" y="25"/>
                    </a:lnTo>
                    <a:lnTo>
                      <a:pt x="472" y="25"/>
                    </a:lnTo>
                    <a:lnTo>
                      <a:pt x="472" y="400"/>
                    </a:lnTo>
                    <a:lnTo>
                      <a:pt x="385" y="400"/>
                    </a:lnTo>
                    <a:lnTo>
                      <a:pt x="385" y="350"/>
                    </a:lnTo>
                    <a:cubicBezTo>
                      <a:pt x="385" y="343"/>
                      <a:pt x="380" y="338"/>
                      <a:pt x="372" y="338"/>
                    </a:cubicBezTo>
                    <a:lnTo>
                      <a:pt x="200" y="338"/>
                    </a:lnTo>
                    <a:cubicBezTo>
                      <a:pt x="193" y="338"/>
                      <a:pt x="188" y="343"/>
                      <a:pt x="188" y="350"/>
                    </a:cubicBezTo>
                    <a:lnTo>
                      <a:pt x="188" y="400"/>
                    </a:lnTo>
                    <a:lnTo>
                      <a:pt x="100" y="400"/>
                    </a:lnTo>
                    <a:lnTo>
                      <a:pt x="100" y="25"/>
                    </a:lnTo>
                    <a:close/>
                    <a:moveTo>
                      <a:pt x="463" y="488"/>
                    </a:moveTo>
                    <a:cubicBezTo>
                      <a:pt x="463" y="509"/>
                      <a:pt x="446" y="525"/>
                      <a:pt x="425" y="525"/>
                    </a:cubicBezTo>
                    <a:cubicBezTo>
                      <a:pt x="404" y="525"/>
                      <a:pt x="388" y="509"/>
                      <a:pt x="388" y="488"/>
                    </a:cubicBezTo>
                    <a:cubicBezTo>
                      <a:pt x="388" y="466"/>
                      <a:pt x="404" y="450"/>
                      <a:pt x="425" y="450"/>
                    </a:cubicBezTo>
                    <a:cubicBezTo>
                      <a:pt x="446" y="450"/>
                      <a:pt x="463" y="466"/>
                      <a:pt x="463" y="488"/>
                    </a:cubicBezTo>
                    <a:close/>
                    <a:moveTo>
                      <a:pt x="363" y="488"/>
                    </a:moveTo>
                    <a:cubicBezTo>
                      <a:pt x="363" y="509"/>
                      <a:pt x="346" y="525"/>
                      <a:pt x="325" y="525"/>
                    </a:cubicBezTo>
                    <a:cubicBezTo>
                      <a:pt x="304" y="525"/>
                      <a:pt x="288" y="509"/>
                      <a:pt x="288" y="488"/>
                    </a:cubicBezTo>
                    <a:cubicBezTo>
                      <a:pt x="288" y="466"/>
                      <a:pt x="304" y="450"/>
                      <a:pt x="325" y="450"/>
                    </a:cubicBezTo>
                    <a:cubicBezTo>
                      <a:pt x="346" y="450"/>
                      <a:pt x="363" y="466"/>
                      <a:pt x="363" y="488"/>
                    </a:cubicBezTo>
                    <a:close/>
                    <a:moveTo>
                      <a:pt x="263" y="488"/>
                    </a:moveTo>
                    <a:cubicBezTo>
                      <a:pt x="263" y="509"/>
                      <a:pt x="246" y="525"/>
                      <a:pt x="225" y="525"/>
                    </a:cubicBezTo>
                    <a:cubicBezTo>
                      <a:pt x="204" y="525"/>
                      <a:pt x="188" y="509"/>
                      <a:pt x="188" y="488"/>
                    </a:cubicBezTo>
                    <a:cubicBezTo>
                      <a:pt x="188" y="466"/>
                      <a:pt x="204" y="450"/>
                      <a:pt x="225" y="450"/>
                    </a:cubicBezTo>
                    <a:cubicBezTo>
                      <a:pt x="246" y="450"/>
                      <a:pt x="263" y="466"/>
                      <a:pt x="263" y="488"/>
                    </a:cubicBezTo>
                    <a:close/>
                    <a:moveTo>
                      <a:pt x="113" y="725"/>
                    </a:moveTo>
                    <a:lnTo>
                      <a:pt x="63" y="725"/>
                    </a:lnTo>
                    <a:lnTo>
                      <a:pt x="63" y="575"/>
                    </a:lnTo>
                    <a:lnTo>
                      <a:pt x="113" y="575"/>
                    </a:lnTo>
                    <a:lnTo>
                      <a:pt x="113" y="725"/>
                    </a:lnTo>
                    <a:close/>
                    <a:moveTo>
                      <a:pt x="88" y="488"/>
                    </a:moveTo>
                    <a:cubicBezTo>
                      <a:pt x="88" y="466"/>
                      <a:pt x="104" y="450"/>
                      <a:pt x="125" y="450"/>
                    </a:cubicBezTo>
                    <a:cubicBezTo>
                      <a:pt x="146" y="450"/>
                      <a:pt x="163" y="466"/>
                      <a:pt x="163" y="488"/>
                    </a:cubicBezTo>
                    <a:cubicBezTo>
                      <a:pt x="163" y="509"/>
                      <a:pt x="146" y="525"/>
                      <a:pt x="125" y="525"/>
                    </a:cubicBezTo>
                    <a:cubicBezTo>
                      <a:pt x="104" y="525"/>
                      <a:pt x="88" y="509"/>
                      <a:pt x="88" y="488"/>
                    </a:cubicBezTo>
                    <a:close/>
                    <a:moveTo>
                      <a:pt x="613" y="725"/>
                    </a:moveTo>
                    <a:lnTo>
                      <a:pt x="138" y="725"/>
                    </a:lnTo>
                    <a:lnTo>
                      <a:pt x="138" y="575"/>
                    </a:lnTo>
                    <a:lnTo>
                      <a:pt x="613" y="575"/>
                    </a:lnTo>
                    <a:lnTo>
                      <a:pt x="613" y="725"/>
                    </a:lnTo>
                    <a:close/>
                    <a:moveTo>
                      <a:pt x="588" y="488"/>
                    </a:moveTo>
                    <a:cubicBezTo>
                      <a:pt x="588" y="466"/>
                      <a:pt x="604" y="450"/>
                      <a:pt x="625" y="450"/>
                    </a:cubicBezTo>
                    <a:cubicBezTo>
                      <a:pt x="646" y="450"/>
                      <a:pt x="663" y="466"/>
                      <a:pt x="663" y="488"/>
                    </a:cubicBezTo>
                    <a:cubicBezTo>
                      <a:pt x="663" y="509"/>
                      <a:pt x="646" y="525"/>
                      <a:pt x="625" y="525"/>
                    </a:cubicBezTo>
                    <a:cubicBezTo>
                      <a:pt x="604" y="525"/>
                      <a:pt x="588" y="509"/>
                      <a:pt x="588" y="488"/>
                    </a:cubicBezTo>
                    <a:close/>
                    <a:moveTo>
                      <a:pt x="688" y="725"/>
                    </a:moveTo>
                    <a:lnTo>
                      <a:pt x="638" y="725"/>
                    </a:lnTo>
                    <a:lnTo>
                      <a:pt x="638" y="575"/>
                    </a:lnTo>
                    <a:lnTo>
                      <a:pt x="688" y="575"/>
                    </a:lnTo>
                    <a:lnTo>
                      <a:pt x="688" y="725"/>
                    </a:lnTo>
                    <a:close/>
                    <a:moveTo>
                      <a:pt x="700" y="350"/>
                    </a:moveTo>
                    <a:cubicBezTo>
                      <a:pt x="700" y="358"/>
                      <a:pt x="695" y="363"/>
                      <a:pt x="688" y="363"/>
                    </a:cubicBezTo>
                    <a:lnTo>
                      <a:pt x="638" y="363"/>
                    </a:lnTo>
                    <a:cubicBezTo>
                      <a:pt x="630" y="363"/>
                      <a:pt x="625" y="358"/>
                      <a:pt x="625" y="350"/>
                    </a:cubicBezTo>
                    <a:lnTo>
                      <a:pt x="625" y="300"/>
                    </a:lnTo>
                    <a:cubicBezTo>
                      <a:pt x="625" y="293"/>
                      <a:pt x="630" y="288"/>
                      <a:pt x="638" y="288"/>
                    </a:cubicBezTo>
                    <a:lnTo>
                      <a:pt x="688" y="288"/>
                    </a:lnTo>
                    <a:cubicBezTo>
                      <a:pt x="695" y="288"/>
                      <a:pt x="700" y="293"/>
                      <a:pt x="700" y="300"/>
                    </a:cubicBezTo>
                    <a:lnTo>
                      <a:pt x="700" y="350"/>
                    </a:lnTo>
                    <a:close/>
                    <a:moveTo>
                      <a:pt x="625" y="250"/>
                    </a:moveTo>
                    <a:lnTo>
                      <a:pt x="625" y="213"/>
                    </a:lnTo>
                    <a:cubicBezTo>
                      <a:pt x="625" y="205"/>
                      <a:pt x="630" y="200"/>
                      <a:pt x="638" y="200"/>
                    </a:cubicBezTo>
                    <a:cubicBezTo>
                      <a:pt x="645" y="200"/>
                      <a:pt x="650" y="205"/>
                      <a:pt x="650" y="213"/>
                    </a:cubicBezTo>
                    <a:lnTo>
                      <a:pt x="650" y="250"/>
                    </a:lnTo>
                    <a:cubicBezTo>
                      <a:pt x="650" y="258"/>
                      <a:pt x="645" y="263"/>
                      <a:pt x="638" y="263"/>
                    </a:cubicBezTo>
                    <a:cubicBezTo>
                      <a:pt x="630" y="263"/>
                      <a:pt x="625" y="258"/>
                      <a:pt x="625" y="250"/>
                    </a:cubicBezTo>
                    <a:close/>
                    <a:moveTo>
                      <a:pt x="700" y="250"/>
                    </a:moveTo>
                    <a:cubicBezTo>
                      <a:pt x="700" y="258"/>
                      <a:pt x="695" y="263"/>
                      <a:pt x="688" y="263"/>
                    </a:cubicBezTo>
                    <a:cubicBezTo>
                      <a:pt x="680" y="263"/>
                      <a:pt x="675" y="258"/>
                      <a:pt x="675" y="250"/>
                    </a:cubicBezTo>
                    <a:lnTo>
                      <a:pt x="675" y="213"/>
                    </a:lnTo>
                    <a:cubicBezTo>
                      <a:pt x="675" y="205"/>
                      <a:pt x="680" y="200"/>
                      <a:pt x="688" y="200"/>
                    </a:cubicBezTo>
                    <a:cubicBezTo>
                      <a:pt x="695" y="200"/>
                      <a:pt x="700" y="205"/>
                      <a:pt x="700" y="213"/>
                    </a:cubicBezTo>
                    <a:lnTo>
                      <a:pt x="700" y="250"/>
                    </a:lnTo>
                    <a:close/>
                    <a:moveTo>
                      <a:pt x="700" y="163"/>
                    </a:moveTo>
                    <a:cubicBezTo>
                      <a:pt x="700" y="170"/>
                      <a:pt x="695" y="175"/>
                      <a:pt x="688" y="175"/>
                    </a:cubicBezTo>
                    <a:lnTo>
                      <a:pt x="538" y="175"/>
                    </a:lnTo>
                    <a:cubicBezTo>
                      <a:pt x="530" y="175"/>
                      <a:pt x="525" y="170"/>
                      <a:pt x="525" y="163"/>
                    </a:cubicBezTo>
                    <a:lnTo>
                      <a:pt x="525" y="63"/>
                    </a:lnTo>
                    <a:cubicBezTo>
                      <a:pt x="525" y="55"/>
                      <a:pt x="530" y="50"/>
                      <a:pt x="538" y="50"/>
                    </a:cubicBezTo>
                    <a:lnTo>
                      <a:pt x="688" y="50"/>
                    </a:lnTo>
                    <a:cubicBezTo>
                      <a:pt x="695" y="50"/>
                      <a:pt x="700" y="55"/>
                      <a:pt x="700" y="63"/>
                    </a:cubicBezTo>
                    <a:lnTo>
                      <a:pt x="700" y="163"/>
                    </a:lnTo>
                    <a:close/>
                  </a:path>
                </a:pathLst>
              </a:cu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defRPr/>
                </a:pPr>
                <a:endParaRPr lang="en-US" sz="1807" kern="0" dirty="0">
                  <a:solidFill>
                    <a:sysClr val="windowText" lastClr="000000"/>
                  </a:solidFill>
                  <a:latin typeface="Calibri"/>
                </a:endParaRPr>
              </a:p>
            </p:txBody>
          </p:sp>
        </p:grpSp>
        <p:sp>
          <p:nvSpPr>
            <p:cNvPr id="52" name="TextBox 20"/>
            <p:cNvSpPr txBox="1"/>
            <p:nvPr/>
          </p:nvSpPr>
          <p:spPr>
            <a:xfrm>
              <a:off x="270993" y="5089693"/>
              <a:ext cx="2493104" cy="926763"/>
            </a:xfrm>
            <a:prstGeom prst="rect">
              <a:avLst/>
            </a:prstGeom>
            <a:noFill/>
          </p:spPr>
          <p:txBody>
            <a:bodyPr wrap="square" rtlCol="0">
              <a:spAutoFit/>
            </a:bodyPr>
            <a:lstStyle/>
            <a:p>
              <a:pPr algn="ctr" defTabSz="769548"/>
              <a:r>
                <a:rPr lang="tr-TR" sz="1807" b="1">
                  <a:solidFill>
                    <a:prstClr val="black"/>
                  </a:solidFill>
                  <a:latin typeface="Calibri"/>
                </a:rPr>
                <a:t>500.000-TL </a:t>
              </a:r>
              <a:endParaRPr lang="tr-TR" sz="1807" b="1" dirty="0">
                <a:solidFill>
                  <a:prstClr val="black"/>
                </a:solidFill>
                <a:latin typeface="Calibri"/>
              </a:endParaRPr>
            </a:p>
            <a:p>
              <a:pPr algn="ctr" defTabSz="769548"/>
              <a:r>
                <a:rPr lang="tr-TR" sz="1807" b="1" dirty="0">
                  <a:solidFill>
                    <a:prstClr val="black"/>
                  </a:solidFill>
                  <a:latin typeface="Calibri"/>
                </a:rPr>
                <a:t>1.000.000-TL – Geri Ödemeli </a:t>
              </a:r>
            </a:p>
          </p:txBody>
        </p:sp>
        <p:grpSp>
          <p:nvGrpSpPr>
            <p:cNvPr id="7" name="Grup 6"/>
            <p:cNvGrpSpPr/>
            <p:nvPr/>
          </p:nvGrpSpPr>
          <p:grpSpPr>
            <a:xfrm>
              <a:off x="3150259" y="1437280"/>
              <a:ext cx="2762028" cy="4903542"/>
              <a:chOff x="2827537" y="1437280"/>
              <a:chExt cx="2762028" cy="4903542"/>
            </a:xfrm>
          </p:grpSpPr>
          <p:sp>
            <p:nvSpPr>
              <p:cNvPr id="19" name="TextBox 18"/>
              <p:cNvSpPr txBox="1"/>
              <p:nvPr/>
            </p:nvSpPr>
            <p:spPr>
              <a:xfrm>
                <a:off x="2827537" y="2942324"/>
                <a:ext cx="2172160" cy="617842"/>
              </a:xfrm>
              <a:prstGeom prst="rect">
                <a:avLst/>
              </a:prstGeom>
              <a:noFill/>
            </p:spPr>
            <p:txBody>
              <a:bodyPr wrap="square" rtlCol="0">
                <a:spAutoFit/>
              </a:bodyPr>
              <a:lstStyle/>
              <a:p>
                <a:pPr algn="ctr" defTabSz="769548">
                  <a:defRPr/>
                </a:pPr>
                <a:r>
                  <a:rPr lang="en-US" sz="1706" b="1" kern="0" dirty="0">
                    <a:solidFill>
                      <a:srgbClr val="9BBB59"/>
                    </a:solidFill>
                    <a:latin typeface="Calibri"/>
                  </a:rPr>
                  <a:t>PERSONEL GİDERLERİ</a:t>
                </a:r>
              </a:p>
            </p:txBody>
          </p:sp>
          <p:sp>
            <p:nvSpPr>
              <p:cNvPr id="29" name="Pentagon 28"/>
              <p:cNvSpPr/>
              <p:nvPr/>
            </p:nvSpPr>
            <p:spPr>
              <a:xfrm>
                <a:off x="3053597" y="1437280"/>
                <a:ext cx="2535968" cy="1277359"/>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9548">
                  <a:defRPr/>
                </a:pPr>
                <a:endParaRPr lang="en-US" sz="1807" kern="0" dirty="0">
                  <a:solidFill>
                    <a:prstClr val="white"/>
                  </a:solidFill>
                </a:endParaRPr>
              </a:p>
            </p:txBody>
          </p:sp>
          <p:cxnSp>
            <p:nvCxnSpPr>
              <p:cNvPr id="15" name="Straight Connector 14"/>
              <p:cNvCxnSpPr/>
              <p:nvPr/>
            </p:nvCxnSpPr>
            <p:spPr>
              <a:xfrm flipH="1">
                <a:off x="3053597" y="1445358"/>
                <a:ext cx="0" cy="4802007"/>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57" name="Group"/>
              <p:cNvGrpSpPr>
                <a:grpSpLocks noChangeAspect="1"/>
              </p:cNvGrpSpPr>
              <p:nvPr>
                <p:custDataLst>
                  <p:tags r:id="rId7"/>
                </p:custDataLst>
              </p:nvPr>
            </p:nvGrpSpPr>
            <p:grpSpPr bwMode="auto">
              <a:xfrm>
                <a:off x="3374184" y="1669523"/>
                <a:ext cx="1537489" cy="858257"/>
                <a:chOff x="91" y="165"/>
                <a:chExt cx="292" cy="163"/>
              </a:xfrm>
              <a:solidFill>
                <a:srgbClr val="FFFFFF"/>
              </a:solidFill>
            </p:grpSpPr>
            <p:sp>
              <p:nvSpPr>
                <p:cNvPr id="58" name="Group"/>
                <p:cNvSpPr>
                  <a:spLocks/>
                </p:cNvSpPr>
                <p:nvPr>
                  <p:custDataLst>
                    <p:tags r:id="rId8"/>
                  </p:custDataLst>
                </p:nvPr>
              </p:nvSpPr>
              <p:spPr bwMode="auto">
                <a:xfrm>
                  <a:off x="275" y="174"/>
                  <a:ext cx="108" cy="114"/>
                </a:xfrm>
                <a:custGeom>
                  <a:avLst/>
                  <a:gdLst>
                    <a:gd name="T0" fmla="*/ 227 w 286"/>
                    <a:gd name="T1" fmla="*/ 213 h 302"/>
                    <a:gd name="T2" fmla="*/ 275 w 286"/>
                    <a:gd name="T3" fmla="*/ 302 h 302"/>
                    <a:gd name="T4" fmla="*/ 129 w 286"/>
                    <a:gd name="T5" fmla="*/ 302 h 302"/>
                    <a:gd name="T6" fmla="*/ 80 w 286"/>
                    <a:gd name="T7" fmla="*/ 259 h 302"/>
                    <a:gd name="T8" fmla="*/ 70 w 286"/>
                    <a:gd name="T9" fmla="*/ 256 h 302"/>
                    <a:gd name="T10" fmla="*/ 1 w 286"/>
                    <a:gd name="T11" fmla="*/ 225 h 302"/>
                    <a:gd name="T12" fmla="*/ 14 w 286"/>
                    <a:gd name="T13" fmla="*/ 210 h 302"/>
                    <a:gd name="T14" fmla="*/ 85 w 286"/>
                    <a:gd name="T15" fmla="*/ 174 h 302"/>
                    <a:gd name="T16" fmla="*/ 88 w 286"/>
                    <a:gd name="T17" fmla="*/ 174 h 302"/>
                    <a:gd name="T18" fmla="*/ 86 w 286"/>
                    <a:gd name="T19" fmla="*/ 172 h 302"/>
                    <a:gd name="T20" fmla="*/ 48 w 286"/>
                    <a:gd name="T21" fmla="*/ 77 h 302"/>
                    <a:gd name="T22" fmla="*/ 117 w 286"/>
                    <a:gd name="T23" fmla="*/ 0 h 302"/>
                    <a:gd name="T24" fmla="*/ 185 w 286"/>
                    <a:gd name="T25" fmla="*/ 80 h 302"/>
                    <a:gd name="T26" fmla="*/ 144 w 286"/>
                    <a:gd name="T27" fmla="*/ 173 h 302"/>
                    <a:gd name="T28" fmla="*/ 227 w 286"/>
                    <a:gd name="T29" fmla="*/ 21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6" h="302">
                      <a:moveTo>
                        <a:pt x="227" y="213"/>
                      </a:moveTo>
                      <a:cubicBezTo>
                        <a:pt x="286" y="231"/>
                        <a:pt x="276" y="273"/>
                        <a:pt x="275" y="302"/>
                      </a:cubicBezTo>
                      <a:lnTo>
                        <a:pt x="129" y="302"/>
                      </a:lnTo>
                      <a:cubicBezTo>
                        <a:pt x="124" y="284"/>
                        <a:pt x="111" y="268"/>
                        <a:pt x="80" y="259"/>
                      </a:cubicBezTo>
                      <a:lnTo>
                        <a:pt x="70" y="256"/>
                      </a:lnTo>
                      <a:cubicBezTo>
                        <a:pt x="29" y="244"/>
                        <a:pt x="7" y="238"/>
                        <a:pt x="1" y="225"/>
                      </a:cubicBezTo>
                      <a:cubicBezTo>
                        <a:pt x="0" y="220"/>
                        <a:pt x="0" y="215"/>
                        <a:pt x="14" y="210"/>
                      </a:cubicBezTo>
                      <a:cubicBezTo>
                        <a:pt x="58" y="197"/>
                        <a:pt x="80" y="191"/>
                        <a:pt x="85" y="174"/>
                      </a:cubicBezTo>
                      <a:lnTo>
                        <a:pt x="88" y="174"/>
                      </a:lnTo>
                      <a:cubicBezTo>
                        <a:pt x="88" y="174"/>
                        <a:pt x="87" y="173"/>
                        <a:pt x="86" y="172"/>
                      </a:cubicBezTo>
                      <a:cubicBezTo>
                        <a:pt x="64" y="151"/>
                        <a:pt x="48" y="110"/>
                        <a:pt x="48" y="77"/>
                      </a:cubicBezTo>
                      <a:cubicBezTo>
                        <a:pt x="48" y="31"/>
                        <a:pt x="84" y="0"/>
                        <a:pt x="117" y="0"/>
                      </a:cubicBezTo>
                      <a:cubicBezTo>
                        <a:pt x="151" y="0"/>
                        <a:pt x="185" y="33"/>
                        <a:pt x="185" y="80"/>
                      </a:cubicBezTo>
                      <a:cubicBezTo>
                        <a:pt x="185" y="113"/>
                        <a:pt x="167" y="152"/>
                        <a:pt x="144" y="173"/>
                      </a:cubicBezTo>
                      <a:cubicBezTo>
                        <a:pt x="149" y="192"/>
                        <a:pt x="174" y="198"/>
                        <a:pt x="227" y="213"/>
                      </a:cubicBezTo>
                      <a:close/>
                    </a:path>
                  </a:pathLst>
                </a:cu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59" name="Group"/>
                <p:cNvSpPr>
                  <a:spLocks/>
                </p:cNvSpPr>
                <p:nvPr>
                  <p:custDataLst>
                    <p:tags r:id="rId9"/>
                  </p:custDataLst>
                </p:nvPr>
              </p:nvSpPr>
              <p:spPr bwMode="auto">
                <a:xfrm>
                  <a:off x="150" y="165"/>
                  <a:ext cx="173" cy="163"/>
                </a:xfrm>
                <a:custGeom>
                  <a:avLst/>
                  <a:gdLst>
                    <a:gd name="T0" fmla="*/ 458 w 460"/>
                    <a:gd name="T1" fmla="*/ 432 h 432"/>
                    <a:gd name="T2" fmla="*/ 4 w 460"/>
                    <a:gd name="T3" fmla="*/ 432 h 432"/>
                    <a:gd name="T4" fmla="*/ 3 w 460"/>
                    <a:gd name="T5" fmla="*/ 418 h 432"/>
                    <a:gd name="T6" fmla="*/ 5 w 460"/>
                    <a:gd name="T7" fmla="*/ 364 h 432"/>
                    <a:gd name="T8" fmla="*/ 64 w 460"/>
                    <a:gd name="T9" fmla="*/ 316 h 432"/>
                    <a:gd name="T10" fmla="*/ 78 w 460"/>
                    <a:gd name="T11" fmla="*/ 312 h 432"/>
                    <a:gd name="T12" fmla="*/ 189 w 460"/>
                    <a:gd name="T13" fmla="*/ 258 h 432"/>
                    <a:gd name="T14" fmla="*/ 192 w 460"/>
                    <a:gd name="T15" fmla="*/ 252 h 432"/>
                    <a:gd name="T16" fmla="*/ 192 w 460"/>
                    <a:gd name="T17" fmla="*/ 245 h 432"/>
                    <a:gd name="T18" fmla="*/ 189 w 460"/>
                    <a:gd name="T19" fmla="*/ 242 h 432"/>
                    <a:gd name="T20" fmla="*/ 178 w 460"/>
                    <a:gd name="T21" fmla="*/ 229 h 432"/>
                    <a:gd name="T22" fmla="*/ 135 w 460"/>
                    <a:gd name="T23" fmla="*/ 107 h 432"/>
                    <a:gd name="T24" fmla="*/ 231 w 460"/>
                    <a:gd name="T25" fmla="*/ 0 h 432"/>
                    <a:gd name="T26" fmla="*/ 324 w 460"/>
                    <a:gd name="T27" fmla="*/ 111 h 432"/>
                    <a:gd name="T28" fmla="*/ 272 w 460"/>
                    <a:gd name="T29" fmla="*/ 237 h 432"/>
                    <a:gd name="T30" fmla="*/ 266 w 460"/>
                    <a:gd name="T31" fmla="*/ 243 h 432"/>
                    <a:gd name="T32" fmla="*/ 262 w 460"/>
                    <a:gd name="T33" fmla="*/ 246 h 432"/>
                    <a:gd name="T34" fmla="*/ 263 w 460"/>
                    <a:gd name="T35" fmla="*/ 251 h 432"/>
                    <a:gd name="T36" fmla="*/ 377 w 460"/>
                    <a:gd name="T37" fmla="*/ 312 h 432"/>
                    <a:gd name="T38" fmla="*/ 392 w 460"/>
                    <a:gd name="T39" fmla="*/ 316 h 432"/>
                    <a:gd name="T40" fmla="*/ 453 w 460"/>
                    <a:gd name="T41" fmla="*/ 364 h 432"/>
                    <a:gd name="T42" fmla="*/ 453 w 460"/>
                    <a:gd name="T43" fmla="*/ 364 h 432"/>
                    <a:gd name="T44" fmla="*/ 459 w 460"/>
                    <a:gd name="T45" fmla="*/ 423 h 432"/>
                    <a:gd name="T46" fmla="*/ 458 w 460"/>
                    <a:gd name="T47"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0" h="432">
                      <a:moveTo>
                        <a:pt x="458" y="432"/>
                      </a:moveTo>
                      <a:lnTo>
                        <a:pt x="4" y="432"/>
                      </a:lnTo>
                      <a:cubicBezTo>
                        <a:pt x="3" y="427"/>
                        <a:pt x="3" y="423"/>
                        <a:pt x="3" y="418"/>
                      </a:cubicBezTo>
                      <a:cubicBezTo>
                        <a:pt x="1" y="400"/>
                        <a:pt x="0" y="381"/>
                        <a:pt x="5" y="364"/>
                      </a:cubicBezTo>
                      <a:cubicBezTo>
                        <a:pt x="11" y="344"/>
                        <a:pt x="27" y="327"/>
                        <a:pt x="64" y="316"/>
                      </a:cubicBezTo>
                      <a:lnTo>
                        <a:pt x="78" y="312"/>
                      </a:lnTo>
                      <a:cubicBezTo>
                        <a:pt x="143" y="293"/>
                        <a:pt x="177" y="283"/>
                        <a:pt x="189" y="258"/>
                      </a:cubicBezTo>
                      <a:lnTo>
                        <a:pt x="192" y="252"/>
                      </a:lnTo>
                      <a:lnTo>
                        <a:pt x="192" y="245"/>
                      </a:lnTo>
                      <a:cubicBezTo>
                        <a:pt x="191" y="244"/>
                        <a:pt x="191" y="243"/>
                        <a:pt x="189" y="242"/>
                      </a:cubicBezTo>
                      <a:cubicBezTo>
                        <a:pt x="186" y="238"/>
                        <a:pt x="182" y="234"/>
                        <a:pt x="178" y="229"/>
                      </a:cubicBezTo>
                      <a:cubicBezTo>
                        <a:pt x="153" y="197"/>
                        <a:pt x="135" y="148"/>
                        <a:pt x="135" y="107"/>
                      </a:cubicBezTo>
                      <a:cubicBezTo>
                        <a:pt x="135" y="55"/>
                        <a:pt x="174" y="0"/>
                        <a:pt x="231" y="0"/>
                      </a:cubicBezTo>
                      <a:cubicBezTo>
                        <a:pt x="276" y="0"/>
                        <a:pt x="324" y="45"/>
                        <a:pt x="324" y="111"/>
                      </a:cubicBezTo>
                      <a:cubicBezTo>
                        <a:pt x="324" y="153"/>
                        <a:pt x="302" y="206"/>
                        <a:pt x="272" y="237"/>
                      </a:cubicBezTo>
                      <a:cubicBezTo>
                        <a:pt x="270" y="239"/>
                        <a:pt x="268" y="241"/>
                        <a:pt x="266" y="243"/>
                      </a:cubicBezTo>
                      <a:lnTo>
                        <a:pt x="262" y="246"/>
                      </a:lnTo>
                      <a:lnTo>
                        <a:pt x="263" y="251"/>
                      </a:lnTo>
                      <a:cubicBezTo>
                        <a:pt x="271" y="281"/>
                        <a:pt x="306" y="292"/>
                        <a:pt x="377" y="312"/>
                      </a:cubicBezTo>
                      <a:lnTo>
                        <a:pt x="392" y="316"/>
                      </a:lnTo>
                      <a:cubicBezTo>
                        <a:pt x="428" y="327"/>
                        <a:pt x="445" y="345"/>
                        <a:pt x="453" y="364"/>
                      </a:cubicBezTo>
                      <a:lnTo>
                        <a:pt x="453" y="364"/>
                      </a:lnTo>
                      <a:cubicBezTo>
                        <a:pt x="460" y="383"/>
                        <a:pt x="459" y="404"/>
                        <a:pt x="459" y="423"/>
                      </a:cubicBezTo>
                      <a:cubicBezTo>
                        <a:pt x="458" y="426"/>
                        <a:pt x="458" y="429"/>
                        <a:pt x="458" y="432"/>
                      </a:cubicBezTo>
                      <a:close/>
                    </a:path>
                  </a:pathLst>
                </a:cu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60" name="Group"/>
                <p:cNvSpPr>
                  <a:spLocks/>
                </p:cNvSpPr>
                <p:nvPr>
                  <p:custDataLst>
                    <p:tags r:id="rId10"/>
                  </p:custDataLst>
                </p:nvPr>
              </p:nvSpPr>
              <p:spPr bwMode="auto">
                <a:xfrm>
                  <a:off x="91" y="174"/>
                  <a:ext cx="107" cy="114"/>
                </a:xfrm>
                <a:custGeom>
                  <a:avLst/>
                  <a:gdLst>
                    <a:gd name="T0" fmla="*/ 58 w 285"/>
                    <a:gd name="T1" fmla="*/ 213 h 302"/>
                    <a:gd name="T2" fmla="*/ 10 w 285"/>
                    <a:gd name="T3" fmla="*/ 302 h 302"/>
                    <a:gd name="T4" fmla="*/ 156 w 285"/>
                    <a:gd name="T5" fmla="*/ 302 h 302"/>
                    <a:gd name="T6" fmla="*/ 206 w 285"/>
                    <a:gd name="T7" fmla="*/ 259 h 302"/>
                    <a:gd name="T8" fmla="*/ 215 w 285"/>
                    <a:gd name="T9" fmla="*/ 256 h 302"/>
                    <a:gd name="T10" fmla="*/ 284 w 285"/>
                    <a:gd name="T11" fmla="*/ 225 h 302"/>
                    <a:gd name="T12" fmla="*/ 271 w 285"/>
                    <a:gd name="T13" fmla="*/ 210 h 302"/>
                    <a:gd name="T14" fmla="*/ 200 w 285"/>
                    <a:gd name="T15" fmla="*/ 174 h 302"/>
                    <a:gd name="T16" fmla="*/ 197 w 285"/>
                    <a:gd name="T17" fmla="*/ 174 h 302"/>
                    <a:gd name="T18" fmla="*/ 199 w 285"/>
                    <a:gd name="T19" fmla="*/ 172 h 302"/>
                    <a:gd name="T20" fmla="*/ 238 w 285"/>
                    <a:gd name="T21" fmla="*/ 77 h 302"/>
                    <a:gd name="T22" fmla="*/ 168 w 285"/>
                    <a:gd name="T23" fmla="*/ 0 h 302"/>
                    <a:gd name="T24" fmla="*/ 100 w 285"/>
                    <a:gd name="T25" fmla="*/ 80 h 302"/>
                    <a:gd name="T26" fmla="*/ 141 w 285"/>
                    <a:gd name="T27" fmla="*/ 173 h 302"/>
                    <a:gd name="T28" fmla="*/ 58 w 285"/>
                    <a:gd name="T29" fmla="*/ 21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5" h="302">
                      <a:moveTo>
                        <a:pt x="58" y="213"/>
                      </a:moveTo>
                      <a:cubicBezTo>
                        <a:pt x="0" y="231"/>
                        <a:pt x="10" y="273"/>
                        <a:pt x="10" y="302"/>
                      </a:cubicBezTo>
                      <a:lnTo>
                        <a:pt x="156" y="302"/>
                      </a:lnTo>
                      <a:cubicBezTo>
                        <a:pt x="162" y="284"/>
                        <a:pt x="174" y="268"/>
                        <a:pt x="206" y="259"/>
                      </a:cubicBezTo>
                      <a:lnTo>
                        <a:pt x="215" y="256"/>
                      </a:lnTo>
                      <a:cubicBezTo>
                        <a:pt x="256" y="244"/>
                        <a:pt x="278" y="238"/>
                        <a:pt x="284" y="225"/>
                      </a:cubicBezTo>
                      <a:cubicBezTo>
                        <a:pt x="283" y="220"/>
                        <a:pt x="285" y="212"/>
                        <a:pt x="271" y="210"/>
                      </a:cubicBezTo>
                      <a:cubicBezTo>
                        <a:pt x="227" y="197"/>
                        <a:pt x="205" y="191"/>
                        <a:pt x="200" y="174"/>
                      </a:cubicBezTo>
                      <a:lnTo>
                        <a:pt x="197" y="174"/>
                      </a:lnTo>
                      <a:cubicBezTo>
                        <a:pt x="198" y="174"/>
                        <a:pt x="199" y="173"/>
                        <a:pt x="199" y="172"/>
                      </a:cubicBezTo>
                      <a:cubicBezTo>
                        <a:pt x="221" y="151"/>
                        <a:pt x="238" y="110"/>
                        <a:pt x="238" y="77"/>
                      </a:cubicBezTo>
                      <a:cubicBezTo>
                        <a:pt x="238" y="31"/>
                        <a:pt x="202" y="0"/>
                        <a:pt x="168" y="0"/>
                      </a:cubicBezTo>
                      <a:cubicBezTo>
                        <a:pt x="134" y="0"/>
                        <a:pt x="100" y="33"/>
                        <a:pt x="100" y="80"/>
                      </a:cubicBezTo>
                      <a:cubicBezTo>
                        <a:pt x="100" y="113"/>
                        <a:pt x="119" y="152"/>
                        <a:pt x="141" y="173"/>
                      </a:cubicBezTo>
                      <a:cubicBezTo>
                        <a:pt x="137" y="192"/>
                        <a:pt x="111" y="198"/>
                        <a:pt x="58" y="213"/>
                      </a:cubicBezTo>
                      <a:close/>
                    </a:path>
                  </a:pathLst>
                </a:cu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grpSp>
          <p:sp>
            <p:nvSpPr>
              <p:cNvPr id="75" name="TextBox 20"/>
              <p:cNvSpPr txBox="1"/>
              <p:nvPr/>
            </p:nvSpPr>
            <p:spPr>
              <a:xfrm>
                <a:off x="3096461" y="5692088"/>
                <a:ext cx="2493104" cy="648734"/>
              </a:xfrm>
              <a:prstGeom prst="rect">
                <a:avLst/>
              </a:prstGeom>
              <a:noFill/>
            </p:spPr>
            <p:txBody>
              <a:bodyPr wrap="square" rtlCol="0">
                <a:spAutoFit/>
              </a:bodyPr>
              <a:lstStyle/>
              <a:p>
                <a:pPr algn="ctr" defTabSz="769548"/>
                <a:r>
                  <a:rPr lang="tr-TR" sz="1807" b="1" dirty="0">
                    <a:solidFill>
                      <a:prstClr val="black"/>
                    </a:solidFill>
                    <a:latin typeface="Calibri"/>
                  </a:rPr>
                  <a:t>1.000.000-TL</a:t>
                </a:r>
              </a:p>
              <a:p>
                <a:pPr algn="ctr" defTabSz="769548"/>
                <a:r>
                  <a:rPr lang="tr-TR" sz="1807" b="1" dirty="0">
                    <a:solidFill>
                      <a:prstClr val="black"/>
                    </a:solidFill>
                    <a:latin typeface="Calibri"/>
                  </a:rPr>
                  <a:t>(Yıllık 200.000-TL)</a:t>
                </a:r>
              </a:p>
            </p:txBody>
          </p:sp>
        </p:grpSp>
        <p:grpSp>
          <p:nvGrpSpPr>
            <p:cNvPr id="6" name="Grup 5"/>
            <p:cNvGrpSpPr/>
            <p:nvPr/>
          </p:nvGrpSpPr>
          <p:grpSpPr>
            <a:xfrm>
              <a:off x="6296247" y="1433242"/>
              <a:ext cx="3375484" cy="4814123"/>
              <a:chOff x="5812164" y="1433242"/>
              <a:chExt cx="3375484" cy="4814123"/>
            </a:xfrm>
          </p:grpSpPr>
          <p:sp>
            <p:nvSpPr>
              <p:cNvPr id="17" name="TextBox 16"/>
              <p:cNvSpPr txBox="1"/>
              <p:nvPr/>
            </p:nvSpPr>
            <p:spPr>
              <a:xfrm>
                <a:off x="5812164" y="2872872"/>
                <a:ext cx="2821471" cy="1143007"/>
              </a:xfrm>
              <a:prstGeom prst="rect">
                <a:avLst/>
              </a:prstGeom>
              <a:noFill/>
            </p:spPr>
            <p:txBody>
              <a:bodyPr wrap="square" rtlCol="0">
                <a:spAutoFit/>
              </a:bodyPr>
              <a:lstStyle/>
              <a:p>
                <a:pPr algn="ctr" defTabSz="769548">
                  <a:defRPr/>
                </a:pPr>
                <a:r>
                  <a:rPr lang="en-US" sz="1706" b="1" kern="0" dirty="0">
                    <a:solidFill>
                      <a:srgbClr val="8064A2"/>
                    </a:solidFill>
                    <a:latin typeface="Calibri"/>
                  </a:rPr>
                  <a:t>EĞİTİM, DANIŞMANLIK,  ORGANİZASYON VE TANITIM GİDERLERİ</a:t>
                </a:r>
              </a:p>
            </p:txBody>
          </p:sp>
          <p:sp>
            <p:nvSpPr>
              <p:cNvPr id="4" name="Pentagon 3"/>
              <p:cNvSpPr/>
              <p:nvPr/>
            </p:nvSpPr>
            <p:spPr>
              <a:xfrm>
                <a:off x="5824835" y="1433242"/>
                <a:ext cx="2667403" cy="1277359"/>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9548">
                  <a:defRPr/>
                </a:pPr>
                <a:endParaRPr lang="en-US" sz="1807" kern="0" dirty="0">
                  <a:solidFill>
                    <a:prstClr val="white"/>
                  </a:solidFill>
                </a:endParaRPr>
              </a:p>
            </p:txBody>
          </p:sp>
          <p:cxnSp>
            <p:nvCxnSpPr>
              <p:cNvPr id="16" name="Straight Connector 15"/>
              <p:cNvCxnSpPr/>
              <p:nvPr/>
            </p:nvCxnSpPr>
            <p:spPr>
              <a:xfrm flipH="1">
                <a:off x="5824834" y="1445358"/>
                <a:ext cx="0" cy="4802007"/>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53" name="Education"/>
              <p:cNvGrpSpPr>
                <a:grpSpLocks noChangeAspect="1"/>
              </p:cNvGrpSpPr>
              <p:nvPr>
                <p:custDataLst>
                  <p:tags r:id="rId3"/>
                </p:custDataLst>
              </p:nvPr>
            </p:nvGrpSpPr>
            <p:grpSpPr bwMode="auto">
              <a:xfrm>
                <a:off x="6438061" y="1584003"/>
                <a:ext cx="878990" cy="1005240"/>
                <a:chOff x="57" y="32"/>
                <a:chExt cx="369" cy="422"/>
              </a:xfrm>
              <a:solidFill>
                <a:srgbClr val="FFFFFF"/>
              </a:solidFill>
            </p:grpSpPr>
            <p:sp>
              <p:nvSpPr>
                <p:cNvPr id="54" name="Education"/>
                <p:cNvSpPr>
                  <a:spLocks noChangeArrowheads="1"/>
                </p:cNvSpPr>
                <p:nvPr>
                  <p:custDataLst>
                    <p:tags r:id="rId4"/>
                  </p:custDataLst>
                </p:nvPr>
              </p:nvSpPr>
              <p:spPr bwMode="auto">
                <a:xfrm>
                  <a:off x="127" y="34"/>
                  <a:ext cx="82" cy="82"/>
                </a:xfrm>
                <a:prstGeom prst="ellipse">
                  <a:avLst/>
                </a:pr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endParaRPr lang="en-US" sz="1807">
                    <a:solidFill>
                      <a:prstClr val="black"/>
                    </a:solidFill>
                    <a:latin typeface="Calibri"/>
                  </a:endParaRPr>
                </a:p>
              </p:txBody>
            </p:sp>
            <p:sp>
              <p:nvSpPr>
                <p:cNvPr id="55" name="Education"/>
                <p:cNvSpPr>
                  <a:spLocks/>
                </p:cNvSpPr>
                <p:nvPr>
                  <p:custDataLst>
                    <p:tags r:id="rId5"/>
                  </p:custDataLst>
                </p:nvPr>
              </p:nvSpPr>
              <p:spPr bwMode="auto">
                <a:xfrm>
                  <a:off x="252" y="32"/>
                  <a:ext cx="174" cy="221"/>
                </a:xfrm>
                <a:custGeom>
                  <a:avLst/>
                  <a:gdLst>
                    <a:gd name="T0" fmla="*/ 0 w 463"/>
                    <a:gd name="T1" fmla="*/ 0 h 587"/>
                    <a:gd name="T2" fmla="*/ 0 w 463"/>
                    <a:gd name="T3" fmla="*/ 293 h 587"/>
                    <a:gd name="T4" fmla="*/ 29 w 463"/>
                    <a:gd name="T5" fmla="*/ 329 h 587"/>
                    <a:gd name="T6" fmla="*/ 50 w 463"/>
                    <a:gd name="T7" fmla="*/ 303 h 587"/>
                    <a:gd name="T8" fmla="*/ 50 w 463"/>
                    <a:gd name="T9" fmla="*/ 62 h 587"/>
                    <a:gd name="T10" fmla="*/ 413 w 463"/>
                    <a:gd name="T11" fmla="*/ 62 h 587"/>
                    <a:gd name="T12" fmla="*/ 413 w 463"/>
                    <a:gd name="T13" fmla="*/ 537 h 587"/>
                    <a:gd name="T14" fmla="*/ 0 w 463"/>
                    <a:gd name="T15" fmla="*/ 537 h 587"/>
                    <a:gd name="T16" fmla="*/ 0 w 463"/>
                    <a:gd name="T17" fmla="*/ 587 h 587"/>
                    <a:gd name="T18" fmla="*/ 463 w 463"/>
                    <a:gd name="T19" fmla="*/ 587 h 587"/>
                    <a:gd name="T20" fmla="*/ 463 w 463"/>
                    <a:gd name="T21" fmla="*/ 0 h 587"/>
                    <a:gd name="T22" fmla="*/ 0 w 463"/>
                    <a:gd name="T2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587">
                      <a:moveTo>
                        <a:pt x="0" y="0"/>
                      </a:moveTo>
                      <a:lnTo>
                        <a:pt x="0" y="293"/>
                      </a:lnTo>
                      <a:lnTo>
                        <a:pt x="29" y="329"/>
                      </a:lnTo>
                      <a:lnTo>
                        <a:pt x="50" y="303"/>
                      </a:lnTo>
                      <a:lnTo>
                        <a:pt x="50" y="62"/>
                      </a:lnTo>
                      <a:lnTo>
                        <a:pt x="413" y="62"/>
                      </a:lnTo>
                      <a:lnTo>
                        <a:pt x="413" y="537"/>
                      </a:lnTo>
                      <a:lnTo>
                        <a:pt x="0" y="537"/>
                      </a:lnTo>
                      <a:lnTo>
                        <a:pt x="0" y="587"/>
                      </a:lnTo>
                      <a:lnTo>
                        <a:pt x="463" y="587"/>
                      </a:lnTo>
                      <a:lnTo>
                        <a:pt x="463" y="0"/>
                      </a:lnTo>
                      <a:lnTo>
                        <a:pt x="0" y="0"/>
                      </a:lnTo>
                      <a:close/>
                    </a:path>
                  </a:pathLst>
                </a:cu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endParaRPr lang="en-US" sz="1807">
                    <a:solidFill>
                      <a:prstClr val="black"/>
                    </a:solidFill>
                    <a:latin typeface="Calibri"/>
                  </a:endParaRPr>
                </a:p>
              </p:txBody>
            </p:sp>
            <p:sp>
              <p:nvSpPr>
                <p:cNvPr id="56" name="Education"/>
                <p:cNvSpPr>
                  <a:spLocks noEditPoints="1"/>
                </p:cNvSpPr>
                <p:nvPr>
                  <p:custDataLst>
                    <p:tags r:id="rId6"/>
                  </p:custDataLst>
                </p:nvPr>
              </p:nvSpPr>
              <p:spPr bwMode="auto">
                <a:xfrm>
                  <a:off x="57" y="130"/>
                  <a:ext cx="276" cy="324"/>
                </a:xfrm>
                <a:custGeom>
                  <a:avLst/>
                  <a:gdLst>
                    <a:gd name="T0" fmla="*/ 719 w 734"/>
                    <a:gd name="T1" fmla="*/ 23 h 862"/>
                    <a:gd name="T2" fmla="*/ 665 w 734"/>
                    <a:gd name="T3" fmla="*/ 23 h 862"/>
                    <a:gd name="T4" fmla="*/ 552 w 734"/>
                    <a:gd name="T5" fmla="*/ 137 h 862"/>
                    <a:gd name="T6" fmla="*/ 399 w 734"/>
                    <a:gd name="T7" fmla="*/ 2 h 862"/>
                    <a:gd name="T8" fmla="*/ 187 w 734"/>
                    <a:gd name="T9" fmla="*/ 2 h 862"/>
                    <a:gd name="T10" fmla="*/ 132 w 734"/>
                    <a:gd name="T11" fmla="*/ 18 h 862"/>
                    <a:gd name="T12" fmla="*/ 11 w 734"/>
                    <a:gd name="T13" fmla="*/ 178 h 862"/>
                    <a:gd name="T14" fmla="*/ 11 w 734"/>
                    <a:gd name="T15" fmla="*/ 226 h 862"/>
                    <a:gd name="T16" fmla="*/ 121 w 734"/>
                    <a:gd name="T17" fmla="*/ 380 h 862"/>
                    <a:gd name="T18" fmla="*/ 145 w 734"/>
                    <a:gd name="T19" fmla="*/ 396 h 862"/>
                    <a:gd name="T20" fmla="*/ 145 w 734"/>
                    <a:gd name="T21" fmla="*/ 812 h 862"/>
                    <a:gd name="T22" fmla="*/ 195 w 734"/>
                    <a:gd name="T23" fmla="*/ 862 h 862"/>
                    <a:gd name="T24" fmla="*/ 245 w 734"/>
                    <a:gd name="T25" fmla="*/ 812 h 862"/>
                    <a:gd name="T26" fmla="*/ 245 w 734"/>
                    <a:gd name="T27" fmla="*/ 452 h 862"/>
                    <a:gd name="T28" fmla="*/ 333 w 734"/>
                    <a:gd name="T29" fmla="*/ 452 h 862"/>
                    <a:gd name="T30" fmla="*/ 333 w 734"/>
                    <a:gd name="T31" fmla="*/ 812 h 862"/>
                    <a:gd name="T32" fmla="*/ 383 w 734"/>
                    <a:gd name="T33" fmla="*/ 862 h 862"/>
                    <a:gd name="T34" fmla="*/ 433 w 734"/>
                    <a:gd name="T35" fmla="*/ 812 h 862"/>
                    <a:gd name="T36" fmla="*/ 433 w 734"/>
                    <a:gd name="T37" fmla="*/ 131 h 862"/>
                    <a:gd name="T38" fmla="*/ 522 w 734"/>
                    <a:gd name="T39" fmla="*/ 218 h 862"/>
                    <a:gd name="T40" fmla="*/ 550 w 734"/>
                    <a:gd name="T41" fmla="*/ 229 h 862"/>
                    <a:gd name="T42" fmla="*/ 578 w 734"/>
                    <a:gd name="T43" fmla="*/ 218 h 862"/>
                    <a:gd name="T44" fmla="*/ 719 w 734"/>
                    <a:gd name="T45" fmla="*/ 77 h 862"/>
                    <a:gd name="T46" fmla="*/ 719 w 734"/>
                    <a:gd name="T47" fmla="*/ 23 h 862"/>
                    <a:gd name="T48" fmla="*/ 83 w 734"/>
                    <a:gd name="T49" fmla="*/ 202 h 862"/>
                    <a:gd name="T50" fmla="*/ 145 w 734"/>
                    <a:gd name="T51" fmla="*/ 120 h 862"/>
                    <a:gd name="T52" fmla="*/ 145 w 734"/>
                    <a:gd name="T53" fmla="*/ 285 h 862"/>
                    <a:gd name="T54" fmla="*/ 83 w 734"/>
                    <a:gd name="T55" fmla="*/ 20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4" h="862">
                      <a:moveTo>
                        <a:pt x="719" y="23"/>
                      </a:moveTo>
                      <a:cubicBezTo>
                        <a:pt x="704" y="8"/>
                        <a:pt x="680" y="8"/>
                        <a:pt x="665" y="23"/>
                      </a:cubicBezTo>
                      <a:lnTo>
                        <a:pt x="552" y="137"/>
                      </a:lnTo>
                      <a:cubicBezTo>
                        <a:pt x="552" y="137"/>
                        <a:pt x="430" y="2"/>
                        <a:pt x="399" y="2"/>
                      </a:cubicBezTo>
                      <a:lnTo>
                        <a:pt x="187" y="2"/>
                      </a:lnTo>
                      <a:cubicBezTo>
                        <a:pt x="187" y="2"/>
                        <a:pt x="145" y="0"/>
                        <a:pt x="132" y="18"/>
                      </a:cubicBezTo>
                      <a:lnTo>
                        <a:pt x="11" y="178"/>
                      </a:lnTo>
                      <a:cubicBezTo>
                        <a:pt x="0" y="192"/>
                        <a:pt x="0" y="211"/>
                        <a:pt x="11" y="226"/>
                      </a:cubicBezTo>
                      <a:lnTo>
                        <a:pt x="121" y="380"/>
                      </a:lnTo>
                      <a:cubicBezTo>
                        <a:pt x="128" y="390"/>
                        <a:pt x="133" y="395"/>
                        <a:pt x="145" y="396"/>
                      </a:cubicBezTo>
                      <a:lnTo>
                        <a:pt x="145" y="812"/>
                      </a:lnTo>
                      <a:cubicBezTo>
                        <a:pt x="145" y="840"/>
                        <a:pt x="168" y="862"/>
                        <a:pt x="195" y="862"/>
                      </a:cubicBezTo>
                      <a:cubicBezTo>
                        <a:pt x="222" y="862"/>
                        <a:pt x="245" y="840"/>
                        <a:pt x="245" y="812"/>
                      </a:cubicBezTo>
                      <a:lnTo>
                        <a:pt x="245" y="452"/>
                      </a:lnTo>
                      <a:lnTo>
                        <a:pt x="333" y="452"/>
                      </a:lnTo>
                      <a:lnTo>
                        <a:pt x="333" y="812"/>
                      </a:lnTo>
                      <a:cubicBezTo>
                        <a:pt x="333" y="840"/>
                        <a:pt x="355" y="862"/>
                        <a:pt x="383" y="862"/>
                      </a:cubicBezTo>
                      <a:cubicBezTo>
                        <a:pt x="410" y="862"/>
                        <a:pt x="433" y="840"/>
                        <a:pt x="433" y="812"/>
                      </a:cubicBezTo>
                      <a:lnTo>
                        <a:pt x="433" y="131"/>
                      </a:lnTo>
                      <a:lnTo>
                        <a:pt x="522" y="218"/>
                      </a:lnTo>
                      <a:cubicBezTo>
                        <a:pt x="529" y="225"/>
                        <a:pt x="541" y="229"/>
                        <a:pt x="550" y="229"/>
                      </a:cubicBezTo>
                      <a:cubicBezTo>
                        <a:pt x="560" y="229"/>
                        <a:pt x="571" y="225"/>
                        <a:pt x="578" y="218"/>
                      </a:cubicBezTo>
                      <a:lnTo>
                        <a:pt x="719" y="77"/>
                      </a:lnTo>
                      <a:cubicBezTo>
                        <a:pt x="734" y="62"/>
                        <a:pt x="734" y="38"/>
                        <a:pt x="719" y="23"/>
                      </a:cubicBezTo>
                      <a:close/>
                      <a:moveTo>
                        <a:pt x="83" y="202"/>
                      </a:moveTo>
                      <a:lnTo>
                        <a:pt x="145" y="120"/>
                      </a:lnTo>
                      <a:lnTo>
                        <a:pt x="145" y="285"/>
                      </a:lnTo>
                      <a:lnTo>
                        <a:pt x="83" y="202"/>
                      </a:lnTo>
                      <a:close/>
                    </a:path>
                  </a:pathLst>
                </a:cu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endParaRPr lang="en-US" sz="1807">
                    <a:solidFill>
                      <a:prstClr val="black"/>
                    </a:solidFill>
                    <a:latin typeface="Calibri"/>
                  </a:endParaRPr>
                </a:p>
              </p:txBody>
            </p:sp>
          </p:grpSp>
          <p:sp>
            <p:nvSpPr>
              <p:cNvPr id="76" name="TextBox 20"/>
              <p:cNvSpPr txBox="1"/>
              <p:nvPr/>
            </p:nvSpPr>
            <p:spPr>
              <a:xfrm>
                <a:off x="5812164" y="4196149"/>
                <a:ext cx="3375484" cy="2038877"/>
              </a:xfrm>
              <a:prstGeom prst="rect">
                <a:avLst/>
              </a:prstGeom>
              <a:noFill/>
            </p:spPr>
            <p:txBody>
              <a:bodyPr wrap="square" rtlCol="0">
                <a:spAutoFit/>
              </a:bodyPr>
              <a:lstStyle/>
              <a:p>
                <a:pPr defTabSz="769548"/>
                <a:r>
                  <a:rPr lang="tr-TR" sz="1807" b="1" dirty="0">
                    <a:solidFill>
                      <a:prstClr val="black"/>
                    </a:solidFill>
                    <a:latin typeface="Calibri"/>
                  </a:rPr>
                  <a:t>1.000.000-TL</a:t>
                </a:r>
              </a:p>
              <a:p>
                <a:pPr defTabSz="769548"/>
                <a:endParaRPr lang="tr-TR" sz="1807" b="1" dirty="0">
                  <a:solidFill>
                    <a:prstClr val="black"/>
                  </a:solidFill>
                  <a:latin typeface="Calibri"/>
                </a:endParaRPr>
              </a:p>
              <a:p>
                <a:pPr defTabSz="769548"/>
                <a:r>
                  <a:rPr lang="tr-TR" sz="1807" b="1" dirty="0">
                    <a:solidFill>
                      <a:prstClr val="black"/>
                    </a:solidFill>
                    <a:latin typeface="Calibri"/>
                  </a:rPr>
                  <a:t>Eğitim-danışmanlık </a:t>
                </a:r>
                <a:r>
                  <a:rPr lang="tr-TR" sz="1807" b="1" dirty="0">
                    <a:solidFill>
                      <a:prstClr val="black"/>
                    </a:solidFill>
                    <a:latin typeface="Calibri"/>
                    <a:sym typeface="Wingdings" panose="05000000000000000000" pitchFamily="2" charset="2"/>
                  </a:rPr>
                  <a:t></a:t>
                </a:r>
                <a:r>
                  <a:rPr lang="tr-TR" sz="1807" b="1" dirty="0">
                    <a:solidFill>
                      <a:prstClr val="black"/>
                    </a:solidFill>
                    <a:latin typeface="Calibri"/>
                  </a:rPr>
                  <a:t> 300.000-TL</a:t>
                </a:r>
              </a:p>
              <a:p>
                <a:pPr defTabSz="769548"/>
                <a:r>
                  <a:rPr lang="tr-TR" sz="1807" b="1" dirty="0">
                    <a:solidFill>
                      <a:prstClr val="black"/>
                    </a:solidFill>
                    <a:latin typeface="Calibri"/>
                  </a:rPr>
                  <a:t>Organizasyon </a:t>
                </a:r>
                <a:r>
                  <a:rPr lang="tr-TR" sz="1807" b="1" dirty="0">
                    <a:solidFill>
                      <a:prstClr val="black"/>
                    </a:solidFill>
                    <a:latin typeface="Calibri"/>
                    <a:sym typeface="Wingdings" panose="05000000000000000000" pitchFamily="2" charset="2"/>
                  </a:rPr>
                  <a:t> </a:t>
                </a:r>
                <a:r>
                  <a:rPr lang="tr-TR" sz="1807" b="1" dirty="0">
                    <a:solidFill>
                      <a:prstClr val="black"/>
                    </a:solidFill>
                    <a:latin typeface="Calibri"/>
                  </a:rPr>
                  <a:t>500.000-TL</a:t>
                </a:r>
              </a:p>
              <a:p>
                <a:pPr defTabSz="769548"/>
                <a:r>
                  <a:rPr lang="tr-TR" sz="1807" b="1" dirty="0">
                    <a:solidFill>
                      <a:prstClr val="black"/>
                    </a:solidFill>
                    <a:latin typeface="Calibri"/>
                  </a:rPr>
                  <a:t>Tanıtım </a:t>
                </a:r>
                <a:r>
                  <a:rPr lang="tr-TR" sz="1807" b="1" dirty="0">
                    <a:solidFill>
                      <a:prstClr val="black"/>
                    </a:solidFill>
                    <a:latin typeface="Calibri"/>
                    <a:sym typeface="Wingdings" panose="05000000000000000000" pitchFamily="2" charset="2"/>
                  </a:rPr>
                  <a:t></a:t>
                </a:r>
                <a:r>
                  <a:rPr lang="tr-TR" sz="1807" b="1" dirty="0">
                    <a:solidFill>
                      <a:prstClr val="black"/>
                    </a:solidFill>
                    <a:latin typeface="Calibri"/>
                  </a:rPr>
                  <a:t> 200.000-TL</a:t>
                </a:r>
              </a:p>
            </p:txBody>
          </p:sp>
        </p:grpSp>
        <p:grpSp>
          <p:nvGrpSpPr>
            <p:cNvPr id="5" name="Grup 4"/>
            <p:cNvGrpSpPr/>
            <p:nvPr/>
          </p:nvGrpSpPr>
          <p:grpSpPr>
            <a:xfrm>
              <a:off x="9521136" y="1433242"/>
              <a:ext cx="2442340" cy="4802008"/>
              <a:chOff x="291861" y="1445357"/>
              <a:chExt cx="2442340" cy="4802008"/>
            </a:xfrm>
          </p:grpSpPr>
          <p:sp>
            <p:nvSpPr>
              <p:cNvPr id="21" name="TextBox 20"/>
              <p:cNvSpPr txBox="1"/>
              <p:nvPr/>
            </p:nvSpPr>
            <p:spPr>
              <a:xfrm>
                <a:off x="359924" y="5320525"/>
                <a:ext cx="2242627" cy="370705"/>
              </a:xfrm>
              <a:prstGeom prst="rect">
                <a:avLst/>
              </a:prstGeom>
              <a:noFill/>
            </p:spPr>
            <p:txBody>
              <a:bodyPr wrap="square" rtlCol="0">
                <a:spAutoFit/>
              </a:bodyPr>
              <a:lstStyle/>
              <a:p>
                <a:pPr algn="ctr" defTabSz="769548"/>
                <a:r>
                  <a:rPr lang="tr-TR" sz="1807" b="1" dirty="0">
                    <a:solidFill>
                      <a:prstClr val="black"/>
                    </a:solidFill>
                    <a:latin typeface="Calibri"/>
                  </a:rPr>
                  <a:t>300.000-TL</a:t>
                </a:r>
              </a:p>
            </p:txBody>
          </p:sp>
          <p:grpSp>
            <p:nvGrpSpPr>
              <p:cNvPr id="3" name="Grup 2"/>
              <p:cNvGrpSpPr/>
              <p:nvPr/>
            </p:nvGrpSpPr>
            <p:grpSpPr>
              <a:xfrm>
                <a:off x="291861" y="1445357"/>
                <a:ext cx="2442340" cy="4802008"/>
                <a:chOff x="291861" y="1445357"/>
                <a:chExt cx="2442340" cy="4802008"/>
              </a:xfrm>
            </p:grpSpPr>
            <p:sp>
              <p:nvSpPr>
                <p:cNvPr id="18" name="TextBox 17"/>
                <p:cNvSpPr txBox="1"/>
                <p:nvPr/>
              </p:nvSpPr>
              <p:spPr>
                <a:xfrm>
                  <a:off x="291861" y="3079934"/>
                  <a:ext cx="2172160" cy="880424"/>
                </a:xfrm>
                <a:prstGeom prst="rect">
                  <a:avLst/>
                </a:prstGeom>
                <a:noFill/>
              </p:spPr>
              <p:txBody>
                <a:bodyPr wrap="square" rtlCol="0">
                  <a:spAutoFit/>
                </a:bodyPr>
                <a:lstStyle/>
                <a:p>
                  <a:pPr algn="ctr" defTabSz="769548">
                    <a:defRPr/>
                  </a:pPr>
                  <a:r>
                    <a:rPr lang="en-US" sz="1706" b="1" kern="0" dirty="0">
                      <a:solidFill>
                        <a:srgbClr val="4F81BD"/>
                      </a:solidFill>
                      <a:latin typeface="Calibri"/>
                    </a:rPr>
                    <a:t>MOBİ</a:t>
                  </a:r>
                  <a:r>
                    <a:rPr lang="tr-TR" sz="1706" b="1" kern="0" dirty="0">
                      <a:solidFill>
                        <a:srgbClr val="4F81BD"/>
                      </a:solidFill>
                      <a:latin typeface="Calibri"/>
                    </a:rPr>
                    <a:t>L</a:t>
                  </a:r>
                  <a:r>
                    <a:rPr lang="en-US" sz="1706" b="1" kern="0" dirty="0">
                      <a:solidFill>
                        <a:srgbClr val="4F81BD"/>
                      </a:solidFill>
                      <a:latin typeface="Calibri"/>
                    </a:rPr>
                    <a:t>YA DONANIM</a:t>
                  </a:r>
                </a:p>
                <a:p>
                  <a:pPr algn="ctr" defTabSz="769548">
                    <a:defRPr/>
                  </a:pPr>
                  <a:endParaRPr lang="en-US" sz="1706" b="1" kern="0" dirty="0">
                    <a:solidFill>
                      <a:srgbClr val="4F81BD"/>
                    </a:solidFill>
                    <a:latin typeface="Calibri"/>
                  </a:endParaRPr>
                </a:p>
              </p:txBody>
            </p:sp>
            <p:grpSp>
              <p:nvGrpSpPr>
                <p:cNvPr id="2" name="Grup 1"/>
                <p:cNvGrpSpPr/>
                <p:nvPr/>
              </p:nvGrpSpPr>
              <p:grpSpPr>
                <a:xfrm>
                  <a:off x="379813" y="1445357"/>
                  <a:ext cx="2354388" cy="4802008"/>
                  <a:chOff x="379813" y="1445357"/>
                  <a:chExt cx="2354388" cy="4802008"/>
                </a:xfrm>
              </p:grpSpPr>
              <p:sp>
                <p:nvSpPr>
                  <p:cNvPr id="28" name="Pentagon 27"/>
                  <p:cNvSpPr/>
                  <p:nvPr/>
                </p:nvSpPr>
                <p:spPr>
                  <a:xfrm>
                    <a:off x="379813" y="1445357"/>
                    <a:ext cx="2354388" cy="1277359"/>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9548">
                      <a:defRPr/>
                    </a:pPr>
                    <a:endParaRPr lang="en-US" sz="1807" kern="0" dirty="0">
                      <a:solidFill>
                        <a:prstClr val="white"/>
                      </a:solidFill>
                    </a:endParaRPr>
                  </a:p>
                </p:txBody>
              </p:sp>
              <p:cxnSp>
                <p:nvCxnSpPr>
                  <p:cNvPr id="27" name="Straight Connector 26"/>
                  <p:cNvCxnSpPr/>
                  <p:nvPr/>
                </p:nvCxnSpPr>
                <p:spPr>
                  <a:xfrm flipH="1">
                    <a:off x="379813" y="1445358"/>
                    <a:ext cx="0" cy="4802007"/>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45" name="Resim 44"/>
                  <p:cNvPicPr>
                    <a:picLocks noChangeAspect="1"/>
                  </p:cNvPicPr>
                  <p:nvPr/>
                </p:nvPicPr>
                <p:blipFill rotWithShape="1">
                  <a:blip r:embed="rId24" cstate="print">
                    <a:lum bright="70000" contrast="-70000"/>
                    <a:extLst>
                      <a:ext uri="{28A0092B-C50C-407E-A947-70E740481C1C}">
                        <a14:useLocalDpi xmlns:a14="http://schemas.microsoft.com/office/drawing/2010/main" val="0"/>
                      </a:ext>
                    </a:extLst>
                  </a:blip>
                  <a:srcRect l="-681" t="23787" r="681" b="-19343"/>
                  <a:stretch/>
                </p:blipFill>
                <p:spPr>
                  <a:xfrm>
                    <a:off x="608440" y="1510787"/>
                    <a:ext cx="1539002" cy="1364849"/>
                  </a:xfrm>
                  <a:prstGeom prst="rect">
                    <a:avLst/>
                  </a:prstGeom>
                </p:spPr>
              </p:pic>
            </p:grpSp>
          </p:grpSp>
        </p:grpSp>
        <p:sp>
          <p:nvSpPr>
            <p:cNvPr id="8" name="Dikdörtgen 7"/>
            <p:cNvSpPr/>
            <p:nvPr/>
          </p:nvSpPr>
          <p:spPr>
            <a:xfrm>
              <a:off x="3528725" y="3832829"/>
              <a:ext cx="2466763" cy="2038877"/>
            </a:xfrm>
            <a:prstGeom prst="rect">
              <a:avLst/>
            </a:prstGeom>
          </p:spPr>
          <p:txBody>
            <a:bodyPr wrap="square">
              <a:spAutoFit/>
            </a:bodyPr>
            <a:lstStyle/>
            <a:p>
              <a:pPr marL="240484" indent="-240484" defTabSz="769548">
                <a:buFont typeface="Arial" panose="020B0604020202020204" pitchFamily="34" charset="0"/>
                <a:buChar char="•"/>
                <a:defRPr/>
              </a:pPr>
              <a:r>
                <a:rPr lang="tr-TR" sz="1807" b="1" kern="0" dirty="0">
                  <a:solidFill>
                    <a:srgbClr val="9BBB59"/>
                  </a:solidFill>
                  <a:latin typeface="Calibri"/>
                </a:rPr>
                <a:t>Yönetici</a:t>
              </a:r>
            </a:p>
            <a:p>
              <a:pPr marL="240484" indent="-240484" defTabSz="769548">
                <a:buFont typeface="Arial" panose="020B0604020202020204" pitchFamily="34" charset="0"/>
                <a:buChar char="•"/>
                <a:defRPr/>
              </a:pPr>
              <a:r>
                <a:rPr lang="tr-TR" sz="1807" b="1" kern="0" dirty="0">
                  <a:solidFill>
                    <a:srgbClr val="9BBB59"/>
                  </a:solidFill>
                  <a:latin typeface="Calibri"/>
                </a:rPr>
                <a:t>Uzman personel</a:t>
              </a:r>
            </a:p>
            <a:p>
              <a:pPr marL="240484" indent="-240484" defTabSz="769548">
                <a:buFont typeface="Arial" panose="020B0604020202020204" pitchFamily="34" charset="0"/>
                <a:buChar char="•"/>
                <a:defRPr/>
              </a:pPr>
              <a:r>
                <a:rPr lang="tr-TR" sz="1807" b="1" kern="0" dirty="0">
                  <a:solidFill>
                    <a:srgbClr val="9BBB59"/>
                  </a:solidFill>
                  <a:latin typeface="Calibri"/>
                </a:rPr>
                <a:t>Teknik Personel</a:t>
              </a:r>
            </a:p>
            <a:p>
              <a:pPr marL="240484" indent="-240484" defTabSz="769548">
                <a:buFont typeface="Arial" panose="020B0604020202020204" pitchFamily="34" charset="0"/>
                <a:buChar char="•"/>
                <a:defRPr/>
              </a:pPr>
              <a:r>
                <a:rPr lang="tr-TR" sz="1807" b="1" kern="0" dirty="0">
                  <a:solidFill>
                    <a:srgbClr val="9BBB59"/>
                  </a:solidFill>
                  <a:latin typeface="Calibri"/>
                </a:rPr>
                <a:t>Temizlik ve Güvenlik</a:t>
              </a:r>
            </a:p>
          </p:txBody>
        </p:sp>
      </p:grpSp>
      <p:sp>
        <p:nvSpPr>
          <p:cNvPr id="9" name="Dikdörtgen 8"/>
          <p:cNvSpPr/>
          <p:nvPr/>
        </p:nvSpPr>
        <p:spPr>
          <a:xfrm>
            <a:off x="4289108" y="6516985"/>
            <a:ext cx="3162095" cy="355738"/>
          </a:xfrm>
          <a:prstGeom prst="rect">
            <a:avLst/>
          </a:prstGeom>
        </p:spPr>
        <p:txBody>
          <a:bodyPr wrap="square" lIns="76957" tIns="38479" rIns="76957" bIns="38479">
            <a:spAutoFit/>
          </a:bodyPr>
          <a:lstStyle/>
          <a:p>
            <a:pPr algn="ctr" defTabSz="769548"/>
            <a:r>
              <a:rPr lang="tr-TR" sz="1807" b="1" dirty="0">
                <a:solidFill>
                  <a:srgbClr val="FF0000"/>
                </a:solidFill>
                <a:latin typeface="Arial" panose="020B0604020202020204" pitchFamily="34" charset="0"/>
                <a:cs typeface="Arial" panose="020B0604020202020204" pitchFamily="34" charset="0"/>
              </a:rPr>
              <a:t> </a:t>
            </a:r>
            <a:r>
              <a:rPr lang="tr-TR" sz="1807" dirty="0">
                <a:solidFill>
                  <a:prstClr val="black"/>
                </a:solidFill>
                <a:latin typeface="Arial" panose="020B0604020202020204" pitchFamily="34" charset="0"/>
                <a:cs typeface="Arial" panose="020B0604020202020204" pitchFamily="34" charset="0"/>
              </a:rPr>
              <a:t>Destek oranı: </a:t>
            </a:r>
            <a:r>
              <a:rPr lang="tr-TR" sz="1807" b="1" dirty="0">
                <a:solidFill>
                  <a:srgbClr val="FF0000"/>
                </a:solidFill>
                <a:latin typeface="Arial" panose="020B0604020202020204" pitchFamily="34" charset="0"/>
                <a:cs typeface="Arial" panose="020B0604020202020204" pitchFamily="34" charset="0"/>
              </a:rPr>
              <a:t>%75</a:t>
            </a:r>
            <a:endParaRPr lang="tr-TR" sz="1807" b="1"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p:txBody>
      </p:sp>
      <p:sp>
        <p:nvSpPr>
          <p:cNvPr id="11" name="Slayt Numarası Yer Tutucusu 10"/>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61</a:t>
            </a:fld>
            <a:endParaRPr lang="en-CA">
              <a:solidFill>
                <a:prstClr val="black">
                  <a:tint val="75000"/>
                </a:prstClr>
              </a:solidFill>
            </a:endParaRPr>
          </a:p>
        </p:txBody>
      </p:sp>
    </p:spTree>
    <p:custDataLst>
      <p:tags r:id="rId1"/>
    </p:custDataLst>
    <p:extLst>
      <p:ext uri="{BB962C8B-B14F-4D97-AF65-F5344CB8AC3E}">
        <p14:creationId xmlns:p14="http://schemas.microsoft.com/office/powerpoint/2010/main" val="23857247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 3"/>
          <p:cNvGrpSpPr/>
          <p:nvPr/>
        </p:nvGrpSpPr>
        <p:grpSpPr>
          <a:xfrm>
            <a:off x="2030973" y="1402219"/>
            <a:ext cx="7963507" cy="4848617"/>
            <a:chOff x="726606" y="1684343"/>
            <a:chExt cx="8356019" cy="4366156"/>
          </a:xfrm>
        </p:grpSpPr>
        <p:grpSp>
          <p:nvGrpSpPr>
            <p:cNvPr id="68" name="Group 67"/>
            <p:cNvGrpSpPr>
              <a:grpSpLocks noChangeAspect="1"/>
            </p:cNvGrpSpPr>
            <p:nvPr/>
          </p:nvGrpSpPr>
          <p:grpSpPr>
            <a:xfrm>
              <a:off x="6947321" y="2270743"/>
              <a:ext cx="1470074" cy="1483078"/>
              <a:chOff x="9268877" y="1596791"/>
              <a:chExt cx="1005840" cy="1014737"/>
            </a:xfrm>
          </p:grpSpPr>
          <p:sp>
            <p:nvSpPr>
              <p:cNvPr id="67"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sp>
            <p:nvSpPr>
              <p:cNvPr id="65"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grpSp>
        <p:cxnSp>
          <p:nvCxnSpPr>
            <p:cNvPr id="6" name="Straight Connector 5"/>
            <p:cNvCxnSpPr/>
            <p:nvPr/>
          </p:nvCxnSpPr>
          <p:spPr>
            <a:xfrm>
              <a:off x="1132084" y="2270743"/>
              <a:ext cx="6561161"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p:cNvSpPr>
              <a:spLocks noChangeAspect="1"/>
            </p:cNvSpPr>
            <p:nvPr/>
          </p:nvSpPr>
          <p:spPr>
            <a:xfrm>
              <a:off x="1986872"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sp>
          <p:nvSpPr>
            <p:cNvPr id="31" name="Oval 30"/>
            <p:cNvSpPr>
              <a:spLocks noChangeAspect="1"/>
            </p:cNvSpPr>
            <p:nvPr/>
          </p:nvSpPr>
          <p:spPr>
            <a:xfrm>
              <a:off x="4203139"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sp>
          <p:nvSpPr>
            <p:cNvPr id="32" name="Oval 31"/>
            <p:cNvSpPr>
              <a:spLocks noChangeAspect="1"/>
            </p:cNvSpPr>
            <p:nvPr/>
          </p:nvSpPr>
          <p:spPr>
            <a:xfrm>
              <a:off x="6419407"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cxnSp>
          <p:nvCxnSpPr>
            <p:cNvPr id="8" name="Straight Connector 7"/>
            <p:cNvCxnSpPr/>
            <p:nvPr/>
          </p:nvCxnSpPr>
          <p:spPr>
            <a:xfrm flipV="1">
              <a:off x="1484729" y="3753769"/>
              <a:ext cx="6210000" cy="51"/>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483987" y="5236796"/>
              <a:ext cx="6210000" cy="51"/>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1569486" y="2488658"/>
              <a:ext cx="1008232" cy="333818"/>
            </a:xfrm>
            <a:prstGeom prst="rect">
              <a:avLst/>
            </a:prstGeom>
            <a:noFill/>
          </p:spPr>
          <p:txBody>
            <a:bodyPr wrap="none" rtlCol="0">
              <a:spAutoFit/>
            </a:bodyPr>
            <a:lstStyle/>
            <a:p>
              <a:pPr algn="ctr" defTabSz="436019">
                <a:defRPr/>
              </a:pPr>
              <a:r>
                <a:rPr lang="tr-TR" sz="1807" b="1" kern="0" dirty="0">
                  <a:solidFill>
                    <a:srgbClr val="1F497D"/>
                  </a:solidFill>
                  <a:latin typeface="Calibri"/>
                </a:rPr>
                <a:t>Başvuru</a:t>
              </a:r>
              <a:endParaRPr lang="en-US" sz="1807" b="1" kern="0" dirty="0">
                <a:solidFill>
                  <a:srgbClr val="1F497D"/>
                </a:solidFill>
                <a:latin typeface="Calibri"/>
              </a:endParaRPr>
            </a:p>
          </p:txBody>
        </p:sp>
        <p:sp>
          <p:nvSpPr>
            <p:cNvPr id="93" name="TextBox 92"/>
            <p:cNvSpPr txBox="1"/>
            <p:nvPr/>
          </p:nvSpPr>
          <p:spPr>
            <a:xfrm>
              <a:off x="3160940" y="2393686"/>
              <a:ext cx="2282873" cy="584182"/>
            </a:xfrm>
            <a:prstGeom prst="rect">
              <a:avLst/>
            </a:prstGeom>
            <a:noFill/>
          </p:spPr>
          <p:txBody>
            <a:bodyPr wrap="none" rtlCol="0">
              <a:spAutoFit/>
            </a:bodyPr>
            <a:lstStyle/>
            <a:p>
              <a:pPr algn="ctr" defTabSz="436019">
                <a:defRPr/>
              </a:pPr>
              <a:r>
                <a:rPr lang="tr-TR" sz="1807" b="1" kern="0" dirty="0">
                  <a:solidFill>
                    <a:srgbClr val="1F497D"/>
                  </a:solidFill>
                  <a:latin typeface="Calibri"/>
                </a:rPr>
                <a:t>Yerinde İnceleme</a:t>
              </a:r>
            </a:p>
            <a:p>
              <a:pPr algn="ctr" defTabSz="436019">
                <a:defRPr/>
              </a:pPr>
              <a:r>
                <a:rPr lang="tr-TR" sz="1807" b="1" kern="0" dirty="0">
                  <a:solidFill>
                    <a:srgbClr val="1F497D"/>
                  </a:solidFill>
                  <a:latin typeface="Calibri"/>
                </a:rPr>
                <a:t>(kabul, revizyon, ret)</a:t>
              </a:r>
              <a:endParaRPr lang="en-GB" sz="1807" b="1" kern="0" dirty="0">
                <a:solidFill>
                  <a:srgbClr val="1F497D"/>
                </a:solidFill>
                <a:latin typeface="Calibri"/>
              </a:endParaRPr>
            </a:p>
          </p:txBody>
        </p:sp>
        <p:sp>
          <p:nvSpPr>
            <p:cNvPr id="94" name="TextBox 93"/>
            <p:cNvSpPr txBox="1"/>
            <p:nvPr/>
          </p:nvSpPr>
          <p:spPr>
            <a:xfrm>
              <a:off x="5272467" y="2391434"/>
              <a:ext cx="2471959" cy="586152"/>
            </a:xfrm>
            <a:prstGeom prst="rect">
              <a:avLst/>
            </a:prstGeom>
            <a:noFill/>
          </p:spPr>
          <p:txBody>
            <a:bodyPr wrap="none" rtlCol="0">
              <a:spAutoFit/>
            </a:bodyPr>
            <a:lstStyle/>
            <a:p>
              <a:pPr algn="ctr" defTabSz="436019">
                <a:defRPr/>
              </a:pPr>
              <a:r>
                <a:rPr lang="tr-TR" sz="1807" b="1" kern="0" dirty="0">
                  <a:solidFill>
                    <a:srgbClr val="1F497D"/>
                  </a:solidFill>
                  <a:latin typeface="Calibri"/>
                </a:rPr>
                <a:t>Kurul Değerlendirmesi</a:t>
              </a:r>
            </a:p>
            <a:p>
              <a:pPr algn="ctr" defTabSz="436019">
                <a:defRPr/>
              </a:pPr>
              <a:r>
                <a:rPr lang="tr-TR" sz="1807" b="1" kern="0" dirty="0">
                  <a:solidFill>
                    <a:srgbClr val="1F497D"/>
                  </a:solidFill>
                  <a:latin typeface="Calibri"/>
                </a:rPr>
                <a:t>(kabul, revizyon, ret)</a:t>
              </a:r>
              <a:endParaRPr lang="en-GB" sz="1807" b="1" kern="0" dirty="0">
                <a:solidFill>
                  <a:srgbClr val="1F497D"/>
                </a:solidFill>
                <a:latin typeface="Calibri"/>
              </a:endParaRPr>
            </a:p>
          </p:txBody>
        </p:sp>
        <p:grpSp>
          <p:nvGrpSpPr>
            <p:cNvPr id="85" name="POWER_USER_ID_ICONS_Gavel"/>
            <p:cNvGrpSpPr>
              <a:grpSpLocks noChangeAspect="1"/>
            </p:cNvGrpSpPr>
            <p:nvPr>
              <p:custDataLst>
                <p:tags r:id="rId26"/>
              </p:custDataLst>
            </p:nvPr>
          </p:nvGrpSpPr>
          <p:grpSpPr>
            <a:xfrm>
              <a:off x="4083508" y="1731573"/>
              <a:ext cx="403436" cy="326506"/>
              <a:chOff x="-1958181" y="55563"/>
              <a:chExt cx="715963" cy="579438"/>
            </a:xfrm>
            <a:solidFill>
              <a:schemeClr val="tx2"/>
            </a:solidFill>
          </p:grpSpPr>
          <p:sp>
            <p:nvSpPr>
              <p:cNvPr id="86" name="POWER_USER_ID_ICONS_Gavel"/>
              <p:cNvSpPr>
                <a:spLocks noChangeArrowheads="1"/>
              </p:cNvSpPr>
              <p:nvPr>
                <p:custDataLst>
                  <p:tags r:id="rId54"/>
                </p:custDataLst>
              </p:nvPr>
            </p:nvSpPr>
            <p:spPr bwMode="auto">
              <a:xfrm>
                <a:off x="-1532731" y="560388"/>
                <a:ext cx="209550" cy="74613"/>
              </a:xfrm>
              <a:prstGeom prst="rect">
                <a:avLst/>
              </a:prstGeom>
              <a:grpFill/>
              <a:ln w="9525">
                <a:noFill/>
                <a:miter lim="800000"/>
                <a:headEnd/>
                <a:tailEnd/>
              </a:ln>
              <a:extLst/>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87" name="POWER_USER_ID_ICONS_Gavel"/>
              <p:cNvSpPr>
                <a:spLocks noChangeArrowheads="1"/>
              </p:cNvSpPr>
              <p:nvPr>
                <p:custDataLst>
                  <p:tags r:id="rId55"/>
                </p:custDataLst>
              </p:nvPr>
            </p:nvSpPr>
            <p:spPr bwMode="auto">
              <a:xfrm>
                <a:off x="-1643856" y="604838"/>
                <a:ext cx="401638" cy="30163"/>
              </a:xfrm>
              <a:prstGeom prst="rect">
                <a:avLst/>
              </a:prstGeom>
              <a:grpFill/>
              <a:ln w="9525">
                <a:noFill/>
                <a:miter lim="800000"/>
                <a:headEnd/>
                <a:tailEnd/>
              </a:ln>
              <a:extLst/>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88" name="POWER_USER_ID_ICONS_Gavel"/>
              <p:cNvSpPr>
                <a:spLocks/>
              </p:cNvSpPr>
              <p:nvPr>
                <p:custDataLst>
                  <p:tags r:id="rId56"/>
                </p:custDataLst>
              </p:nvPr>
            </p:nvSpPr>
            <p:spPr bwMode="auto">
              <a:xfrm>
                <a:off x="-1593056" y="176213"/>
                <a:ext cx="152400" cy="161925"/>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grpFill/>
              <a:ln w="9525">
                <a:noFill/>
                <a:round/>
                <a:headEnd/>
                <a:tailEnd/>
              </a:ln>
              <a:extLst/>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00" name="POWER_USER_ID_ICONS_Gavel"/>
              <p:cNvSpPr>
                <a:spLocks/>
              </p:cNvSpPr>
              <p:nvPr>
                <p:custDataLst>
                  <p:tags r:id="rId57"/>
                </p:custDataLst>
              </p:nvPr>
            </p:nvSpPr>
            <p:spPr bwMode="auto">
              <a:xfrm>
                <a:off x="-1575594" y="273050"/>
                <a:ext cx="231775" cy="184150"/>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grpFill/>
              <a:ln w="9525">
                <a:noFill/>
                <a:round/>
                <a:headEnd/>
                <a:tailEnd/>
              </a:ln>
              <a:extLst/>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01" name="POWER_USER_ID_ICONS_Gavel"/>
              <p:cNvSpPr>
                <a:spLocks/>
              </p:cNvSpPr>
              <p:nvPr>
                <p:custDataLst>
                  <p:tags r:id="rId58"/>
                </p:custDataLst>
              </p:nvPr>
            </p:nvSpPr>
            <p:spPr bwMode="auto">
              <a:xfrm>
                <a:off x="-1958181" y="268288"/>
                <a:ext cx="396875" cy="231775"/>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grpFill/>
              <a:ln w="9525">
                <a:noFill/>
                <a:round/>
                <a:headEnd/>
                <a:tailEnd/>
              </a:ln>
              <a:extLst/>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09" name="POWER_USER_ID_ICONS_Gavel"/>
              <p:cNvSpPr>
                <a:spLocks/>
              </p:cNvSpPr>
              <p:nvPr>
                <p:custDataLst>
                  <p:tags r:id="rId59"/>
                </p:custDataLst>
              </p:nvPr>
            </p:nvSpPr>
            <p:spPr bwMode="auto">
              <a:xfrm>
                <a:off x="-1696244" y="55563"/>
                <a:ext cx="231775" cy="185738"/>
              </a:xfrm>
              <a:custGeom>
                <a:avLst/>
                <a:gdLst>
                  <a:gd name="T0" fmla="*/ 12 w 388"/>
                  <a:gd name="T1" fmla="*/ 213 h 310"/>
                  <a:gd name="T2" fmla="*/ 30 w 388"/>
                  <a:gd name="T3" fmla="*/ 150 h 310"/>
                  <a:gd name="T4" fmla="*/ 277 w 388"/>
                  <a:gd name="T5" fmla="*/ 13 h 310"/>
                  <a:gd name="T6" fmla="*/ 340 w 388"/>
                  <a:gd name="T7" fmla="*/ 31 h 310"/>
                  <a:gd name="T8" fmla="*/ 375 w 388"/>
                  <a:gd name="T9" fmla="*/ 97 h 310"/>
                  <a:gd name="T10" fmla="*/ 357 w 388"/>
                  <a:gd name="T11" fmla="*/ 161 h 310"/>
                  <a:gd name="T12" fmla="*/ 110 w 388"/>
                  <a:gd name="T13" fmla="*/ 298 h 310"/>
                  <a:gd name="T14" fmla="*/ 47 w 388"/>
                  <a:gd name="T15" fmla="*/ 279 h 310"/>
                  <a:gd name="T16" fmla="*/ 12 w 388"/>
                  <a:gd name="T17" fmla="*/ 21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10">
                    <a:moveTo>
                      <a:pt x="12" y="213"/>
                    </a:moveTo>
                    <a:cubicBezTo>
                      <a:pt x="0" y="191"/>
                      <a:pt x="8" y="162"/>
                      <a:pt x="30" y="150"/>
                    </a:cubicBezTo>
                    <a:lnTo>
                      <a:pt x="277" y="13"/>
                    </a:lnTo>
                    <a:cubicBezTo>
                      <a:pt x="300" y="0"/>
                      <a:pt x="328" y="9"/>
                      <a:pt x="340" y="31"/>
                    </a:cubicBezTo>
                    <a:lnTo>
                      <a:pt x="375" y="97"/>
                    </a:lnTo>
                    <a:cubicBezTo>
                      <a:pt x="388" y="120"/>
                      <a:pt x="379" y="148"/>
                      <a:pt x="357" y="161"/>
                    </a:cubicBezTo>
                    <a:lnTo>
                      <a:pt x="110" y="298"/>
                    </a:lnTo>
                    <a:cubicBezTo>
                      <a:pt x="87" y="310"/>
                      <a:pt x="59" y="302"/>
                      <a:pt x="47" y="279"/>
                    </a:cubicBezTo>
                    <a:lnTo>
                      <a:pt x="12" y="213"/>
                    </a:lnTo>
                    <a:close/>
                  </a:path>
                </a:pathLst>
              </a:custGeom>
              <a:grpFill/>
              <a:ln w="9525">
                <a:noFill/>
                <a:round/>
                <a:headEnd/>
                <a:tailEnd/>
              </a:ln>
              <a:extLst/>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grpSp>
        <p:grpSp>
          <p:nvGrpSpPr>
            <p:cNvPr id="110" name="POWER_USER_ID_ICONS_Big_Idea"/>
            <p:cNvGrpSpPr>
              <a:grpSpLocks noChangeAspect="1"/>
            </p:cNvGrpSpPr>
            <p:nvPr>
              <p:custDataLst>
                <p:tags r:id="rId27"/>
              </p:custDataLst>
            </p:nvPr>
          </p:nvGrpSpPr>
          <p:grpSpPr bwMode="auto">
            <a:xfrm>
              <a:off x="1903977" y="1684343"/>
              <a:ext cx="353773" cy="372365"/>
              <a:chOff x="3544" y="-299"/>
              <a:chExt cx="4110" cy="4326"/>
            </a:xfrm>
            <a:solidFill>
              <a:schemeClr val="tx2"/>
            </a:solidFill>
          </p:grpSpPr>
          <p:sp>
            <p:nvSpPr>
              <p:cNvPr id="111" name="Freeform 1368"/>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12" name="Freeform 1369"/>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13" name="Freeform 1370"/>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14" name="Freeform 1371"/>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15" name="Freeform 1372"/>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16" name="Freeform 1373"/>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17" name="Freeform 1374"/>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18" name="Freeform 1375"/>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19" name="Freeform 1376"/>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grpSp>
        <p:grpSp>
          <p:nvGrpSpPr>
            <p:cNvPr id="134" name="POWER_USER_ID_ICONS_Cup"/>
            <p:cNvGrpSpPr>
              <a:grpSpLocks noChangeAspect="1"/>
            </p:cNvGrpSpPr>
            <p:nvPr>
              <p:custDataLst>
                <p:tags r:id="rId28"/>
              </p:custDataLst>
            </p:nvPr>
          </p:nvGrpSpPr>
          <p:grpSpPr bwMode="auto">
            <a:xfrm>
              <a:off x="7787205" y="4771529"/>
              <a:ext cx="559408" cy="603779"/>
              <a:chOff x="69" y="56"/>
              <a:chExt cx="353" cy="381"/>
            </a:xfrm>
            <a:solidFill>
              <a:schemeClr val="tx2"/>
            </a:solidFill>
          </p:grpSpPr>
          <p:sp>
            <p:nvSpPr>
              <p:cNvPr id="135" name="POWER_USER_ID_ICONS_Cup"/>
              <p:cNvSpPr>
                <a:spLocks/>
              </p:cNvSpPr>
              <p:nvPr>
                <p:custDataLst>
                  <p:tags r:id="rId49"/>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36" name="POWER_USER_ID_ICONS_Cup"/>
              <p:cNvSpPr>
                <a:spLocks/>
              </p:cNvSpPr>
              <p:nvPr>
                <p:custDataLst>
                  <p:tags r:id="rId50"/>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37" name="POWER_USER_ID_ICONS_Cup"/>
              <p:cNvSpPr>
                <a:spLocks/>
              </p:cNvSpPr>
              <p:nvPr>
                <p:custDataLst>
                  <p:tags r:id="rId51"/>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38" name="POWER_USER_ID_ICONS_Cup"/>
              <p:cNvSpPr>
                <a:spLocks/>
              </p:cNvSpPr>
              <p:nvPr>
                <p:custDataLst>
                  <p:tags r:id="rId52"/>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39" name="POWER_USER_ID_ICONS_Cup"/>
              <p:cNvSpPr>
                <a:spLocks/>
              </p:cNvSpPr>
              <p:nvPr>
                <p:custDataLst>
                  <p:tags r:id="rId53"/>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grpSp>
        <p:grpSp>
          <p:nvGrpSpPr>
            <p:cNvPr id="140" name="POWER_USER_ID_ICONS_Flag5"/>
            <p:cNvGrpSpPr>
              <a:grpSpLocks noChangeAspect="1"/>
            </p:cNvGrpSpPr>
            <p:nvPr>
              <p:custDataLst>
                <p:tags r:id="rId29"/>
              </p:custDataLst>
            </p:nvPr>
          </p:nvGrpSpPr>
          <p:grpSpPr bwMode="auto">
            <a:xfrm>
              <a:off x="726606" y="1935356"/>
              <a:ext cx="362108" cy="466410"/>
              <a:chOff x="8" y="5"/>
              <a:chExt cx="368" cy="474"/>
            </a:xfrm>
            <a:solidFill>
              <a:schemeClr val="tx2"/>
            </a:solidFill>
          </p:grpSpPr>
          <p:sp>
            <p:nvSpPr>
              <p:cNvPr id="141" name="POWER_USER_ID_ICONS_Flag5"/>
              <p:cNvSpPr>
                <a:spLocks/>
              </p:cNvSpPr>
              <p:nvPr>
                <p:custDataLst>
                  <p:tags r:id="rId35"/>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42" name="POWER_USER_ID_ICONS_Flag5"/>
              <p:cNvSpPr>
                <a:spLocks noChangeArrowheads="1"/>
              </p:cNvSpPr>
              <p:nvPr>
                <p:custDataLst>
                  <p:tags r:id="rId36"/>
                </p:custDataLst>
              </p:nvPr>
            </p:nvSpPr>
            <p:spPr bwMode="auto">
              <a:xfrm>
                <a:off x="34" y="26"/>
                <a:ext cx="55" cy="56"/>
              </a:xfrm>
              <a:prstGeom prst="rect">
                <a:avLst/>
              </a:prstGeom>
              <a:grpFill/>
              <a:ln w="0">
                <a:noFill/>
                <a:prstDash val="solid"/>
                <a:miter lim="800000"/>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43" name="POWER_USER_ID_ICONS_Flag5"/>
              <p:cNvSpPr>
                <a:spLocks noChangeArrowheads="1"/>
              </p:cNvSpPr>
              <p:nvPr>
                <p:custDataLst>
                  <p:tags r:id="rId37"/>
                </p:custDataLst>
              </p:nvPr>
            </p:nvSpPr>
            <p:spPr bwMode="auto">
              <a:xfrm>
                <a:off x="88" y="81"/>
                <a:ext cx="56" cy="56"/>
              </a:xfrm>
              <a:prstGeom prst="rect">
                <a:avLst/>
              </a:prstGeom>
              <a:grpFill/>
              <a:ln w="0">
                <a:noFill/>
                <a:prstDash val="solid"/>
                <a:miter lim="800000"/>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44" name="POWER_USER_ID_ICONS_Flag5"/>
              <p:cNvSpPr>
                <a:spLocks noChangeArrowheads="1"/>
              </p:cNvSpPr>
              <p:nvPr>
                <p:custDataLst>
                  <p:tags r:id="rId38"/>
                </p:custDataLst>
              </p:nvPr>
            </p:nvSpPr>
            <p:spPr bwMode="auto">
              <a:xfrm>
                <a:off x="34" y="136"/>
                <a:ext cx="55" cy="56"/>
              </a:xfrm>
              <a:prstGeom prst="rect">
                <a:avLst/>
              </a:prstGeom>
              <a:grpFill/>
              <a:ln w="0">
                <a:noFill/>
                <a:prstDash val="solid"/>
                <a:miter lim="800000"/>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45" name="POWER_USER_ID_ICONS_Flag5"/>
              <p:cNvSpPr>
                <a:spLocks noChangeArrowheads="1"/>
              </p:cNvSpPr>
              <p:nvPr>
                <p:custDataLst>
                  <p:tags r:id="rId39"/>
                </p:custDataLst>
              </p:nvPr>
            </p:nvSpPr>
            <p:spPr bwMode="auto">
              <a:xfrm>
                <a:off x="88" y="191"/>
                <a:ext cx="56" cy="56"/>
              </a:xfrm>
              <a:prstGeom prst="rect">
                <a:avLst/>
              </a:prstGeom>
              <a:grpFill/>
              <a:ln w="0">
                <a:noFill/>
                <a:prstDash val="solid"/>
                <a:miter lim="800000"/>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46" name="POWER_USER_ID_ICONS_Flag5"/>
              <p:cNvSpPr>
                <a:spLocks noChangeArrowheads="1"/>
              </p:cNvSpPr>
              <p:nvPr>
                <p:custDataLst>
                  <p:tags r:id="rId40"/>
                </p:custDataLst>
              </p:nvPr>
            </p:nvSpPr>
            <p:spPr bwMode="auto">
              <a:xfrm>
                <a:off x="144" y="26"/>
                <a:ext cx="54" cy="56"/>
              </a:xfrm>
              <a:prstGeom prst="rect">
                <a:avLst/>
              </a:prstGeom>
              <a:grpFill/>
              <a:ln w="0">
                <a:noFill/>
                <a:prstDash val="solid"/>
                <a:miter lim="800000"/>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47" name="POWER_USER_ID_ICONS_Flag5"/>
              <p:cNvSpPr>
                <a:spLocks noChangeArrowheads="1"/>
              </p:cNvSpPr>
              <p:nvPr>
                <p:custDataLst>
                  <p:tags r:id="rId41"/>
                </p:custDataLst>
              </p:nvPr>
            </p:nvSpPr>
            <p:spPr bwMode="auto">
              <a:xfrm>
                <a:off x="198" y="81"/>
                <a:ext cx="55" cy="56"/>
              </a:xfrm>
              <a:prstGeom prst="rect">
                <a:avLst/>
              </a:prstGeom>
              <a:grpFill/>
              <a:ln w="0">
                <a:noFill/>
                <a:prstDash val="solid"/>
                <a:miter lim="800000"/>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48" name="POWER_USER_ID_ICONS_Flag5"/>
              <p:cNvSpPr>
                <a:spLocks noChangeArrowheads="1"/>
              </p:cNvSpPr>
              <p:nvPr>
                <p:custDataLst>
                  <p:tags r:id="rId42"/>
                </p:custDataLst>
              </p:nvPr>
            </p:nvSpPr>
            <p:spPr bwMode="auto">
              <a:xfrm>
                <a:off x="144" y="136"/>
                <a:ext cx="54" cy="56"/>
              </a:xfrm>
              <a:prstGeom prst="rect">
                <a:avLst/>
              </a:prstGeom>
              <a:grpFill/>
              <a:ln w="0">
                <a:noFill/>
                <a:prstDash val="solid"/>
                <a:miter lim="800000"/>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49" name="POWER_USER_ID_ICONS_Flag5"/>
              <p:cNvSpPr>
                <a:spLocks noChangeArrowheads="1"/>
              </p:cNvSpPr>
              <p:nvPr>
                <p:custDataLst>
                  <p:tags r:id="rId43"/>
                </p:custDataLst>
              </p:nvPr>
            </p:nvSpPr>
            <p:spPr bwMode="auto">
              <a:xfrm>
                <a:off x="198" y="191"/>
                <a:ext cx="55" cy="56"/>
              </a:xfrm>
              <a:prstGeom prst="rect">
                <a:avLst/>
              </a:prstGeom>
              <a:grpFill/>
              <a:ln w="0">
                <a:noFill/>
                <a:prstDash val="solid"/>
                <a:miter lim="800000"/>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50" name="POWER_USER_ID_ICONS_Flag5"/>
              <p:cNvSpPr>
                <a:spLocks noChangeArrowheads="1"/>
              </p:cNvSpPr>
              <p:nvPr>
                <p:custDataLst>
                  <p:tags r:id="rId44"/>
                </p:custDataLst>
              </p:nvPr>
            </p:nvSpPr>
            <p:spPr bwMode="auto">
              <a:xfrm>
                <a:off x="253" y="26"/>
                <a:ext cx="56" cy="56"/>
              </a:xfrm>
              <a:prstGeom prst="rect">
                <a:avLst/>
              </a:prstGeom>
              <a:grpFill/>
              <a:ln w="0">
                <a:noFill/>
                <a:prstDash val="solid"/>
                <a:miter lim="800000"/>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51" name="POWER_USER_ID_ICONS_Flag5"/>
              <p:cNvSpPr>
                <a:spLocks noChangeArrowheads="1"/>
              </p:cNvSpPr>
              <p:nvPr>
                <p:custDataLst>
                  <p:tags r:id="rId45"/>
                </p:custDataLst>
              </p:nvPr>
            </p:nvSpPr>
            <p:spPr bwMode="auto">
              <a:xfrm>
                <a:off x="309" y="81"/>
                <a:ext cx="54" cy="56"/>
              </a:xfrm>
              <a:prstGeom prst="rect">
                <a:avLst/>
              </a:prstGeom>
              <a:grpFill/>
              <a:ln w="0">
                <a:noFill/>
                <a:prstDash val="solid"/>
                <a:miter lim="800000"/>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52" name="POWER_USER_ID_ICONS_Flag5"/>
              <p:cNvSpPr>
                <a:spLocks noChangeArrowheads="1"/>
              </p:cNvSpPr>
              <p:nvPr>
                <p:custDataLst>
                  <p:tags r:id="rId46"/>
                </p:custDataLst>
              </p:nvPr>
            </p:nvSpPr>
            <p:spPr bwMode="auto">
              <a:xfrm>
                <a:off x="253" y="136"/>
                <a:ext cx="56" cy="56"/>
              </a:xfrm>
              <a:prstGeom prst="rect">
                <a:avLst/>
              </a:prstGeom>
              <a:grpFill/>
              <a:ln w="0">
                <a:noFill/>
                <a:prstDash val="solid"/>
                <a:miter lim="800000"/>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53" name="POWER_USER_ID_ICONS_Flag5"/>
              <p:cNvSpPr>
                <a:spLocks noChangeArrowheads="1"/>
              </p:cNvSpPr>
              <p:nvPr>
                <p:custDataLst>
                  <p:tags r:id="rId47"/>
                </p:custDataLst>
              </p:nvPr>
            </p:nvSpPr>
            <p:spPr bwMode="auto">
              <a:xfrm>
                <a:off x="309" y="191"/>
                <a:ext cx="54" cy="56"/>
              </a:xfrm>
              <a:prstGeom prst="rect">
                <a:avLst/>
              </a:prstGeom>
              <a:grpFill/>
              <a:ln w="0">
                <a:noFill/>
                <a:prstDash val="solid"/>
                <a:miter lim="800000"/>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54" name="POWER_USER_ID_ICONS_Flag5"/>
              <p:cNvSpPr>
                <a:spLocks noEditPoints="1"/>
              </p:cNvSpPr>
              <p:nvPr>
                <p:custDataLst>
                  <p:tags r:id="rId48"/>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grpSp>
        <p:grpSp>
          <p:nvGrpSpPr>
            <p:cNvPr id="155" name="Group 154"/>
            <p:cNvGrpSpPr>
              <a:grpSpLocks noChangeAspect="1"/>
            </p:cNvGrpSpPr>
            <p:nvPr/>
          </p:nvGrpSpPr>
          <p:grpSpPr>
            <a:xfrm rot="10800000">
              <a:off x="777435" y="3753770"/>
              <a:ext cx="1470074" cy="1483078"/>
              <a:chOff x="9268877" y="1596791"/>
              <a:chExt cx="1005840" cy="1014737"/>
            </a:xfrm>
          </p:grpSpPr>
          <p:sp>
            <p:nvSpPr>
              <p:cNvPr id="156"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sp>
            <p:nvSpPr>
              <p:cNvPr id="157" name="Arc 156"/>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grpSp>
        <p:sp>
          <p:nvSpPr>
            <p:cNvPr id="158" name="Oval 157"/>
            <p:cNvSpPr>
              <a:spLocks noChangeAspect="1"/>
            </p:cNvSpPr>
            <p:nvPr/>
          </p:nvSpPr>
          <p:spPr>
            <a:xfrm>
              <a:off x="1986872"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sp>
          <p:nvSpPr>
            <p:cNvPr id="159" name="Oval 158"/>
            <p:cNvSpPr>
              <a:spLocks noChangeAspect="1"/>
            </p:cNvSpPr>
            <p:nvPr/>
          </p:nvSpPr>
          <p:spPr>
            <a:xfrm>
              <a:off x="4203139"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sp>
          <p:nvSpPr>
            <p:cNvPr id="160" name="Oval 159"/>
            <p:cNvSpPr>
              <a:spLocks noChangeAspect="1"/>
            </p:cNvSpPr>
            <p:nvPr/>
          </p:nvSpPr>
          <p:spPr>
            <a:xfrm>
              <a:off x="6419407"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sp>
          <p:nvSpPr>
            <p:cNvPr id="161" name="TextBox 160"/>
            <p:cNvSpPr txBox="1"/>
            <p:nvPr/>
          </p:nvSpPr>
          <p:spPr>
            <a:xfrm>
              <a:off x="4984030" y="3839418"/>
              <a:ext cx="3362583" cy="834545"/>
            </a:xfrm>
            <a:prstGeom prst="rect">
              <a:avLst/>
            </a:prstGeom>
            <a:noFill/>
          </p:spPr>
          <p:txBody>
            <a:bodyPr wrap="square" rtlCol="0">
              <a:spAutoFit/>
            </a:bodyPr>
            <a:lstStyle/>
            <a:p>
              <a:pPr algn="ctr" defTabSz="436019">
                <a:defRPr/>
              </a:pPr>
              <a:r>
                <a:rPr lang="tr-TR" sz="1807" b="1" kern="0" dirty="0">
                  <a:solidFill>
                    <a:srgbClr val="1F497D"/>
                  </a:solidFill>
                  <a:latin typeface="Calibri"/>
                </a:rPr>
                <a:t>Taahhütname ve </a:t>
              </a:r>
            </a:p>
            <a:p>
              <a:pPr algn="ctr" defTabSz="436019">
                <a:defRPr/>
              </a:pPr>
              <a:r>
                <a:rPr lang="tr-TR" sz="1807" b="1" kern="0" dirty="0">
                  <a:solidFill>
                    <a:srgbClr val="1F497D"/>
                  </a:solidFill>
                  <a:latin typeface="Calibri"/>
                </a:rPr>
                <a:t>TEKMER adı kullanım hakkı sözleşmesi</a:t>
              </a:r>
              <a:endParaRPr lang="en-US" sz="1807" b="1" kern="0" dirty="0">
                <a:solidFill>
                  <a:srgbClr val="1F497D"/>
                </a:solidFill>
                <a:latin typeface="Calibri"/>
              </a:endParaRPr>
            </a:p>
          </p:txBody>
        </p:sp>
        <p:sp>
          <p:nvSpPr>
            <p:cNvPr id="162" name="TextBox 161"/>
            <p:cNvSpPr txBox="1"/>
            <p:nvPr/>
          </p:nvSpPr>
          <p:spPr>
            <a:xfrm>
              <a:off x="3294308" y="3876730"/>
              <a:ext cx="2016128" cy="586152"/>
            </a:xfrm>
            <a:prstGeom prst="rect">
              <a:avLst/>
            </a:prstGeom>
            <a:noFill/>
          </p:spPr>
          <p:txBody>
            <a:bodyPr wrap="none" rtlCol="0">
              <a:spAutoFit/>
            </a:bodyPr>
            <a:lstStyle/>
            <a:p>
              <a:pPr algn="ctr" defTabSz="436019">
                <a:defRPr/>
              </a:pPr>
              <a:r>
                <a:rPr lang="tr-TR" sz="1807" b="1" kern="0" dirty="0">
                  <a:solidFill>
                    <a:srgbClr val="1F497D"/>
                  </a:solidFill>
                  <a:latin typeface="Calibri"/>
                </a:rPr>
                <a:t>Faaliyetin </a:t>
              </a:r>
            </a:p>
            <a:p>
              <a:pPr algn="ctr" defTabSz="436019">
                <a:defRPr/>
              </a:pPr>
              <a:r>
                <a:rPr lang="tr-TR" sz="1807" b="1" kern="0" dirty="0">
                  <a:solidFill>
                    <a:srgbClr val="1F497D"/>
                  </a:solidFill>
                  <a:latin typeface="Calibri"/>
                </a:rPr>
                <a:t>Gerçekleştirilmesi</a:t>
              </a:r>
              <a:endParaRPr lang="en-GB" sz="1807" b="1" kern="0" dirty="0">
                <a:solidFill>
                  <a:srgbClr val="1F497D"/>
                </a:solidFill>
                <a:latin typeface="Calibri"/>
              </a:endParaRPr>
            </a:p>
          </p:txBody>
        </p:sp>
        <p:sp>
          <p:nvSpPr>
            <p:cNvPr id="165" name="TextBox 164"/>
            <p:cNvSpPr txBox="1"/>
            <p:nvPr/>
          </p:nvSpPr>
          <p:spPr>
            <a:xfrm>
              <a:off x="878655" y="5439784"/>
              <a:ext cx="2328457" cy="584182"/>
            </a:xfrm>
            <a:prstGeom prst="rect">
              <a:avLst/>
            </a:prstGeom>
            <a:noFill/>
          </p:spPr>
          <p:txBody>
            <a:bodyPr wrap="none" rtlCol="0">
              <a:spAutoFit/>
            </a:bodyPr>
            <a:lstStyle/>
            <a:p>
              <a:pPr algn="ctr" defTabSz="436019">
                <a:defRPr/>
              </a:pPr>
              <a:r>
                <a:rPr lang="tr-TR" sz="1807" b="1" kern="0" dirty="0">
                  <a:solidFill>
                    <a:srgbClr val="1F497D"/>
                  </a:solidFill>
                  <a:latin typeface="Calibri"/>
                </a:rPr>
                <a:t>Ödeme</a:t>
              </a:r>
            </a:p>
            <a:p>
              <a:pPr algn="ctr" defTabSz="436019">
                <a:defRPr/>
              </a:pPr>
              <a:r>
                <a:rPr lang="tr-TR" sz="1807" b="1" kern="0" dirty="0">
                  <a:solidFill>
                    <a:srgbClr val="1F497D"/>
                  </a:solidFill>
                  <a:latin typeface="Calibri"/>
                </a:rPr>
                <a:t>(4 Aylık Dönemlerde)</a:t>
              </a:r>
              <a:endParaRPr lang="en-GB" sz="1807" b="1" kern="0" dirty="0">
                <a:solidFill>
                  <a:srgbClr val="1F497D"/>
                </a:solidFill>
                <a:latin typeface="Calibri"/>
              </a:endParaRPr>
            </a:p>
          </p:txBody>
        </p:sp>
        <p:sp>
          <p:nvSpPr>
            <p:cNvPr id="167" name="Oval 166"/>
            <p:cNvSpPr>
              <a:spLocks noChangeAspect="1"/>
            </p:cNvSpPr>
            <p:nvPr/>
          </p:nvSpPr>
          <p:spPr>
            <a:xfrm>
              <a:off x="1986872"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sp>
          <p:nvSpPr>
            <p:cNvPr id="168" name="Oval 167"/>
            <p:cNvSpPr>
              <a:spLocks noChangeAspect="1"/>
            </p:cNvSpPr>
            <p:nvPr/>
          </p:nvSpPr>
          <p:spPr>
            <a:xfrm>
              <a:off x="4203139"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sp>
          <p:nvSpPr>
            <p:cNvPr id="169" name="Oval 168"/>
            <p:cNvSpPr>
              <a:spLocks noChangeAspect="1"/>
            </p:cNvSpPr>
            <p:nvPr/>
          </p:nvSpPr>
          <p:spPr>
            <a:xfrm>
              <a:off x="6419407"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36019">
                <a:defRPr/>
              </a:pPr>
              <a:endParaRPr lang="en-US" sz="903" kern="0" dirty="0">
                <a:solidFill>
                  <a:sysClr val="windowText" lastClr="000000"/>
                </a:solidFill>
              </a:endParaRPr>
            </a:p>
          </p:txBody>
        </p:sp>
        <p:sp>
          <p:nvSpPr>
            <p:cNvPr id="170" name="TextBox 169"/>
            <p:cNvSpPr txBox="1"/>
            <p:nvPr/>
          </p:nvSpPr>
          <p:spPr>
            <a:xfrm>
              <a:off x="3347226" y="5441378"/>
              <a:ext cx="1876001" cy="584182"/>
            </a:xfrm>
            <a:prstGeom prst="rect">
              <a:avLst/>
            </a:prstGeom>
            <a:noFill/>
          </p:spPr>
          <p:txBody>
            <a:bodyPr wrap="none" rtlCol="0">
              <a:spAutoFit/>
            </a:bodyPr>
            <a:lstStyle/>
            <a:p>
              <a:pPr algn="ctr" defTabSz="436019">
                <a:defRPr/>
              </a:pPr>
              <a:r>
                <a:rPr lang="tr-TR" sz="1807" b="1" kern="0" dirty="0">
                  <a:solidFill>
                    <a:srgbClr val="1F497D"/>
                  </a:solidFill>
                  <a:latin typeface="Calibri"/>
                </a:rPr>
                <a:t>Destek Sürecinin</a:t>
              </a:r>
            </a:p>
            <a:p>
              <a:pPr algn="ctr" defTabSz="436019">
                <a:defRPr/>
              </a:pPr>
              <a:r>
                <a:rPr lang="tr-TR" sz="1807" b="1" kern="0" dirty="0">
                  <a:solidFill>
                    <a:srgbClr val="1F497D"/>
                  </a:solidFill>
                  <a:latin typeface="Calibri"/>
                </a:rPr>
                <a:t>Tamamlanması</a:t>
              </a:r>
              <a:endParaRPr lang="en-GB" sz="1807" b="1" kern="0" dirty="0">
                <a:solidFill>
                  <a:srgbClr val="1F497D"/>
                </a:solidFill>
                <a:latin typeface="Calibri"/>
              </a:endParaRPr>
            </a:p>
          </p:txBody>
        </p:sp>
        <p:sp>
          <p:nvSpPr>
            <p:cNvPr id="171" name="TextBox 170"/>
            <p:cNvSpPr txBox="1"/>
            <p:nvPr/>
          </p:nvSpPr>
          <p:spPr>
            <a:xfrm>
              <a:off x="904734" y="3962108"/>
              <a:ext cx="2328457" cy="584182"/>
            </a:xfrm>
            <a:prstGeom prst="rect">
              <a:avLst/>
            </a:prstGeom>
            <a:noFill/>
          </p:spPr>
          <p:txBody>
            <a:bodyPr wrap="none" rtlCol="0">
              <a:spAutoFit/>
            </a:bodyPr>
            <a:lstStyle/>
            <a:p>
              <a:pPr algn="ctr" defTabSz="436019">
                <a:defRPr/>
              </a:pPr>
              <a:r>
                <a:rPr lang="tr-TR" sz="1807" b="1" kern="0" dirty="0">
                  <a:solidFill>
                    <a:srgbClr val="1F497D"/>
                  </a:solidFill>
                  <a:latin typeface="Calibri"/>
                </a:rPr>
                <a:t>İzleme</a:t>
              </a:r>
            </a:p>
            <a:p>
              <a:pPr algn="ctr" defTabSz="436019">
                <a:defRPr/>
              </a:pPr>
              <a:r>
                <a:rPr lang="tr-TR" sz="1807" b="1" kern="0" dirty="0">
                  <a:solidFill>
                    <a:srgbClr val="1F497D"/>
                  </a:solidFill>
                  <a:latin typeface="Calibri"/>
                </a:rPr>
                <a:t>(4 Aylık Dönemlerde)</a:t>
              </a:r>
              <a:endParaRPr lang="en-GB" sz="1807" b="1" kern="0" dirty="0">
                <a:solidFill>
                  <a:srgbClr val="1F497D"/>
                </a:solidFill>
                <a:latin typeface="Calibri"/>
              </a:endParaRPr>
            </a:p>
          </p:txBody>
        </p:sp>
        <p:sp>
          <p:nvSpPr>
            <p:cNvPr id="174" name="TextBox 173"/>
            <p:cNvSpPr txBox="1"/>
            <p:nvPr/>
          </p:nvSpPr>
          <p:spPr>
            <a:xfrm>
              <a:off x="5595135" y="5466317"/>
              <a:ext cx="1735874" cy="584182"/>
            </a:xfrm>
            <a:prstGeom prst="rect">
              <a:avLst/>
            </a:prstGeom>
            <a:noFill/>
          </p:spPr>
          <p:txBody>
            <a:bodyPr wrap="none" rtlCol="0">
              <a:spAutoFit/>
            </a:bodyPr>
            <a:lstStyle/>
            <a:p>
              <a:pPr algn="ctr" defTabSz="436019">
                <a:defRPr/>
              </a:pPr>
              <a:r>
                <a:rPr lang="tr-TR" sz="1807" b="1" kern="0" dirty="0">
                  <a:solidFill>
                    <a:srgbClr val="1F497D"/>
                  </a:solidFill>
                  <a:latin typeface="Calibri"/>
                </a:rPr>
                <a:t>Destek Sonrası </a:t>
              </a:r>
            </a:p>
            <a:p>
              <a:pPr algn="ctr" defTabSz="436019">
                <a:defRPr/>
              </a:pPr>
              <a:r>
                <a:rPr lang="tr-TR" sz="1807" b="1" kern="0" dirty="0">
                  <a:solidFill>
                    <a:srgbClr val="1F497D"/>
                  </a:solidFill>
                  <a:latin typeface="Calibri"/>
                </a:rPr>
                <a:t>İzleme</a:t>
              </a:r>
              <a:endParaRPr lang="en-GB" sz="1807" b="1" kern="0" dirty="0">
                <a:solidFill>
                  <a:srgbClr val="1F497D"/>
                </a:solidFill>
                <a:latin typeface="Calibri"/>
              </a:endParaRPr>
            </a:p>
          </p:txBody>
        </p:sp>
        <p:sp>
          <p:nvSpPr>
            <p:cNvPr id="176" name="POWER_USER_ID_ICONS_Board"/>
            <p:cNvSpPr>
              <a:spLocks noChangeAspect="1" noEditPoints="1"/>
            </p:cNvSpPr>
            <p:nvPr>
              <p:custDataLst>
                <p:tags r:id="rId30"/>
              </p:custDataLst>
            </p:nvPr>
          </p:nvSpPr>
          <p:spPr bwMode="auto">
            <a:xfrm>
              <a:off x="4152393" y="3163062"/>
              <a:ext cx="309499" cy="393233"/>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tx2"/>
            </a:solidFill>
            <a:ln>
              <a:noFill/>
            </a:ln>
            <a:extLst/>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82" name="POWER_USER_ID_ICONS_Stopwatch5"/>
            <p:cNvSpPr>
              <a:spLocks noChangeAspect="1" noEditPoints="1"/>
            </p:cNvSpPr>
            <p:nvPr>
              <p:custDataLst>
                <p:tags r:id="rId31"/>
              </p:custDataLst>
            </p:nvPr>
          </p:nvSpPr>
          <p:spPr bwMode="auto">
            <a:xfrm>
              <a:off x="4095708" y="4668639"/>
              <a:ext cx="405224" cy="300563"/>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tx2"/>
            </a:solidFill>
            <a:ln>
              <a:noFill/>
            </a:ln>
            <a:extLst/>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grpSp>
          <p:nvGrpSpPr>
            <p:cNvPr id="184" name="POWER_USER_ID_ICONS_Government"/>
            <p:cNvGrpSpPr>
              <a:grpSpLocks noChangeAspect="1"/>
            </p:cNvGrpSpPr>
            <p:nvPr>
              <p:custDataLst>
                <p:tags r:id="rId32"/>
              </p:custDataLst>
            </p:nvPr>
          </p:nvGrpSpPr>
          <p:grpSpPr bwMode="auto">
            <a:xfrm>
              <a:off x="8643284" y="2639999"/>
              <a:ext cx="439341" cy="438150"/>
              <a:chOff x="3888" y="-1579"/>
              <a:chExt cx="369" cy="368"/>
            </a:xfrm>
            <a:solidFill>
              <a:schemeClr val="tx2"/>
            </a:solidFill>
          </p:grpSpPr>
          <p:sp>
            <p:nvSpPr>
              <p:cNvPr id="185" name="POWER_USER_ID_ICONS_Government"/>
              <p:cNvSpPr>
                <a:spLocks noEditPoints="1"/>
              </p:cNvSpPr>
              <p:nvPr>
                <p:custDataLst>
                  <p:tags r:id="rId33"/>
                </p:custDataLst>
              </p:nvPr>
            </p:nvSpPr>
            <p:spPr bwMode="auto">
              <a:xfrm>
                <a:off x="3888" y="-1484"/>
                <a:ext cx="369" cy="273"/>
              </a:xfrm>
              <a:custGeom>
                <a:avLst/>
                <a:gdLst>
                  <a:gd name="T0" fmla="*/ 207 w 218"/>
                  <a:gd name="T1" fmla="*/ 117 h 161"/>
                  <a:gd name="T2" fmla="*/ 189 w 218"/>
                  <a:gd name="T3" fmla="*/ 117 h 161"/>
                  <a:gd name="T4" fmla="*/ 189 w 218"/>
                  <a:gd name="T5" fmla="*/ 22 h 161"/>
                  <a:gd name="T6" fmla="*/ 207 w 218"/>
                  <a:gd name="T7" fmla="*/ 22 h 161"/>
                  <a:gd name="T8" fmla="*/ 207 w 218"/>
                  <a:gd name="T9" fmla="*/ 0 h 161"/>
                  <a:gd name="T10" fmla="*/ 13 w 218"/>
                  <a:gd name="T11" fmla="*/ 0 h 161"/>
                  <a:gd name="T12" fmla="*/ 13 w 218"/>
                  <a:gd name="T13" fmla="*/ 22 h 161"/>
                  <a:gd name="T14" fmla="*/ 27 w 218"/>
                  <a:gd name="T15" fmla="*/ 22 h 161"/>
                  <a:gd name="T16" fmla="*/ 27 w 218"/>
                  <a:gd name="T17" fmla="*/ 117 h 161"/>
                  <a:gd name="T18" fmla="*/ 13 w 218"/>
                  <a:gd name="T19" fmla="*/ 117 h 161"/>
                  <a:gd name="T20" fmla="*/ 13 w 218"/>
                  <a:gd name="T21" fmla="*/ 139 h 161"/>
                  <a:gd name="T22" fmla="*/ 0 w 218"/>
                  <a:gd name="T23" fmla="*/ 139 h 161"/>
                  <a:gd name="T24" fmla="*/ 0 w 218"/>
                  <a:gd name="T25" fmla="*/ 161 h 161"/>
                  <a:gd name="T26" fmla="*/ 218 w 218"/>
                  <a:gd name="T27" fmla="*/ 161 h 161"/>
                  <a:gd name="T28" fmla="*/ 218 w 218"/>
                  <a:gd name="T29" fmla="*/ 139 h 161"/>
                  <a:gd name="T30" fmla="*/ 207 w 218"/>
                  <a:gd name="T31" fmla="*/ 139 h 161"/>
                  <a:gd name="T32" fmla="*/ 207 w 218"/>
                  <a:gd name="T33" fmla="*/ 117 h 161"/>
                  <a:gd name="T34" fmla="*/ 97 w 218"/>
                  <a:gd name="T35" fmla="*/ 117 h 161"/>
                  <a:gd name="T36" fmla="*/ 97 w 218"/>
                  <a:gd name="T37" fmla="*/ 22 h 161"/>
                  <a:gd name="T38" fmla="*/ 120 w 218"/>
                  <a:gd name="T39" fmla="*/ 22 h 161"/>
                  <a:gd name="T40" fmla="*/ 120 w 218"/>
                  <a:gd name="T41" fmla="*/ 117 h 161"/>
                  <a:gd name="T42" fmla="*/ 97 w 218"/>
                  <a:gd name="T43" fmla="*/ 117 h 161"/>
                  <a:gd name="T44" fmla="*/ 167 w 218"/>
                  <a:gd name="T45" fmla="*/ 117 h 161"/>
                  <a:gd name="T46" fmla="*/ 143 w 218"/>
                  <a:gd name="T47" fmla="*/ 117 h 161"/>
                  <a:gd name="T48" fmla="*/ 143 w 218"/>
                  <a:gd name="T49" fmla="*/ 22 h 161"/>
                  <a:gd name="T50" fmla="*/ 167 w 218"/>
                  <a:gd name="T51" fmla="*/ 22 h 161"/>
                  <a:gd name="T52" fmla="*/ 167 w 218"/>
                  <a:gd name="T53" fmla="*/ 117 h 161"/>
                  <a:gd name="T54" fmla="*/ 49 w 218"/>
                  <a:gd name="T55" fmla="*/ 22 h 161"/>
                  <a:gd name="T56" fmla="*/ 73 w 218"/>
                  <a:gd name="T57" fmla="*/ 22 h 161"/>
                  <a:gd name="T58" fmla="*/ 73 w 218"/>
                  <a:gd name="T59" fmla="*/ 117 h 161"/>
                  <a:gd name="T60" fmla="*/ 49 w 218"/>
                  <a:gd name="T61" fmla="*/ 117 h 161"/>
                  <a:gd name="T62" fmla="*/ 49 w 218"/>
                  <a:gd name="T63" fmla="*/ 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8" h="161">
                    <a:moveTo>
                      <a:pt x="207" y="117"/>
                    </a:moveTo>
                    <a:lnTo>
                      <a:pt x="189" y="117"/>
                    </a:lnTo>
                    <a:lnTo>
                      <a:pt x="189" y="22"/>
                    </a:lnTo>
                    <a:lnTo>
                      <a:pt x="207" y="22"/>
                    </a:lnTo>
                    <a:lnTo>
                      <a:pt x="207" y="0"/>
                    </a:lnTo>
                    <a:lnTo>
                      <a:pt x="13" y="0"/>
                    </a:lnTo>
                    <a:lnTo>
                      <a:pt x="13" y="22"/>
                    </a:lnTo>
                    <a:lnTo>
                      <a:pt x="27" y="22"/>
                    </a:lnTo>
                    <a:lnTo>
                      <a:pt x="27" y="117"/>
                    </a:lnTo>
                    <a:lnTo>
                      <a:pt x="13" y="117"/>
                    </a:lnTo>
                    <a:lnTo>
                      <a:pt x="13" y="139"/>
                    </a:lnTo>
                    <a:lnTo>
                      <a:pt x="0" y="139"/>
                    </a:lnTo>
                    <a:lnTo>
                      <a:pt x="0" y="161"/>
                    </a:lnTo>
                    <a:lnTo>
                      <a:pt x="218" y="161"/>
                    </a:lnTo>
                    <a:lnTo>
                      <a:pt x="218" y="139"/>
                    </a:lnTo>
                    <a:lnTo>
                      <a:pt x="207" y="139"/>
                    </a:lnTo>
                    <a:lnTo>
                      <a:pt x="207" y="117"/>
                    </a:lnTo>
                    <a:close/>
                    <a:moveTo>
                      <a:pt x="97" y="117"/>
                    </a:moveTo>
                    <a:lnTo>
                      <a:pt x="97" y="22"/>
                    </a:lnTo>
                    <a:lnTo>
                      <a:pt x="120" y="22"/>
                    </a:lnTo>
                    <a:lnTo>
                      <a:pt x="120" y="117"/>
                    </a:lnTo>
                    <a:lnTo>
                      <a:pt x="97" y="117"/>
                    </a:lnTo>
                    <a:close/>
                    <a:moveTo>
                      <a:pt x="167" y="117"/>
                    </a:moveTo>
                    <a:lnTo>
                      <a:pt x="143" y="117"/>
                    </a:lnTo>
                    <a:lnTo>
                      <a:pt x="143" y="22"/>
                    </a:lnTo>
                    <a:lnTo>
                      <a:pt x="167" y="22"/>
                    </a:lnTo>
                    <a:lnTo>
                      <a:pt x="167" y="117"/>
                    </a:lnTo>
                    <a:close/>
                    <a:moveTo>
                      <a:pt x="49" y="22"/>
                    </a:moveTo>
                    <a:lnTo>
                      <a:pt x="73" y="22"/>
                    </a:lnTo>
                    <a:lnTo>
                      <a:pt x="73" y="117"/>
                    </a:lnTo>
                    <a:lnTo>
                      <a:pt x="49" y="117"/>
                    </a:lnTo>
                    <a:lnTo>
                      <a:pt x="49" y="22"/>
                    </a:ln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sp>
            <p:nvSpPr>
              <p:cNvPr id="186" name="POWER_USER_ID_ICONS_Government"/>
              <p:cNvSpPr>
                <a:spLocks/>
              </p:cNvSpPr>
              <p:nvPr>
                <p:custDataLst>
                  <p:tags r:id="rId34"/>
                </p:custDataLst>
              </p:nvPr>
            </p:nvSpPr>
            <p:spPr bwMode="auto">
              <a:xfrm>
                <a:off x="3888" y="-1579"/>
                <a:ext cx="369" cy="84"/>
              </a:xfrm>
              <a:custGeom>
                <a:avLst/>
                <a:gdLst>
                  <a:gd name="T0" fmla="*/ 218 w 218"/>
                  <a:gd name="T1" fmla="*/ 27 h 50"/>
                  <a:gd name="T2" fmla="*/ 218 w 218"/>
                  <a:gd name="T3" fmla="*/ 27 h 50"/>
                  <a:gd name="T4" fmla="*/ 218 w 218"/>
                  <a:gd name="T5" fmla="*/ 27 h 50"/>
                  <a:gd name="T6" fmla="*/ 218 w 218"/>
                  <a:gd name="T7" fmla="*/ 27 h 50"/>
                  <a:gd name="T8" fmla="*/ 109 w 218"/>
                  <a:gd name="T9" fmla="*/ 0 h 50"/>
                  <a:gd name="T10" fmla="*/ 0 w 218"/>
                  <a:gd name="T11" fmla="*/ 27 h 50"/>
                  <a:gd name="T12" fmla="*/ 0 w 218"/>
                  <a:gd name="T13" fmla="*/ 27 h 50"/>
                  <a:gd name="T14" fmla="*/ 0 w 218"/>
                  <a:gd name="T15" fmla="*/ 27 h 50"/>
                  <a:gd name="T16" fmla="*/ 0 w 218"/>
                  <a:gd name="T17" fmla="*/ 27 h 50"/>
                  <a:gd name="T18" fmla="*/ 0 w 218"/>
                  <a:gd name="T19" fmla="*/ 27 h 50"/>
                  <a:gd name="T20" fmla="*/ 0 w 218"/>
                  <a:gd name="T21" fmla="*/ 50 h 50"/>
                  <a:gd name="T22" fmla="*/ 218 w 218"/>
                  <a:gd name="T23" fmla="*/ 50 h 50"/>
                  <a:gd name="T24" fmla="*/ 218 w 218"/>
                  <a:gd name="T25"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50">
                    <a:moveTo>
                      <a:pt x="218" y="27"/>
                    </a:moveTo>
                    <a:lnTo>
                      <a:pt x="218" y="27"/>
                    </a:lnTo>
                    <a:lnTo>
                      <a:pt x="218" y="27"/>
                    </a:lnTo>
                    <a:lnTo>
                      <a:pt x="218" y="27"/>
                    </a:lnTo>
                    <a:lnTo>
                      <a:pt x="109" y="0"/>
                    </a:lnTo>
                    <a:lnTo>
                      <a:pt x="0" y="27"/>
                    </a:lnTo>
                    <a:lnTo>
                      <a:pt x="0" y="27"/>
                    </a:lnTo>
                    <a:lnTo>
                      <a:pt x="0" y="27"/>
                    </a:lnTo>
                    <a:lnTo>
                      <a:pt x="0" y="27"/>
                    </a:lnTo>
                    <a:lnTo>
                      <a:pt x="0" y="27"/>
                    </a:lnTo>
                    <a:lnTo>
                      <a:pt x="0" y="50"/>
                    </a:lnTo>
                    <a:lnTo>
                      <a:pt x="218" y="50"/>
                    </a:lnTo>
                    <a:lnTo>
                      <a:pt x="218" y="27"/>
                    </a:lnTo>
                    <a:close/>
                  </a:path>
                </a:pathLst>
              </a:custGeom>
              <a:grpFill/>
              <a:ln w="0">
                <a:noFill/>
                <a:prstDash val="solid"/>
                <a:round/>
                <a:headEnd/>
                <a:tailEnd/>
              </a:ln>
            </p:spPr>
            <p:txBody>
              <a:bodyPr vert="horz" wrap="square" lIns="52008" tIns="26004" rIns="52008" bIns="26004" numCol="1" anchor="t" anchorCtr="0" compatLnSpc="1">
                <a:prstTxWarp prst="textNoShape">
                  <a:avLst/>
                </a:prstTxWarp>
              </a:bodyPr>
              <a:lstStyle/>
              <a:p>
                <a:pPr defTabSz="436019">
                  <a:defRPr/>
                </a:pPr>
                <a:endParaRPr lang="en-US" sz="903" kern="0" dirty="0">
                  <a:solidFill>
                    <a:sysClr val="windowText" lastClr="000000"/>
                  </a:solidFill>
                  <a:latin typeface="Calibri"/>
                </a:endParaRPr>
              </a:p>
            </p:txBody>
          </p:sp>
        </p:grpSp>
      </p:grpSp>
      <p:grpSp>
        <p:nvGrpSpPr>
          <p:cNvPr id="131" name="Rocket2"/>
          <p:cNvGrpSpPr>
            <a:grpSpLocks noChangeAspect="1"/>
          </p:cNvGrpSpPr>
          <p:nvPr>
            <p:custDataLst>
              <p:tags r:id="rId2"/>
            </p:custDataLst>
          </p:nvPr>
        </p:nvGrpSpPr>
        <p:grpSpPr bwMode="auto">
          <a:xfrm>
            <a:off x="3181102" y="4664148"/>
            <a:ext cx="311608" cy="410203"/>
            <a:chOff x="2506" y="943"/>
            <a:chExt cx="2548" cy="2525"/>
          </a:xfrm>
          <a:solidFill>
            <a:srgbClr val="1F497D"/>
          </a:solidFill>
        </p:grpSpPr>
        <p:sp>
          <p:nvSpPr>
            <p:cNvPr id="132" name="Freeform 619"/>
            <p:cNvSpPr>
              <a:spLocks/>
            </p:cNvSpPr>
            <p:nvPr/>
          </p:nvSpPr>
          <p:spPr bwMode="auto">
            <a:xfrm>
              <a:off x="2510" y="2410"/>
              <a:ext cx="1044" cy="1046"/>
            </a:xfrm>
            <a:custGeom>
              <a:avLst/>
              <a:gdLst>
                <a:gd name="T0" fmla="*/ 263 w 263"/>
                <a:gd name="T1" fmla="*/ 94 h 263"/>
                <a:gd name="T2" fmla="*/ 253 w 263"/>
                <a:gd name="T3" fmla="*/ 94 h 263"/>
                <a:gd name="T4" fmla="*/ 234 w 263"/>
                <a:gd name="T5" fmla="*/ 94 h 263"/>
                <a:gd name="T6" fmla="*/ 151 w 263"/>
                <a:gd name="T7" fmla="*/ 159 h 263"/>
                <a:gd name="T8" fmla="*/ 118 w 263"/>
                <a:gd name="T9" fmla="*/ 178 h 263"/>
                <a:gd name="T10" fmla="*/ 95 w 263"/>
                <a:gd name="T11" fmla="*/ 167 h 263"/>
                <a:gd name="T12" fmla="*/ 85 w 263"/>
                <a:gd name="T13" fmla="*/ 144 h 263"/>
                <a:gd name="T14" fmla="*/ 104 w 263"/>
                <a:gd name="T15" fmla="*/ 112 h 263"/>
                <a:gd name="T16" fmla="*/ 106 w 263"/>
                <a:gd name="T17" fmla="*/ 109 h 263"/>
                <a:gd name="T18" fmla="*/ 169 w 263"/>
                <a:gd name="T19" fmla="*/ 29 h 263"/>
                <a:gd name="T20" fmla="*/ 168 w 263"/>
                <a:gd name="T21" fmla="*/ 0 h 263"/>
                <a:gd name="T22" fmla="*/ 146 w 263"/>
                <a:gd name="T23" fmla="*/ 20 h 263"/>
                <a:gd name="T24" fmla="*/ 11 w 263"/>
                <a:gd name="T25" fmla="*/ 252 h 263"/>
                <a:gd name="T26" fmla="*/ 243 w 263"/>
                <a:gd name="T27" fmla="*/ 117 h 263"/>
                <a:gd name="T28" fmla="*/ 263 w 263"/>
                <a:gd name="T29" fmla="*/ 9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263">
                  <a:moveTo>
                    <a:pt x="263" y="94"/>
                  </a:moveTo>
                  <a:cubicBezTo>
                    <a:pt x="259" y="94"/>
                    <a:pt x="256" y="94"/>
                    <a:pt x="253" y="94"/>
                  </a:cubicBezTo>
                  <a:cubicBezTo>
                    <a:pt x="246" y="94"/>
                    <a:pt x="240" y="94"/>
                    <a:pt x="234" y="94"/>
                  </a:cubicBezTo>
                  <a:lnTo>
                    <a:pt x="151" y="159"/>
                  </a:lnTo>
                  <a:cubicBezTo>
                    <a:pt x="142" y="168"/>
                    <a:pt x="132" y="178"/>
                    <a:pt x="118" y="178"/>
                  </a:cubicBezTo>
                  <a:cubicBezTo>
                    <a:pt x="110" y="178"/>
                    <a:pt x="102" y="174"/>
                    <a:pt x="95" y="167"/>
                  </a:cubicBezTo>
                  <a:cubicBezTo>
                    <a:pt x="88" y="160"/>
                    <a:pt x="85" y="153"/>
                    <a:pt x="85" y="144"/>
                  </a:cubicBezTo>
                  <a:cubicBezTo>
                    <a:pt x="85" y="130"/>
                    <a:pt x="95" y="121"/>
                    <a:pt x="104" y="112"/>
                  </a:cubicBezTo>
                  <a:lnTo>
                    <a:pt x="106" y="109"/>
                  </a:lnTo>
                  <a:lnTo>
                    <a:pt x="169" y="29"/>
                  </a:lnTo>
                  <a:cubicBezTo>
                    <a:pt x="168" y="20"/>
                    <a:pt x="168" y="11"/>
                    <a:pt x="168" y="0"/>
                  </a:cubicBezTo>
                  <a:cubicBezTo>
                    <a:pt x="161" y="6"/>
                    <a:pt x="154" y="12"/>
                    <a:pt x="146" y="20"/>
                  </a:cubicBezTo>
                  <a:cubicBezTo>
                    <a:pt x="62" y="104"/>
                    <a:pt x="0" y="242"/>
                    <a:pt x="11" y="252"/>
                  </a:cubicBezTo>
                  <a:cubicBezTo>
                    <a:pt x="21" y="263"/>
                    <a:pt x="158" y="201"/>
                    <a:pt x="243" y="117"/>
                  </a:cubicBezTo>
                  <a:cubicBezTo>
                    <a:pt x="251" y="109"/>
                    <a:pt x="257" y="102"/>
                    <a:pt x="263" y="94"/>
                  </a:cubicBezTo>
                  <a:close/>
                </a:path>
              </a:pathLst>
            </a:custGeom>
            <a:grpFill/>
            <a:ln w="9525">
              <a:noFill/>
              <a:round/>
              <a:headEnd/>
              <a:tailEnd/>
            </a:ln>
            <a:extLst/>
          </p:spPr>
          <p:txBody>
            <a:bodyPr vert="horz" wrap="square" lIns="69344" tIns="34671" rIns="69344" bIns="34671" numCol="1" anchor="t" anchorCtr="0" compatLnSpc="1">
              <a:prstTxWarp prst="textNoShape">
                <a:avLst/>
              </a:prstTxWarp>
            </a:bodyPr>
            <a:lstStyle/>
            <a:p>
              <a:pPr defTabSz="769548"/>
              <a:endParaRPr lang="en-US" sz="1807" dirty="0">
                <a:solidFill>
                  <a:prstClr val="black"/>
                </a:solidFill>
                <a:latin typeface="Calibri"/>
              </a:endParaRPr>
            </a:p>
          </p:txBody>
        </p:sp>
        <p:sp>
          <p:nvSpPr>
            <p:cNvPr id="133" name="Freeform 620"/>
            <p:cNvSpPr>
              <a:spLocks/>
            </p:cNvSpPr>
            <p:nvPr/>
          </p:nvSpPr>
          <p:spPr bwMode="auto">
            <a:xfrm>
              <a:off x="2994" y="2040"/>
              <a:ext cx="941" cy="931"/>
            </a:xfrm>
            <a:custGeom>
              <a:avLst/>
              <a:gdLst>
                <a:gd name="T0" fmla="*/ 0 w 237"/>
                <a:gd name="T1" fmla="*/ 234 h 234"/>
                <a:gd name="T2" fmla="*/ 5 w 237"/>
                <a:gd name="T3" fmla="*/ 228 h 234"/>
                <a:gd name="T4" fmla="*/ 10 w 237"/>
                <a:gd name="T5" fmla="*/ 224 h 234"/>
                <a:gd name="T6" fmla="*/ 221 w 237"/>
                <a:gd name="T7" fmla="*/ 60 h 234"/>
                <a:gd name="T8" fmla="*/ 232 w 237"/>
                <a:gd name="T9" fmla="*/ 1 h 234"/>
                <a:gd name="T10" fmla="*/ 223 w 237"/>
                <a:gd name="T11" fmla="*/ 0 h 234"/>
                <a:gd name="T12" fmla="*/ 174 w 237"/>
                <a:gd name="T13" fmla="*/ 13 h 234"/>
                <a:gd name="T14" fmla="*/ 5 w 237"/>
                <a:gd name="T15" fmla="*/ 228 h 234"/>
                <a:gd name="T16" fmla="*/ 0 w 237"/>
                <a:gd name="T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34">
                  <a:moveTo>
                    <a:pt x="0" y="234"/>
                  </a:moveTo>
                  <a:cubicBezTo>
                    <a:pt x="2" y="232"/>
                    <a:pt x="4" y="230"/>
                    <a:pt x="5" y="228"/>
                  </a:cubicBezTo>
                  <a:lnTo>
                    <a:pt x="10" y="224"/>
                  </a:lnTo>
                  <a:lnTo>
                    <a:pt x="221" y="60"/>
                  </a:lnTo>
                  <a:cubicBezTo>
                    <a:pt x="228" y="51"/>
                    <a:pt x="237" y="13"/>
                    <a:pt x="232" y="1"/>
                  </a:cubicBezTo>
                  <a:cubicBezTo>
                    <a:pt x="231" y="1"/>
                    <a:pt x="228" y="0"/>
                    <a:pt x="223" y="0"/>
                  </a:cubicBezTo>
                  <a:cubicBezTo>
                    <a:pt x="203" y="0"/>
                    <a:pt x="180" y="8"/>
                    <a:pt x="174" y="13"/>
                  </a:cubicBezTo>
                  <a:lnTo>
                    <a:pt x="5" y="228"/>
                  </a:lnTo>
                  <a:cubicBezTo>
                    <a:pt x="4" y="230"/>
                    <a:pt x="2" y="232"/>
                    <a:pt x="0" y="234"/>
                  </a:cubicBezTo>
                  <a:close/>
                </a:path>
              </a:pathLst>
            </a:custGeom>
            <a:grpFill/>
            <a:ln w="9525">
              <a:noFill/>
              <a:round/>
              <a:headEnd/>
              <a:tailEnd/>
            </a:ln>
            <a:extLst/>
          </p:spPr>
          <p:txBody>
            <a:bodyPr vert="horz" wrap="square" lIns="69344" tIns="34671" rIns="69344" bIns="34671" numCol="1" anchor="t" anchorCtr="0" compatLnSpc="1">
              <a:prstTxWarp prst="textNoShape">
                <a:avLst/>
              </a:prstTxWarp>
            </a:bodyPr>
            <a:lstStyle/>
            <a:p>
              <a:pPr defTabSz="769548"/>
              <a:endParaRPr lang="en-US" sz="1807" dirty="0">
                <a:solidFill>
                  <a:prstClr val="black"/>
                </a:solidFill>
                <a:latin typeface="Calibri"/>
              </a:endParaRPr>
            </a:p>
          </p:txBody>
        </p:sp>
        <p:sp>
          <p:nvSpPr>
            <p:cNvPr id="183" name="Freeform 621"/>
            <p:cNvSpPr>
              <a:spLocks/>
            </p:cNvSpPr>
            <p:nvPr/>
          </p:nvSpPr>
          <p:spPr bwMode="auto">
            <a:xfrm>
              <a:off x="3359" y="2514"/>
              <a:ext cx="1100" cy="954"/>
            </a:xfrm>
            <a:custGeom>
              <a:avLst/>
              <a:gdLst>
                <a:gd name="T0" fmla="*/ 73 w 277"/>
                <a:gd name="T1" fmla="*/ 67 h 240"/>
                <a:gd name="T2" fmla="*/ 11 w 277"/>
                <a:gd name="T3" fmla="*/ 205 h 240"/>
                <a:gd name="T4" fmla="*/ 55 w 277"/>
                <a:gd name="T5" fmla="*/ 221 h 240"/>
                <a:gd name="T6" fmla="*/ 190 w 277"/>
                <a:gd name="T7" fmla="*/ 147 h 240"/>
                <a:gd name="T8" fmla="*/ 276 w 277"/>
                <a:gd name="T9" fmla="*/ 13 h 240"/>
                <a:gd name="T10" fmla="*/ 275 w 277"/>
                <a:gd name="T11" fmla="*/ 0 h 240"/>
                <a:gd name="T12" fmla="*/ 73 w 277"/>
                <a:gd name="T13" fmla="*/ 67 h 240"/>
              </a:gdLst>
              <a:ahLst/>
              <a:cxnLst>
                <a:cxn ang="0">
                  <a:pos x="T0" y="T1"/>
                </a:cxn>
                <a:cxn ang="0">
                  <a:pos x="T2" y="T3"/>
                </a:cxn>
                <a:cxn ang="0">
                  <a:pos x="T4" y="T5"/>
                </a:cxn>
                <a:cxn ang="0">
                  <a:pos x="T6" y="T7"/>
                </a:cxn>
                <a:cxn ang="0">
                  <a:pos x="T8" y="T9"/>
                </a:cxn>
                <a:cxn ang="0">
                  <a:pos x="T10" y="T11"/>
                </a:cxn>
                <a:cxn ang="0">
                  <a:pos x="T12" y="T13"/>
                </a:cxn>
              </a:cxnLst>
              <a:rect l="0" t="0" r="r" b="b"/>
              <a:pathLst>
                <a:path w="277" h="240">
                  <a:moveTo>
                    <a:pt x="73" y="67"/>
                  </a:moveTo>
                  <a:cubicBezTo>
                    <a:pt x="43" y="128"/>
                    <a:pt x="11" y="205"/>
                    <a:pt x="11" y="205"/>
                  </a:cubicBezTo>
                  <a:cubicBezTo>
                    <a:pt x="0" y="225"/>
                    <a:pt x="17" y="240"/>
                    <a:pt x="55" y="221"/>
                  </a:cubicBezTo>
                  <a:lnTo>
                    <a:pt x="190" y="147"/>
                  </a:lnTo>
                  <a:cubicBezTo>
                    <a:pt x="263" y="106"/>
                    <a:pt x="277" y="96"/>
                    <a:pt x="276" y="13"/>
                  </a:cubicBezTo>
                  <a:lnTo>
                    <a:pt x="275" y="0"/>
                  </a:lnTo>
                  <a:cubicBezTo>
                    <a:pt x="209" y="46"/>
                    <a:pt x="134" y="63"/>
                    <a:pt x="73" y="67"/>
                  </a:cubicBezTo>
                  <a:close/>
                </a:path>
              </a:pathLst>
            </a:custGeom>
            <a:grpFill/>
            <a:ln w="9525">
              <a:noFill/>
              <a:round/>
              <a:headEnd/>
              <a:tailEnd/>
            </a:ln>
            <a:extLst/>
          </p:spPr>
          <p:txBody>
            <a:bodyPr vert="horz" wrap="square" lIns="69344" tIns="34671" rIns="69344" bIns="34671" numCol="1" anchor="t" anchorCtr="0" compatLnSpc="1">
              <a:prstTxWarp prst="textNoShape">
                <a:avLst/>
              </a:prstTxWarp>
            </a:bodyPr>
            <a:lstStyle/>
            <a:p>
              <a:pPr defTabSz="769548"/>
              <a:endParaRPr lang="en-US" sz="1807" dirty="0">
                <a:solidFill>
                  <a:prstClr val="black"/>
                </a:solidFill>
                <a:latin typeface="Calibri"/>
              </a:endParaRPr>
            </a:p>
          </p:txBody>
        </p:sp>
        <p:sp>
          <p:nvSpPr>
            <p:cNvPr id="198" name="Freeform 622"/>
            <p:cNvSpPr>
              <a:spLocks/>
            </p:cNvSpPr>
            <p:nvPr/>
          </p:nvSpPr>
          <p:spPr bwMode="auto">
            <a:xfrm>
              <a:off x="2506" y="1511"/>
              <a:ext cx="937" cy="1102"/>
            </a:xfrm>
            <a:custGeom>
              <a:avLst/>
              <a:gdLst>
                <a:gd name="T0" fmla="*/ 35 w 236"/>
                <a:gd name="T1" fmla="*/ 266 h 277"/>
                <a:gd name="T2" fmla="*/ 170 w 236"/>
                <a:gd name="T3" fmla="*/ 206 h 277"/>
                <a:gd name="T4" fmla="*/ 236 w 236"/>
                <a:gd name="T5" fmla="*/ 2 h 277"/>
                <a:gd name="T6" fmla="*/ 227 w 236"/>
                <a:gd name="T7" fmla="*/ 1 h 277"/>
                <a:gd name="T8" fmla="*/ 94 w 236"/>
                <a:gd name="T9" fmla="*/ 87 h 277"/>
                <a:gd name="T10" fmla="*/ 20 w 236"/>
                <a:gd name="T11" fmla="*/ 223 h 277"/>
                <a:gd name="T12" fmla="*/ 35 w 236"/>
                <a:gd name="T13" fmla="*/ 266 h 277"/>
              </a:gdLst>
              <a:ahLst/>
              <a:cxnLst>
                <a:cxn ang="0">
                  <a:pos x="T0" y="T1"/>
                </a:cxn>
                <a:cxn ang="0">
                  <a:pos x="T2" y="T3"/>
                </a:cxn>
                <a:cxn ang="0">
                  <a:pos x="T4" y="T5"/>
                </a:cxn>
                <a:cxn ang="0">
                  <a:pos x="T6" y="T7"/>
                </a:cxn>
                <a:cxn ang="0">
                  <a:pos x="T8" y="T9"/>
                </a:cxn>
                <a:cxn ang="0">
                  <a:pos x="T10" y="T11"/>
                </a:cxn>
                <a:cxn ang="0">
                  <a:pos x="T12" y="T13"/>
                </a:cxn>
              </a:cxnLst>
              <a:rect l="0" t="0" r="r" b="b"/>
              <a:pathLst>
                <a:path w="236" h="277">
                  <a:moveTo>
                    <a:pt x="35" y="266"/>
                  </a:moveTo>
                  <a:cubicBezTo>
                    <a:pt x="35" y="266"/>
                    <a:pt x="109" y="235"/>
                    <a:pt x="170" y="206"/>
                  </a:cubicBezTo>
                  <a:cubicBezTo>
                    <a:pt x="174" y="147"/>
                    <a:pt x="189" y="70"/>
                    <a:pt x="236" y="2"/>
                  </a:cubicBezTo>
                  <a:lnTo>
                    <a:pt x="227" y="1"/>
                  </a:lnTo>
                  <a:cubicBezTo>
                    <a:pt x="145" y="0"/>
                    <a:pt x="134" y="14"/>
                    <a:pt x="94" y="87"/>
                  </a:cubicBezTo>
                  <a:lnTo>
                    <a:pt x="20" y="223"/>
                  </a:lnTo>
                  <a:cubicBezTo>
                    <a:pt x="0" y="260"/>
                    <a:pt x="15" y="277"/>
                    <a:pt x="35" y="266"/>
                  </a:cubicBezTo>
                </a:path>
              </a:pathLst>
            </a:custGeom>
            <a:grpFill/>
            <a:ln w="9525">
              <a:noFill/>
              <a:round/>
              <a:headEnd/>
              <a:tailEnd/>
            </a:ln>
            <a:extLst/>
          </p:spPr>
          <p:txBody>
            <a:bodyPr vert="horz" wrap="square" lIns="69344" tIns="34671" rIns="69344" bIns="34671" numCol="1" anchor="t" anchorCtr="0" compatLnSpc="1">
              <a:prstTxWarp prst="textNoShape">
                <a:avLst/>
              </a:prstTxWarp>
            </a:bodyPr>
            <a:lstStyle/>
            <a:p>
              <a:pPr defTabSz="769548"/>
              <a:endParaRPr lang="en-US" sz="1807" dirty="0">
                <a:solidFill>
                  <a:prstClr val="black"/>
                </a:solidFill>
                <a:latin typeface="Calibri"/>
              </a:endParaRPr>
            </a:p>
          </p:txBody>
        </p:sp>
        <p:sp>
          <p:nvSpPr>
            <p:cNvPr id="199" name="Freeform 623"/>
            <p:cNvSpPr>
              <a:spLocks noEditPoints="1"/>
            </p:cNvSpPr>
            <p:nvPr/>
          </p:nvSpPr>
          <p:spPr bwMode="auto">
            <a:xfrm>
              <a:off x="3316" y="943"/>
              <a:ext cx="1738" cy="1706"/>
            </a:xfrm>
            <a:custGeom>
              <a:avLst/>
              <a:gdLst>
                <a:gd name="T0" fmla="*/ 367 w 438"/>
                <a:gd name="T1" fmla="*/ 111 h 429"/>
                <a:gd name="T2" fmla="*/ 320 w 438"/>
                <a:gd name="T3" fmla="*/ 111 h 429"/>
                <a:gd name="T4" fmla="*/ 320 w 438"/>
                <a:gd name="T5" fmla="*/ 64 h 429"/>
                <a:gd name="T6" fmla="*/ 367 w 438"/>
                <a:gd name="T7" fmla="*/ 64 h 429"/>
                <a:gd name="T8" fmla="*/ 367 w 438"/>
                <a:gd name="T9" fmla="*/ 111 h 429"/>
                <a:gd name="T10" fmla="*/ 296 w 438"/>
                <a:gd name="T11" fmla="*/ 229 h 429"/>
                <a:gd name="T12" fmla="*/ 202 w 438"/>
                <a:gd name="T13" fmla="*/ 229 h 429"/>
                <a:gd name="T14" fmla="*/ 202 w 438"/>
                <a:gd name="T15" fmla="*/ 135 h 429"/>
                <a:gd name="T16" fmla="*/ 296 w 438"/>
                <a:gd name="T17" fmla="*/ 135 h 429"/>
                <a:gd name="T18" fmla="*/ 296 w 438"/>
                <a:gd name="T19" fmla="*/ 229 h 429"/>
                <a:gd name="T20" fmla="*/ 383 w 438"/>
                <a:gd name="T21" fmla="*/ 0 h 429"/>
                <a:gd name="T22" fmla="*/ 93 w 438"/>
                <a:gd name="T23" fmla="*/ 124 h 429"/>
                <a:gd name="T24" fmla="*/ 0 w 438"/>
                <a:gd name="T25" fmla="*/ 354 h 429"/>
                <a:gd name="T26" fmla="*/ 69 w 438"/>
                <a:gd name="T27" fmla="*/ 265 h 429"/>
                <a:gd name="T28" fmla="*/ 142 w 438"/>
                <a:gd name="T29" fmla="*/ 243 h 429"/>
                <a:gd name="T30" fmla="*/ 175 w 438"/>
                <a:gd name="T31" fmla="*/ 254 h 429"/>
                <a:gd name="T32" fmla="*/ 163 w 438"/>
                <a:gd name="T33" fmla="*/ 360 h 429"/>
                <a:gd name="T34" fmla="*/ 162 w 438"/>
                <a:gd name="T35" fmla="*/ 361 h 429"/>
                <a:gd name="T36" fmla="*/ 74 w 438"/>
                <a:gd name="T37" fmla="*/ 429 h 429"/>
                <a:gd name="T38" fmla="*/ 304 w 438"/>
                <a:gd name="T39" fmla="*/ 336 h 429"/>
                <a:gd name="T40" fmla="*/ 422 w 438"/>
                <a:gd name="T41" fmla="*/ 6 h 429"/>
                <a:gd name="T42" fmla="*/ 383 w 438"/>
                <a:gd name="T43"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8" h="429">
                  <a:moveTo>
                    <a:pt x="367" y="111"/>
                  </a:moveTo>
                  <a:cubicBezTo>
                    <a:pt x="354" y="124"/>
                    <a:pt x="333" y="124"/>
                    <a:pt x="320" y="111"/>
                  </a:cubicBezTo>
                  <a:cubicBezTo>
                    <a:pt x="307" y="98"/>
                    <a:pt x="307" y="77"/>
                    <a:pt x="320" y="64"/>
                  </a:cubicBezTo>
                  <a:cubicBezTo>
                    <a:pt x="333" y="51"/>
                    <a:pt x="354" y="51"/>
                    <a:pt x="367" y="64"/>
                  </a:cubicBezTo>
                  <a:cubicBezTo>
                    <a:pt x="380" y="77"/>
                    <a:pt x="380" y="98"/>
                    <a:pt x="367" y="111"/>
                  </a:cubicBezTo>
                  <a:close/>
                  <a:moveTo>
                    <a:pt x="296" y="229"/>
                  </a:moveTo>
                  <a:cubicBezTo>
                    <a:pt x="270" y="255"/>
                    <a:pt x="228" y="255"/>
                    <a:pt x="202" y="229"/>
                  </a:cubicBezTo>
                  <a:cubicBezTo>
                    <a:pt x="176" y="203"/>
                    <a:pt x="176" y="161"/>
                    <a:pt x="202" y="135"/>
                  </a:cubicBezTo>
                  <a:cubicBezTo>
                    <a:pt x="228" y="109"/>
                    <a:pt x="270" y="109"/>
                    <a:pt x="296" y="135"/>
                  </a:cubicBezTo>
                  <a:cubicBezTo>
                    <a:pt x="322" y="161"/>
                    <a:pt x="322" y="203"/>
                    <a:pt x="296" y="229"/>
                  </a:cubicBezTo>
                  <a:close/>
                  <a:moveTo>
                    <a:pt x="383" y="0"/>
                  </a:moveTo>
                  <a:cubicBezTo>
                    <a:pt x="303" y="0"/>
                    <a:pt x="178" y="39"/>
                    <a:pt x="93" y="124"/>
                  </a:cubicBezTo>
                  <a:cubicBezTo>
                    <a:pt x="22" y="195"/>
                    <a:pt x="3" y="288"/>
                    <a:pt x="0" y="354"/>
                  </a:cubicBezTo>
                  <a:lnTo>
                    <a:pt x="69" y="265"/>
                  </a:lnTo>
                  <a:cubicBezTo>
                    <a:pt x="82" y="252"/>
                    <a:pt x="117" y="243"/>
                    <a:pt x="142" y="243"/>
                  </a:cubicBezTo>
                  <a:cubicBezTo>
                    <a:pt x="157" y="243"/>
                    <a:pt x="168" y="247"/>
                    <a:pt x="175" y="254"/>
                  </a:cubicBezTo>
                  <a:cubicBezTo>
                    <a:pt x="197" y="276"/>
                    <a:pt x="180" y="343"/>
                    <a:pt x="163" y="360"/>
                  </a:cubicBezTo>
                  <a:lnTo>
                    <a:pt x="162" y="361"/>
                  </a:lnTo>
                  <a:lnTo>
                    <a:pt x="74" y="429"/>
                  </a:lnTo>
                  <a:cubicBezTo>
                    <a:pt x="145" y="426"/>
                    <a:pt x="235" y="405"/>
                    <a:pt x="304" y="336"/>
                  </a:cubicBezTo>
                  <a:cubicBezTo>
                    <a:pt x="431" y="210"/>
                    <a:pt x="438" y="26"/>
                    <a:pt x="422" y="6"/>
                  </a:cubicBezTo>
                  <a:cubicBezTo>
                    <a:pt x="421" y="5"/>
                    <a:pt x="410" y="0"/>
                    <a:pt x="383" y="0"/>
                  </a:cubicBezTo>
                </a:path>
              </a:pathLst>
            </a:custGeom>
            <a:grpFill/>
            <a:ln w="9525">
              <a:noFill/>
              <a:round/>
              <a:headEnd/>
              <a:tailEnd/>
            </a:ln>
            <a:extLst/>
          </p:spPr>
          <p:txBody>
            <a:bodyPr vert="horz" wrap="square" lIns="69344" tIns="34671" rIns="69344" bIns="34671" numCol="1" anchor="t" anchorCtr="0" compatLnSpc="1">
              <a:prstTxWarp prst="textNoShape">
                <a:avLst/>
              </a:prstTxWarp>
            </a:bodyPr>
            <a:lstStyle/>
            <a:p>
              <a:pPr defTabSz="769548"/>
              <a:endParaRPr lang="en-US" sz="1807" dirty="0">
                <a:solidFill>
                  <a:prstClr val="black"/>
                </a:solidFill>
                <a:latin typeface="Calibri"/>
              </a:endParaRPr>
            </a:p>
          </p:txBody>
        </p:sp>
      </p:grpSp>
      <p:sp>
        <p:nvSpPr>
          <p:cNvPr id="281" name="Metin kutusu 280"/>
          <p:cNvSpPr txBox="1"/>
          <p:nvPr/>
        </p:nvSpPr>
        <p:spPr>
          <a:xfrm>
            <a:off x="4917209" y="741794"/>
            <a:ext cx="1963028" cy="432968"/>
          </a:xfrm>
          <a:prstGeom prst="rect">
            <a:avLst/>
          </a:prstGeom>
          <a:solidFill>
            <a:schemeClr val="bg1"/>
          </a:solidFill>
        </p:spPr>
        <p:txBody>
          <a:bodyPr wrap="square" lIns="76957" tIns="38479" rIns="76957" bIns="38479" rtlCol="0">
            <a:spAutoFit/>
          </a:bodyPr>
          <a:lstStyle/>
          <a:p>
            <a:pPr defTabSz="769548"/>
            <a:r>
              <a:rPr lang="tr-TR" sz="2309" b="1" dirty="0">
                <a:solidFill>
                  <a:srgbClr val="0070C0"/>
                </a:solidFill>
                <a:latin typeface="Calibri"/>
              </a:rPr>
              <a:t>İş Akış Şeması</a:t>
            </a:r>
            <a:endParaRPr lang="en-GB" sz="2309" b="1" dirty="0">
              <a:solidFill>
                <a:srgbClr val="0070C0"/>
              </a:solidFill>
              <a:latin typeface="Calibri"/>
            </a:endParaRPr>
          </a:p>
        </p:txBody>
      </p:sp>
      <p:sp>
        <p:nvSpPr>
          <p:cNvPr id="3" name="Slayt Numarası Yer Tutucusu 2"/>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62</a:t>
            </a:fld>
            <a:endParaRPr lang="en-CA" dirty="0">
              <a:solidFill>
                <a:prstClr val="black">
                  <a:tint val="75000"/>
                </a:prstClr>
              </a:solidFill>
            </a:endParaRPr>
          </a:p>
        </p:txBody>
      </p:sp>
      <p:grpSp>
        <p:nvGrpSpPr>
          <p:cNvPr id="103" name="Clipboard3"/>
          <p:cNvGrpSpPr>
            <a:grpSpLocks noChangeAspect="1"/>
          </p:cNvGrpSpPr>
          <p:nvPr>
            <p:custDataLst>
              <p:tags r:id="rId3"/>
            </p:custDataLst>
          </p:nvPr>
        </p:nvGrpSpPr>
        <p:grpSpPr bwMode="auto">
          <a:xfrm>
            <a:off x="7395375" y="1364193"/>
            <a:ext cx="231419" cy="410203"/>
            <a:chOff x="63" y="9"/>
            <a:chExt cx="326" cy="435"/>
          </a:xfrm>
          <a:solidFill>
            <a:srgbClr val="1F497D"/>
          </a:solidFill>
        </p:grpSpPr>
        <p:sp>
          <p:nvSpPr>
            <p:cNvPr id="104" name="Clipboard3"/>
            <p:cNvSpPr>
              <a:spLocks noEditPoints="1"/>
            </p:cNvSpPr>
            <p:nvPr>
              <p:custDataLst>
                <p:tags r:id="rId22"/>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grpFill/>
            <a:ln w="0">
              <a:solidFill>
                <a:schemeClr val="accent1"/>
              </a:solidFill>
              <a:prstDash val="solid"/>
              <a:round/>
              <a:headEnd/>
              <a:tailEnd/>
            </a:ln>
          </p:spPr>
          <p:txBody>
            <a:bodyPr vert="horz" wrap="square" lIns="69344" tIns="34671" rIns="69344" bIns="34671" numCol="1" anchor="t" anchorCtr="0" compatLnSpc="1">
              <a:prstTxWarp prst="textNoShape">
                <a:avLst/>
              </a:prstTxWarp>
            </a:bodyPr>
            <a:lstStyle/>
            <a:p>
              <a:pPr defTabSz="769548"/>
              <a:endParaRPr lang="fr-FR" sz="1807" dirty="0">
                <a:solidFill>
                  <a:prstClr val="black"/>
                </a:solidFill>
                <a:latin typeface="Calibri"/>
              </a:endParaRPr>
            </a:p>
          </p:txBody>
        </p:sp>
        <p:sp>
          <p:nvSpPr>
            <p:cNvPr id="105" name="Clipboard3"/>
            <p:cNvSpPr>
              <a:spLocks/>
            </p:cNvSpPr>
            <p:nvPr>
              <p:custDataLst>
                <p:tags r:id="rId23"/>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chemeClr val="accent1"/>
              </a:solidFill>
              <a:prstDash val="solid"/>
              <a:round/>
              <a:headEnd/>
              <a:tailEnd/>
            </a:ln>
          </p:spPr>
          <p:txBody>
            <a:bodyPr vert="horz" wrap="square" lIns="69344" tIns="34671" rIns="69344" bIns="34671" numCol="1" anchor="t" anchorCtr="0" compatLnSpc="1">
              <a:prstTxWarp prst="textNoShape">
                <a:avLst/>
              </a:prstTxWarp>
            </a:bodyPr>
            <a:lstStyle/>
            <a:p>
              <a:pPr defTabSz="769548"/>
              <a:endParaRPr lang="fr-FR" sz="1807" dirty="0">
                <a:solidFill>
                  <a:prstClr val="black"/>
                </a:solidFill>
                <a:latin typeface="Calibri"/>
              </a:endParaRPr>
            </a:p>
          </p:txBody>
        </p:sp>
        <p:sp>
          <p:nvSpPr>
            <p:cNvPr id="106" name="Clipboard3"/>
            <p:cNvSpPr>
              <a:spLocks/>
            </p:cNvSpPr>
            <p:nvPr>
              <p:custDataLst>
                <p:tags r:id="rId24"/>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chemeClr val="accent1"/>
              </a:solidFill>
              <a:prstDash val="solid"/>
              <a:round/>
              <a:headEnd/>
              <a:tailEnd/>
            </a:ln>
          </p:spPr>
          <p:txBody>
            <a:bodyPr vert="horz" wrap="square" lIns="69344" tIns="34671" rIns="69344" bIns="34671" numCol="1" anchor="t" anchorCtr="0" compatLnSpc="1">
              <a:prstTxWarp prst="textNoShape">
                <a:avLst/>
              </a:prstTxWarp>
            </a:bodyPr>
            <a:lstStyle/>
            <a:p>
              <a:pPr defTabSz="769548"/>
              <a:endParaRPr lang="fr-FR" sz="1807" dirty="0">
                <a:solidFill>
                  <a:prstClr val="black"/>
                </a:solidFill>
                <a:latin typeface="Calibri"/>
              </a:endParaRPr>
            </a:p>
          </p:txBody>
        </p:sp>
        <p:sp>
          <p:nvSpPr>
            <p:cNvPr id="107" name="Clipboard3"/>
            <p:cNvSpPr>
              <a:spLocks/>
            </p:cNvSpPr>
            <p:nvPr>
              <p:custDataLst>
                <p:tags r:id="rId25"/>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chemeClr val="accent1"/>
              </a:solidFill>
              <a:prstDash val="solid"/>
              <a:round/>
              <a:headEnd/>
              <a:tailEnd/>
            </a:ln>
          </p:spPr>
          <p:txBody>
            <a:bodyPr vert="horz" wrap="square" lIns="69344" tIns="34671" rIns="69344" bIns="34671" numCol="1" anchor="t" anchorCtr="0" compatLnSpc="1">
              <a:prstTxWarp prst="textNoShape">
                <a:avLst/>
              </a:prstTxWarp>
            </a:bodyPr>
            <a:lstStyle/>
            <a:p>
              <a:pPr defTabSz="769548"/>
              <a:endParaRPr lang="fr-FR" sz="1807" dirty="0">
                <a:solidFill>
                  <a:prstClr val="black"/>
                </a:solidFill>
                <a:latin typeface="Calibri"/>
              </a:endParaRPr>
            </a:p>
          </p:txBody>
        </p:sp>
      </p:grpSp>
      <p:sp>
        <p:nvSpPr>
          <p:cNvPr id="108" name="Oval 107"/>
          <p:cNvSpPr>
            <a:spLocks noChangeAspect="1"/>
          </p:cNvSpPr>
          <p:nvPr/>
        </p:nvSpPr>
        <p:spPr>
          <a:xfrm>
            <a:off x="9279353" y="2690399"/>
            <a:ext cx="133707" cy="182316"/>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lIns="76957" tIns="38479" rIns="76957" bIns="38479" rtlCol="0" anchor="ctr"/>
          <a:lstStyle/>
          <a:p>
            <a:pPr algn="ctr" defTabSz="436019">
              <a:defRPr/>
            </a:pPr>
            <a:endParaRPr lang="en-US" sz="903" kern="0" dirty="0">
              <a:solidFill>
                <a:sysClr val="windowText" lastClr="000000"/>
              </a:solidFill>
            </a:endParaRPr>
          </a:p>
        </p:txBody>
      </p:sp>
      <p:sp>
        <p:nvSpPr>
          <p:cNvPr id="120" name="TextBox 160"/>
          <p:cNvSpPr txBox="1"/>
          <p:nvPr/>
        </p:nvSpPr>
        <p:spPr>
          <a:xfrm>
            <a:off x="9279366" y="3168077"/>
            <a:ext cx="1386845" cy="911794"/>
          </a:xfrm>
          <a:prstGeom prst="rect">
            <a:avLst/>
          </a:prstGeom>
          <a:noFill/>
        </p:spPr>
        <p:txBody>
          <a:bodyPr wrap="square" lIns="76957" tIns="38479" rIns="76957" bIns="38479" rtlCol="0">
            <a:spAutoFit/>
          </a:bodyPr>
          <a:lstStyle/>
          <a:p>
            <a:pPr algn="ctr" defTabSz="436019">
              <a:defRPr/>
            </a:pPr>
            <a:r>
              <a:rPr lang="tr-TR" sz="1807" b="1" kern="0" dirty="0">
                <a:solidFill>
                  <a:srgbClr val="1F497D"/>
                </a:solidFill>
                <a:latin typeface="Calibri"/>
              </a:rPr>
              <a:t>İşletici Kuruluş Kurulması</a:t>
            </a:r>
            <a:endParaRPr lang="en-US" sz="1807" b="1" kern="0" dirty="0">
              <a:solidFill>
                <a:srgbClr val="1F497D"/>
              </a:solidFill>
              <a:latin typeface="Calibri"/>
            </a:endParaRPr>
          </a:p>
        </p:txBody>
      </p:sp>
      <p:grpSp>
        <p:nvGrpSpPr>
          <p:cNvPr id="121" name="Checklist"/>
          <p:cNvGrpSpPr>
            <a:grpSpLocks noChangeAspect="1"/>
          </p:cNvGrpSpPr>
          <p:nvPr>
            <p:custDataLst>
              <p:tags r:id="rId4"/>
            </p:custDataLst>
          </p:nvPr>
        </p:nvGrpSpPr>
        <p:grpSpPr bwMode="auto">
          <a:xfrm>
            <a:off x="3160173" y="2949699"/>
            <a:ext cx="299834" cy="526739"/>
            <a:chOff x="91" y="47"/>
            <a:chExt cx="307" cy="406"/>
          </a:xfrm>
          <a:solidFill>
            <a:srgbClr val="1F497D"/>
          </a:solidFill>
        </p:grpSpPr>
        <p:sp>
          <p:nvSpPr>
            <p:cNvPr id="123" name="Checklist"/>
            <p:cNvSpPr>
              <a:spLocks/>
            </p:cNvSpPr>
            <p:nvPr>
              <p:custDataLst>
                <p:tags r:id="rId9"/>
              </p:custDataLst>
            </p:nvPr>
          </p:nvSpPr>
          <p:spPr bwMode="auto">
            <a:xfrm>
              <a:off x="136" y="326"/>
              <a:ext cx="76" cy="75"/>
            </a:xfrm>
            <a:custGeom>
              <a:avLst/>
              <a:gdLst>
                <a:gd name="T0" fmla="*/ 174 w 194"/>
                <a:gd name="T1" fmla="*/ 193 h 193"/>
                <a:gd name="T2" fmla="*/ 21 w 194"/>
                <a:gd name="T3" fmla="*/ 193 h 193"/>
                <a:gd name="T4" fmla="*/ 0 w 194"/>
                <a:gd name="T5" fmla="*/ 172 h 193"/>
                <a:gd name="T6" fmla="*/ 0 w 194"/>
                <a:gd name="T7" fmla="*/ 20 h 193"/>
                <a:gd name="T8" fmla="*/ 21 w 194"/>
                <a:gd name="T9" fmla="*/ 0 h 193"/>
                <a:gd name="T10" fmla="*/ 174 w 194"/>
                <a:gd name="T11" fmla="*/ 0 h 193"/>
                <a:gd name="T12" fmla="*/ 194 w 194"/>
                <a:gd name="T13" fmla="*/ 20 h 193"/>
                <a:gd name="T14" fmla="*/ 194 w 194"/>
                <a:gd name="T15" fmla="*/ 172 h 193"/>
                <a:gd name="T16" fmla="*/ 174 w 194"/>
                <a:gd name="T1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3">
                  <a:moveTo>
                    <a:pt x="174" y="193"/>
                  </a:moveTo>
                  <a:lnTo>
                    <a:pt x="21" y="193"/>
                  </a:lnTo>
                  <a:cubicBezTo>
                    <a:pt x="9" y="193"/>
                    <a:pt x="0" y="183"/>
                    <a:pt x="0" y="172"/>
                  </a:cubicBezTo>
                  <a:lnTo>
                    <a:pt x="0" y="20"/>
                  </a:lnTo>
                  <a:cubicBezTo>
                    <a:pt x="0" y="9"/>
                    <a:pt x="9" y="0"/>
                    <a:pt x="21" y="0"/>
                  </a:cubicBezTo>
                  <a:lnTo>
                    <a:pt x="174" y="0"/>
                  </a:lnTo>
                  <a:cubicBezTo>
                    <a:pt x="185" y="0"/>
                    <a:pt x="194" y="9"/>
                    <a:pt x="194" y="20"/>
                  </a:cubicBezTo>
                  <a:lnTo>
                    <a:pt x="194" y="172"/>
                  </a:lnTo>
                  <a:cubicBezTo>
                    <a:pt x="194" y="183"/>
                    <a:pt x="185" y="193"/>
                    <a:pt x="174" y="193"/>
                  </a:cubicBez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124" name="Checklist"/>
            <p:cNvSpPr>
              <a:spLocks noEditPoints="1"/>
            </p:cNvSpPr>
            <p:nvPr>
              <p:custDataLst>
                <p:tags r:id="rId10"/>
              </p:custDataLst>
            </p:nvPr>
          </p:nvSpPr>
          <p:spPr bwMode="auto">
            <a:xfrm>
              <a:off x="91" y="47"/>
              <a:ext cx="307" cy="406"/>
            </a:xfrm>
            <a:custGeom>
              <a:avLst/>
              <a:gdLst>
                <a:gd name="T0" fmla="*/ 714 w 787"/>
                <a:gd name="T1" fmla="*/ 1038 h 1038"/>
                <a:gd name="T2" fmla="*/ 72 w 787"/>
                <a:gd name="T3" fmla="*/ 1038 h 1038"/>
                <a:gd name="T4" fmla="*/ 0 w 787"/>
                <a:gd name="T5" fmla="*/ 965 h 1038"/>
                <a:gd name="T6" fmla="*/ 0 w 787"/>
                <a:gd name="T7" fmla="*/ 72 h 1038"/>
                <a:gd name="T8" fmla="*/ 72 w 787"/>
                <a:gd name="T9" fmla="*/ 0 h 1038"/>
                <a:gd name="T10" fmla="*/ 714 w 787"/>
                <a:gd name="T11" fmla="*/ 0 h 1038"/>
                <a:gd name="T12" fmla="*/ 787 w 787"/>
                <a:gd name="T13" fmla="*/ 72 h 1038"/>
                <a:gd name="T14" fmla="*/ 787 w 787"/>
                <a:gd name="T15" fmla="*/ 965 h 1038"/>
                <a:gd name="T16" fmla="*/ 714 w 787"/>
                <a:gd name="T17" fmla="*/ 1038 h 1038"/>
                <a:gd name="T18" fmla="*/ 72 w 787"/>
                <a:gd name="T19" fmla="*/ 17 h 1038"/>
                <a:gd name="T20" fmla="*/ 17 w 787"/>
                <a:gd name="T21" fmla="*/ 72 h 1038"/>
                <a:gd name="T22" fmla="*/ 17 w 787"/>
                <a:gd name="T23" fmla="*/ 965 h 1038"/>
                <a:gd name="T24" fmla="*/ 72 w 787"/>
                <a:gd name="T25" fmla="*/ 1020 h 1038"/>
                <a:gd name="T26" fmla="*/ 714 w 787"/>
                <a:gd name="T27" fmla="*/ 1020 h 1038"/>
                <a:gd name="T28" fmla="*/ 770 w 787"/>
                <a:gd name="T29" fmla="*/ 965 h 1038"/>
                <a:gd name="T30" fmla="*/ 770 w 787"/>
                <a:gd name="T31" fmla="*/ 72 h 1038"/>
                <a:gd name="T32" fmla="*/ 714 w 787"/>
                <a:gd name="T33" fmla="*/ 17 h 1038"/>
                <a:gd name="T34" fmla="*/ 72 w 787"/>
                <a:gd name="T35" fmla="*/ 17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7" h="1038">
                  <a:moveTo>
                    <a:pt x="714" y="1038"/>
                  </a:moveTo>
                  <a:lnTo>
                    <a:pt x="72" y="1038"/>
                  </a:lnTo>
                  <a:cubicBezTo>
                    <a:pt x="32" y="1038"/>
                    <a:pt x="0" y="1005"/>
                    <a:pt x="0" y="965"/>
                  </a:cubicBezTo>
                  <a:lnTo>
                    <a:pt x="0" y="72"/>
                  </a:lnTo>
                  <a:cubicBezTo>
                    <a:pt x="0" y="32"/>
                    <a:pt x="32" y="0"/>
                    <a:pt x="72" y="0"/>
                  </a:cubicBezTo>
                  <a:lnTo>
                    <a:pt x="714" y="0"/>
                  </a:lnTo>
                  <a:cubicBezTo>
                    <a:pt x="754" y="0"/>
                    <a:pt x="787" y="32"/>
                    <a:pt x="787" y="72"/>
                  </a:cubicBezTo>
                  <a:lnTo>
                    <a:pt x="787" y="965"/>
                  </a:lnTo>
                  <a:cubicBezTo>
                    <a:pt x="787" y="1005"/>
                    <a:pt x="754" y="1038"/>
                    <a:pt x="714" y="1038"/>
                  </a:cubicBezTo>
                  <a:close/>
                  <a:moveTo>
                    <a:pt x="72" y="17"/>
                  </a:moveTo>
                  <a:cubicBezTo>
                    <a:pt x="41" y="17"/>
                    <a:pt x="17" y="42"/>
                    <a:pt x="17" y="72"/>
                  </a:cubicBezTo>
                  <a:lnTo>
                    <a:pt x="17" y="965"/>
                  </a:lnTo>
                  <a:cubicBezTo>
                    <a:pt x="17" y="996"/>
                    <a:pt x="41" y="1020"/>
                    <a:pt x="72" y="1020"/>
                  </a:cubicBezTo>
                  <a:lnTo>
                    <a:pt x="714" y="1020"/>
                  </a:lnTo>
                  <a:cubicBezTo>
                    <a:pt x="745" y="1020"/>
                    <a:pt x="770" y="996"/>
                    <a:pt x="770" y="965"/>
                  </a:cubicBezTo>
                  <a:lnTo>
                    <a:pt x="770" y="72"/>
                  </a:lnTo>
                  <a:cubicBezTo>
                    <a:pt x="770" y="42"/>
                    <a:pt x="745" y="17"/>
                    <a:pt x="714" y="17"/>
                  </a:cubicBezTo>
                  <a:lnTo>
                    <a:pt x="72" y="17"/>
                  </a:ln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125" name="Checklist"/>
            <p:cNvSpPr>
              <a:spLocks/>
            </p:cNvSpPr>
            <p:nvPr>
              <p:custDataLst>
                <p:tags r:id="rId11"/>
              </p:custDataLst>
            </p:nvPr>
          </p:nvSpPr>
          <p:spPr bwMode="auto">
            <a:xfrm>
              <a:off x="136" y="99"/>
              <a:ext cx="76" cy="76"/>
            </a:xfrm>
            <a:custGeom>
              <a:avLst/>
              <a:gdLst>
                <a:gd name="T0" fmla="*/ 174 w 194"/>
                <a:gd name="T1" fmla="*/ 194 h 194"/>
                <a:gd name="T2" fmla="*/ 21 w 194"/>
                <a:gd name="T3" fmla="*/ 194 h 194"/>
                <a:gd name="T4" fmla="*/ 0 w 194"/>
                <a:gd name="T5" fmla="*/ 173 h 194"/>
                <a:gd name="T6" fmla="*/ 0 w 194"/>
                <a:gd name="T7" fmla="*/ 20 h 194"/>
                <a:gd name="T8" fmla="*/ 21 w 194"/>
                <a:gd name="T9" fmla="*/ 0 h 194"/>
                <a:gd name="T10" fmla="*/ 174 w 194"/>
                <a:gd name="T11" fmla="*/ 0 h 194"/>
                <a:gd name="T12" fmla="*/ 194 w 194"/>
                <a:gd name="T13" fmla="*/ 20 h 194"/>
                <a:gd name="T14" fmla="*/ 194 w 194"/>
                <a:gd name="T15" fmla="*/ 172 h 194"/>
                <a:gd name="T16" fmla="*/ 174 w 194"/>
                <a:gd name="T1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4">
                  <a:moveTo>
                    <a:pt x="174" y="194"/>
                  </a:moveTo>
                  <a:lnTo>
                    <a:pt x="21" y="194"/>
                  </a:lnTo>
                  <a:cubicBezTo>
                    <a:pt x="9" y="194"/>
                    <a:pt x="0" y="184"/>
                    <a:pt x="0" y="173"/>
                  </a:cubicBezTo>
                  <a:lnTo>
                    <a:pt x="0" y="20"/>
                  </a:lnTo>
                  <a:cubicBezTo>
                    <a:pt x="0" y="9"/>
                    <a:pt x="9" y="0"/>
                    <a:pt x="21" y="0"/>
                  </a:cubicBezTo>
                  <a:lnTo>
                    <a:pt x="174" y="0"/>
                  </a:lnTo>
                  <a:cubicBezTo>
                    <a:pt x="185" y="0"/>
                    <a:pt x="194" y="9"/>
                    <a:pt x="194" y="20"/>
                  </a:cubicBezTo>
                  <a:lnTo>
                    <a:pt x="194" y="172"/>
                  </a:lnTo>
                  <a:cubicBezTo>
                    <a:pt x="194" y="184"/>
                    <a:pt x="185" y="194"/>
                    <a:pt x="174" y="194"/>
                  </a:cubicBez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126" name="Checklist"/>
            <p:cNvSpPr>
              <a:spLocks noEditPoints="1"/>
            </p:cNvSpPr>
            <p:nvPr>
              <p:custDataLst>
                <p:tags r:id="rId12"/>
              </p:custDataLst>
            </p:nvPr>
          </p:nvSpPr>
          <p:spPr bwMode="auto">
            <a:xfrm>
              <a:off x="132" y="95"/>
              <a:ext cx="83" cy="83"/>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1 h 211"/>
                <a:gd name="T16" fmla="*/ 183 w 212"/>
                <a:gd name="T17" fmla="*/ 211 h 211"/>
                <a:gd name="T18" fmla="*/ 30 w 212"/>
                <a:gd name="T19" fmla="*/ 17 h 211"/>
                <a:gd name="T20" fmla="*/ 18 w 212"/>
                <a:gd name="T21" fmla="*/ 29 h 211"/>
                <a:gd name="T22" fmla="*/ 18 w 212"/>
                <a:gd name="T23" fmla="*/ 181 h 211"/>
                <a:gd name="T24" fmla="*/ 30 w 212"/>
                <a:gd name="T25" fmla="*/ 193 h 211"/>
                <a:gd name="T26" fmla="*/ 183 w 212"/>
                <a:gd name="T27" fmla="*/ 193 h 211"/>
                <a:gd name="T28" fmla="*/ 195 w 212"/>
                <a:gd name="T29" fmla="*/ 181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1"/>
                  </a:lnTo>
                  <a:cubicBezTo>
                    <a:pt x="212" y="198"/>
                    <a:pt x="199" y="211"/>
                    <a:pt x="183" y="211"/>
                  </a:cubicBezTo>
                  <a:close/>
                  <a:moveTo>
                    <a:pt x="30" y="17"/>
                  </a:moveTo>
                  <a:cubicBezTo>
                    <a:pt x="23" y="17"/>
                    <a:pt x="18" y="22"/>
                    <a:pt x="18" y="29"/>
                  </a:cubicBezTo>
                  <a:lnTo>
                    <a:pt x="18" y="181"/>
                  </a:lnTo>
                  <a:cubicBezTo>
                    <a:pt x="18" y="188"/>
                    <a:pt x="23" y="193"/>
                    <a:pt x="30" y="193"/>
                  </a:cubicBezTo>
                  <a:lnTo>
                    <a:pt x="183" y="193"/>
                  </a:lnTo>
                  <a:cubicBezTo>
                    <a:pt x="190" y="193"/>
                    <a:pt x="195" y="188"/>
                    <a:pt x="195" y="181"/>
                  </a:cubicBezTo>
                  <a:lnTo>
                    <a:pt x="195" y="29"/>
                  </a:lnTo>
                  <a:cubicBezTo>
                    <a:pt x="195" y="22"/>
                    <a:pt x="190" y="17"/>
                    <a:pt x="183" y="17"/>
                  </a:cubicBezTo>
                  <a:lnTo>
                    <a:pt x="30" y="17"/>
                  </a:ln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127" name="Checklist"/>
            <p:cNvSpPr>
              <a:spLocks/>
            </p:cNvSpPr>
            <p:nvPr>
              <p:custDataLst>
                <p:tags r:id="rId13"/>
              </p:custDataLst>
            </p:nvPr>
          </p:nvSpPr>
          <p:spPr bwMode="auto">
            <a:xfrm>
              <a:off x="136" y="212"/>
              <a:ext cx="76" cy="76"/>
            </a:xfrm>
            <a:custGeom>
              <a:avLst/>
              <a:gdLst>
                <a:gd name="T0" fmla="*/ 174 w 194"/>
                <a:gd name="T1" fmla="*/ 194 h 194"/>
                <a:gd name="T2" fmla="*/ 21 w 194"/>
                <a:gd name="T3" fmla="*/ 194 h 194"/>
                <a:gd name="T4" fmla="*/ 0 w 194"/>
                <a:gd name="T5" fmla="*/ 173 h 194"/>
                <a:gd name="T6" fmla="*/ 0 w 194"/>
                <a:gd name="T7" fmla="*/ 20 h 194"/>
                <a:gd name="T8" fmla="*/ 21 w 194"/>
                <a:gd name="T9" fmla="*/ 0 h 194"/>
                <a:gd name="T10" fmla="*/ 174 w 194"/>
                <a:gd name="T11" fmla="*/ 0 h 194"/>
                <a:gd name="T12" fmla="*/ 194 w 194"/>
                <a:gd name="T13" fmla="*/ 20 h 194"/>
                <a:gd name="T14" fmla="*/ 194 w 194"/>
                <a:gd name="T15" fmla="*/ 173 h 194"/>
                <a:gd name="T16" fmla="*/ 174 w 194"/>
                <a:gd name="T1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4">
                  <a:moveTo>
                    <a:pt x="174" y="194"/>
                  </a:moveTo>
                  <a:lnTo>
                    <a:pt x="21" y="194"/>
                  </a:lnTo>
                  <a:cubicBezTo>
                    <a:pt x="9" y="194"/>
                    <a:pt x="0" y="184"/>
                    <a:pt x="0" y="173"/>
                  </a:cubicBezTo>
                  <a:lnTo>
                    <a:pt x="0" y="20"/>
                  </a:lnTo>
                  <a:cubicBezTo>
                    <a:pt x="0" y="9"/>
                    <a:pt x="9" y="0"/>
                    <a:pt x="21" y="0"/>
                  </a:cubicBezTo>
                  <a:lnTo>
                    <a:pt x="174" y="0"/>
                  </a:lnTo>
                  <a:cubicBezTo>
                    <a:pt x="185" y="0"/>
                    <a:pt x="194" y="9"/>
                    <a:pt x="194" y="20"/>
                  </a:cubicBezTo>
                  <a:lnTo>
                    <a:pt x="194" y="173"/>
                  </a:lnTo>
                  <a:cubicBezTo>
                    <a:pt x="194" y="184"/>
                    <a:pt x="185" y="194"/>
                    <a:pt x="174" y="194"/>
                  </a:cubicBez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128" name="Checklist"/>
            <p:cNvSpPr>
              <a:spLocks noEditPoints="1"/>
            </p:cNvSpPr>
            <p:nvPr>
              <p:custDataLst>
                <p:tags r:id="rId14"/>
              </p:custDataLst>
            </p:nvPr>
          </p:nvSpPr>
          <p:spPr bwMode="auto">
            <a:xfrm>
              <a:off x="132" y="209"/>
              <a:ext cx="83" cy="82"/>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2 h 211"/>
                <a:gd name="T16" fmla="*/ 183 w 212"/>
                <a:gd name="T17" fmla="*/ 211 h 211"/>
                <a:gd name="T18" fmla="*/ 30 w 212"/>
                <a:gd name="T19" fmla="*/ 17 h 211"/>
                <a:gd name="T20" fmla="*/ 18 w 212"/>
                <a:gd name="T21" fmla="*/ 29 h 211"/>
                <a:gd name="T22" fmla="*/ 18 w 212"/>
                <a:gd name="T23" fmla="*/ 182 h 211"/>
                <a:gd name="T24" fmla="*/ 30 w 212"/>
                <a:gd name="T25" fmla="*/ 194 h 211"/>
                <a:gd name="T26" fmla="*/ 183 w 212"/>
                <a:gd name="T27" fmla="*/ 194 h 211"/>
                <a:gd name="T28" fmla="*/ 195 w 212"/>
                <a:gd name="T29" fmla="*/ 182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2"/>
                  </a:lnTo>
                  <a:cubicBezTo>
                    <a:pt x="212" y="198"/>
                    <a:pt x="199" y="211"/>
                    <a:pt x="183" y="211"/>
                  </a:cubicBezTo>
                  <a:close/>
                  <a:moveTo>
                    <a:pt x="30" y="17"/>
                  </a:moveTo>
                  <a:cubicBezTo>
                    <a:pt x="23" y="17"/>
                    <a:pt x="18" y="22"/>
                    <a:pt x="18" y="29"/>
                  </a:cubicBezTo>
                  <a:lnTo>
                    <a:pt x="18" y="182"/>
                  </a:lnTo>
                  <a:cubicBezTo>
                    <a:pt x="18" y="189"/>
                    <a:pt x="23" y="194"/>
                    <a:pt x="30" y="194"/>
                  </a:cubicBezTo>
                  <a:lnTo>
                    <a:pt x="183" y="194"/>
                  </a:lnTo>
                  <a:cubicBezTo>
                    <a:pt x="190" y="194"/>
                    <a:pt x="195" y="189"/>
                    <a:pt x="195" y="182"/>
                  </a:cubicBezTo>
                  <a:lnTo>
                    <a:pt x="195" y="29"/>
                  </a:lnTo>
                  <a:cubicBezTo>
                    <a:pt x="195" y="22"/>
                    <a:pt x="190" y="17"/>
                    <a:pt x="183" y="17"/>
                  </a:cubicBezTo>
                  <a:lnTo>
                    <a:pt x="30" y="17"/>
                  </a:ln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129" name="Checklist"/>
            <p:cNvSpPr>
              <a:spLocks noEditPoints="1"/>
            </p:cNvSpPr>
            <p:nvPr>
              <p:custDataLst>
                <p:tags r:id="rId15"/>
              </p:custDataLst>
            </p:nvPr>
          </p:nvSpPr>
          <p:spPr bwMode="auto">
            <a:xfrm>
              <a:off x="132" y="322"/>
              <a:ext cx="83" cy="82"/>
            </a:xfrm>
            <a:custGeom>
              <a:avLst/>
              <a:gdLst>
                <a:gd name="T0" fmla="*/ 183 w 212"/>
                <a:gd name="T1" fmla="*/ 210 h 210"/>
                <a:gd name="T2" fmla="*/ 30 w 212"/>
                <a:gd name="T3" fmla="*/ 210 h 210"/>
                <a:gd name="T4" fmla="*/ 0 w 212"/>
                <a:gd name="T5" fmla="*/ 181 h 210"/>
                <a:gd name="T6" fmla="*/ 0 w 212"/>
                <a:gd name="T7" fmla="*/ 29 h 210"/>
                <a:gd name="T8" fmla="*/ 30 w 212"/>
                <a:gd name="T9" fmla="*/ 0 h 210"/>
                <a:gd name="T10" fmla="*/ 183 w 212"/>
                <a:gd name="T11" fmla="*/ 0 h 210"/>
                <a:gd name="T12" fmla="*/ 212 w 212"/>
                <a:gd name="T13" fmla="*/ 29 h 210"/>
                <a:gd name="T14" fmla="*/ 212 w 212"/>
                <a:gd name="T15" fmla="*/ 181 h 210"/>
                <a:gd name="T16" fmla="*/ 183 w 212"/>
                <a:gd name="T17" fmla="*/ 210 h 210"/>
                <a:gd name="T18" fmla="*/ 30 w 212"/>
                <a:gd name="T19" fmla="*/ 16 h 210"/>
                <a:gd name="T20" fmla="*/ 18 w 212"/>
                <a:gd name="T21" fmla="*/ 28 h 210"/>
                <a:gd name="T22" fmla="*/ 18 w 212"/>
                <a:gd name="T23" fmla="*/ 180 h 210"/>
                <a:gd name="T24" fmla="*/ 30 w 212"/>
                <a:gd name="T25" fmla="*/ 192 h 210"/>
                <a:gd name="T26" fmla="*/ 183 w 212"/>
                <a:gd name="T27" fmla="*/ 192 h 210"/>
                <a:gd name="T28" fmla="*/ 195 w 212"/>
                <a:gd name="T29" fmla="*/ 180 h 210"/>
                <a:gd name="T30" fmla="*/ 195 w 212"/>
                <a:gd name="T31" fmla="*/ 29 h 210"/>
                <a:gd name="T32" fmla="*/ 183 w 212"/>
                <a:gd name="T33" fmla="*/ 17 h 210"/>
                <a:gd name="T34" fmla="*/ 30 w 212"/>
                <a:gd name="T35" fmla="*/ 17 h 210"/>
                <a:gd name="T36" fmla="*/ 30 w 212"/>
                <a:gd name="T37" fmla="*/ 1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2" h="210">
                  <a:moveTo>
                    <a:pt x="183" y="210"/>
                  </a:moveTo>
                  <a:lnTo>
                    <a:pt x="30" y="210"/>
                  </a:lnTo>
                  <a:cubicBezTo>
                    <a:pt x="13" y="210"/>
                    <a:pt x="0" y="197"/>
                    <a:pt x="0" y="181"/>
                  </a:cubicBezTo>
                  <a:lnTo>
                    <a:pt x="0" y="29"/>
                  </a:lnTo>
                  <a:cubicBezTo>
                    <a:pt x="0" y="13"/>
                    <a:pt x="13" y="0"/>
                    <a:pt x="30" y="0"/>
                  </a:cubicBezTo>
                  <a:lnTo>
                    <a:pt x="183" y="0"/>
                  </a:lnTo>
                  <a:cubicBezTo>
                    <a:pt x="199" y="0"/>
                    <a:pt x="212" y="13"/>
                    <a:pt x="212" y="29"/>
                  </a:cubicBezTo>
                  <a:lnTo>
                    <a:pt x="212" y="181"/>
                  </a:lnTo>
                  <a:cubicBezTo>
                    <a:pt x="212" y="197"/>
                    <a:pt x="199" y="210"/>
                    <a:pt x="183" y="210"/>
                  </a:cubicBezTo>
                  <a:close/>
                  <a:moveTo>
                    <a:pt x="30" y="16"/>
                  </a:moveTo>
                  <a:cubicBezTo>
                    <a:pt x="23" y="16"/>
                    <a:pt x="18" y="21"/>
                    <a:pt x="18" y="28"/>
                  </a:cubicBezTo>
                  <a:lnTo>
                    <a:pt x="18" y="180"/>
                  </a:lnTo>
                  <a:cubicBezTo>
                    <a:pt x="18" y="187"/>
                    <a:pt x="23" y="192"/>
                    <a:pt x="30" y="192"/>
                  </a:cubicBezTo>
                  <a:lnTo>
                    <a:pt x="183" y="192"/>
                  </a:lnTo>
                  <a:cubicBezTo>
                    <a:pt x="190" y="192"/>
                    <a:pt x="195" y="187"/>
                    <a:pt x="195" y="180"/>
                  </a:cubicBezTo>
                  <a:lnTo>
                    <a:pt x="195" y="29"/>
                  </a:lnTo>
                  <a:cubicBezTo>
                    <a:pt x="195" y="22"/>
                    <a:pt x="190" y="17"/>
                    <a:pt x="183" y="17"/>
                  </a:cubicBezTo>
                  <a:lnTo>
                    <a:pt x="30" y="17"/>
                  </a:lnTo>
                  <a:lnTo>
                    <a:pt x="30" y="16"/>
                  </a:ln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130" name="Checklist"/>
            <p:cNvSpPr>
              <a:spLocks noEditPoints="1"/>
            </p:cNvSpPr>
            <p:nvPr>
              <p:custDataLst>
                <p:tags r:id="rId16"/>
              </p:custDataLst>
            </p:nvPr>
          </p:nvSpPr>
          <p:spPr bwMode="auto">
            <a:xfrm>
              <a:off x="132" y="95"/>
              <a:ext cx="83" cy="83"/>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1 h 211"/>
                <a:gd name="T16" fmla="*/ 183 w 212"/>
                <a:gd name="T17" fmla="*/ 211 h 211"/>
                <a:gd name="T18" fmla="*/ 30 w 212"/>
                <a:gd name="T19" fmla="*/ 17 h 211"/>
                <a:gd name="T20" fmla="*/ 18 w 212"/>
                <a:gd name="T21" fmla="*/ 29 h 211"/>
                <a:gd name="T22" fmla="*/ 18 w 212"/>
                <a:gd name="T23" fmla="*/ 181 h 211"/>
                <a:gd name="T24" fmla="*/ 30 w 212"/>
                <a:gd name="T25" fmla="*/ 193 h 211"/>
                <a:gd name="T26" fmla="*/ 183 w 212"/>
                <a:gd name="T27" fmla="*/ 193 h 211"/>
                <a:gd name="T28" fmla="*/ 195 w 212"/>
                <a:gd name="T29" fmla="*/ 181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1"/>
                  </a:lnTo>
                  <a:cubicBezTo>
                    <a:pt x="212" y="198"/>
                    <a:pt x="199" y="211"/>
                    <a:pt x="183" y="211"/>
                  </a:cubicBezTo>
                  <a:close/>
                  <a:moveTo>
                    <a:pt x="30" y="17"/>
                  </a:moveTo>
                  <a:cubicBezTo>
                    <a:pt x="23" y="17"/>
                    <a:pt x="18" y="22"/>
                    <a:pt x="18" y="29"/>
                  </a:cubicBezTo>
                  <a:lnTo>
                    <a:pt x="18" y="181"/>
                  </a:lnTo>
                  <a:cubicBezTo>
                    <a:pt x="18" y="188"/>
                    <a:pt x="23" y="193"/>
                    <a:pt x="30" y="193"/>
                  </a:cubicBezTo>
                  <a:lnTo>
                    <a:pt x="183" y="193"/>
                  </a:lnTo>
                  <a:cubicBezTo>
                    <a:pt x="190" y="193"/>
                    <a:pt x="195" y="188"/>
                    <a:pt x="195" y="181"/>
                  </a:cubicBezTo>
                  <a:lnTo>
                    <a:pt x="195" y="29"/>
                  </a:lnTo>
                  <a:cubicBezTo>
                    <a:pt x="195" y="22"/>
                    <a:pt x="190" y="17"/>
                    <a:pt x="183" y="17"/>
                  </a:cubicBezTo>
                  <a:lnTo>
                    <a:pt x="30" y="17"/>
                  </a:ln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163" name="Checklist"/>
            <p:cNvSpPr>
              <a:spLocks noEditPoints="1"/>
            </p:cNvSpPr>
            <p:nvPr>
              <p:custDataLst>
                <p:tags r:id="rId17"/>
              </p:custDataLst>
            </p:nvPr>
          </p:nvSpPr>
          <p:spPr bwMode="auto">
            <a:xfrm>
              <a:off x="132" y="209"/>
              <a:ext cx="83" cy="82"/>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2 h 211"/>
                <a:gd name="T16" fmla="*/ 183 w 212"/>
                <a:gd name="T17" fmla="*/ 211 h 211"/>
                <a:gd name="T18" fmla="*/ 30 w 212"/>
                <a:gd name="T19" fmla="*/ 17 h 211"/>
                <a:gd name="T20" fmla="*/ 18 w 212"/>
                <a:gd name="T21" fmla="*/ 29 h 211"/>
                <a:gd name="T22" fmla="*/ 18 w 212"/>
                <a:gd name="T23" fmla="*/ 182 h 211"/>
                <a:gd name="T24" fmla="*/ 30 w 212"/>
                <a:gd name="T25" fmla="*/ 194 h 211"/>
                <a:gd name="T26" fmla="*/ 183 w 212"/>
                <a:gd name="T27" fmla="*/ 194 h 211"/>
                <a:gd name="T28" fmla="*/ 195 w 212"/>
                <a:gd name="T29" fmla="*/ 182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2"/>
                  </a:lnTo>
                  <a:cubicBezTo>
                    <a:pt x="212" y="198"/>
                    <a:pt x="199" y="211"/>
                    <a:pt x="183" y="211"/>
                  </a:cubicBezTo>
                  <a:close/>
                  <a:moveTo>
                    <a:pt x="30" y="17"/>
                  </a:moveTo>
                  <a:cubicBezTo>
                    <a:pt x="23" y="17"/>
                    <a:pt x="18" y="22"/>
                    <a:pt x="18" y="29"/>
                  </a:cubicBezTo>
                  <a:lnTo>
                    <a:pt x="18" y="182"/>
                  </a:lnTo>
                  <a:cubicBezTo>
                    <a:pt x="18" y="189"/>
                    <a:pt x="23" y="194"/>
                    <a:pt x="30" y="194"/>
                  </a:cubicBezTo>
                  <a:lnTo>
                    <a:pt x="183" y="194"/>
                  </a:lnTo>
                  <a:cubicBezTo>
                    <a:pt x="190" y="194"/>
                    <a:pt x="195" y="189"/>
                    <a:pt x="195" y="182"/>
                  </a:cubicBezTo>
                  <a:lnTo>
                    <a:pt x="195" y="29"/>
                  </a:lnTo>
                  <a:cubicBezTo>
                    <a:pt x="195" y="22"/>
                    <a:pt x="190" y="17"/>
                    <a:pt x="183" y="17"/>
                  </a:cubicBezTo>
                  <a:lnTo>
                    <a:pt x="30" y="17"/>
                  </a:ln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164" name="Checklist"/>
            <p:cNvSpPr>
              <a:spLocks noEditPoints="1"/>
            </p:cNvSpPr>
            <p:nvPr>
              <p:custDataLst>
                <p:tags r:id="rId18"/>
              </p:custDataLst>
            </p:nvPr>
          </p:nvSpPr>
          <p:spPr bwMode="auto">
            <a:xfrm>
              <a:off x="132" y="322"/>
              <a:ext cx="83" cy="82"/>
            </a:xfrm>
            <a:custGeom>
              <a:avLst/>
              <a:gdLst>
                <a:gd name="T0" fmla="*/ 183 w 212"/>
                <a:gd name="T1" fmla="*/ 210 h 210"/>
                <a:gd name="T2" fmla="*/ 30 w 212"/>
                <a:gd name="T3" fmla="*/ 210 h 210"/>
                <a:gd name="T4" fmla="*/ 0 w 212"/>
                <a:gd name="T5" fmla="*/ 181 h 210"/>
                <a:gd name="T6" fmla="*/ 0 w 212"/>
                <a:gd name="T7" fmla="*/ 29 h 210"/>
                <a:gd name="T8" fmla="*/ 30 w 212"/>
                <a:gd name="T9" fmla="*/ 0 h 210"/>
                <a:gd name="T10" fmla="*/ 183 w 212"/>
                <a:gd name="T11" fmla="*/ 0 h 210"/>
                <a:gd name="T12" fmla="*/ 212 w 212"/>
                <a:gd name="T13" fmla="*/ 29 h 210"/>
                <a:gd name="T14" fmla="*/ 212 w 212"/>
                <a:gd name="T15" fmla="*/ 181 h 210"/>
                <a:gd name="T16" fmla="*/ 183 w 212"/>
                <a:gd name="T17" fmla="*/ 210 h 210"/>
                <a:gd name="T18" fmla="*/ 30 w 212"/>
                <a:gd name="T19" fmla="*/ 16 h 210"/>
                <a:gd name="T20" fmla="*/ 18 w 212"/>
                <a:gd name="T21" fmla="*/ 28 h 210"/>
                <a:gd name="T22" fmla="*/ 18 w 212"/>
                <a:gd name="T23" fmla="*/ 180 h 210"/>
                <a:gd name="T24" fmla="*/ 30 w 212"/>
                <a:gd name="T25" fmla="*/ 192 h 210"/>
                <a:gd name="T26" fmla="*/ 183 w 212"/>
                <a:gd name="T27" fmla="*/ 192 h 210"/>
                <a:gd name="T28" fmla="*/ 195 w 212"/>
                <a:gd name="T29" fmla="*/ 180 h 210"/>
                <a:gd name="T30" fmla="*/ 195 w 212"/>
                <a:gd name="T31" fmla="*/ 29 h 210"/>
                <a:gd name="T32" fmla="*/ 183 w 212"/>
                <a:gd name="T33" fmla="*/ 17 h 210"/>
                <a:gd name="T34" fmla="*/ 30 w 212"/>
                <a:gd name="T35" fmla="*/ 17 h 210"/>
                <a:gd name="T36" fmla="*/ 30 w 212"/>
                <a:gd name="T37" fmla="*/ 1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2" h="210">
                  <a:moveTo>
                    <a:pt x="183" y="210"/>
                  </a:moveTo>
                  <a:lnTo>
                    <a:pt x="30" y="210"/>
                  </a:lnTo>
                  <a:cubicBezTo>
                    <a:pt x="13" y="210"/>
                    <a:pt x="0" y="197"/>
                    <a:pt x="0" y="181"/>
                  </a:cubicBezTo>
                  <a:lnTo>
                    <a:pt x="0" y="29"/>
                  </a:lnTo>
                  <a:cubicBezTo>
                    <a:pt x="0" y="13"/>
                    <a:pt x="13" y="0"/>
                    <a:pt x="30" y="0"/>
                  </a:cubicBezTo>
                  <a:lnTo>
                    <a:pt x="183" y="0"/>
                  </a:lnTo>
                  <a:cubicBezTo>
                    <a:pt x="199" y="0"/>
                    <a:pt x="212" y="13"/>
                    <a:pt x="212" y="29"/>
                  </a:cubicBezTo>
                  <a:lnTo>
                    <a:pt x="212" y="181"/>
                  </a:lnTo>
                  <a:cubicBezTo>
                    <a:pt x="212" y="197"/>
                    <a:pt x="199" y="210"/>
                    <a:pt x="183" y="210"/>
                  </a:cubicBezTo>
                  <a:close/>
                  <a:moveTo>
                    <a:pt x="30" y="16"/>
                  </a:moveTo>
                  <a:cubicBezTo>
                    <a:pt x="23" y="16"/>
                    <a:pt x="18" y="21"/>
                    <a:pt x="18" y="28"/>
                  </a:cubicBezTo>
                  <a:lnTo>
                    <a:pt x="18" y="180"/>
                  </a:lnTo>
                  <a:cubicBezTo>
                    <a:pt x="18" y="187"/>
                    <a:pt x="23" y="192"/>
                    <a:pt x="30" y="192"/>
                  </a:cubicBezTo>
                  <a:lnTo>
                    <a:pt x="183" y="192"/>
                  </a:lnTo>
                  <a:cubicBezTo>
                    <a:pt x="190" y="192"/>
                    <a:pt x="195" y="187"/>
                    <a:pt x="195" y="180"/>
                  </a:cubicBezTo>
                  <a:lnTo>
                    <a:pt x="195" y="29"/>
                  </a:lnTo>
                  <a:cubicBezTo>
                    <a:pt x="195" y="22"/>
                    <a:pt x="190" y="17"/>
                    <a:pt x="183" y="17"/>
                  </a:cubicBezTo>
                  <a:lnTo>
                    <a:pt x="30" y="17"/>
                  </a:lnTo>
                  <a:lnTo>
                    <a:pt x="30" y="16"/>
                  </a:ln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166" name="Checklist"/>
            <p:cNvSpPr>
              <a:spLocks/>
            </p:cNvSpPr>
            <p:nvPr>
              <p:custDataLst>
                <p:tags r:id="rId19"/>
              </p:custDataLst>
            </p:nvPr>
          </p:nvSpPr>
          <p:spPr bwMode="auto">
            <a:xfrm>
              <a:off x="256" y="133"/>
              <a:ext cx="99" cy="7"/>
            </a:xfrm>
            <a:custGeom>
              <a:avLst/>
              <a:gdLst>
                <a:gd name="T0" fmla="*/ 244 w 253"/>
                <a:gd name="T1" fmla="*/ 17 h 17"/>
                <a:gd name="T2" fmla="*/ 9 w 253"/>
                <a:gd name="T3" fmla="*/ 17 h 17"/>
                <a:gd name="T4" fmla="*/ 0 w 253"/>
                <a:gd name="T5" fmla="*/ 9 h 17"/>
                <a:gd name="T6" fmla="*/ 9 w 253"/>
                <a:gd name="T7" fmla="*/ 0 h 17"/>
                <a:gd name="T8" fmla="*/ 244 w 253"/>
                <a:gd name="T9" fmla="*/ 0 h 17"/>
                <a:gd name="T10" fmla="*/ 253 w 253"/>
                <a:gd name="T11" fmla="*/ 9 h 17"/>
                <a:gd name="T12" fmla="*/ 244 w 25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53" h="17">
                  <a:moveTo>
                    <a:pt x="244" y="17"/>
                  </a:moveTo>
                  <a:lnTo>
                    <a:pt x="9" y="17"/>
                  </a:lnTo>
                  <a:cubicBezTo>
                    <a:pt x="4" y="17"/>
                    <a:pt x="0" y="14"/>
                    <a:pt x="0" y="9"/>
                  </a:cubicBezTo>
                  <a:cubicBezTo>
                    <a:pt x="0" y="4"/>
                    <a:pt x="4" y="0"/>
                    <a:pt x="9" y="0"/>
                  </a:cubicBezTo>
                  <a:lnTo>
                    <a:pt x="244" y="0"/>
                  </a:lnTo>
                  <a:cubicBezTo>
                    <a:pt x="249" y="0"/>
                    <a:pt x="253" y="4"/>
                    <a:pt x="253" y="9"/>
                  </a:cubicBezTo>
                  <a:cubicBezTo>
                    <a:pt x="253" y="14"/>
                    <a:pt x="249" y="17"/>
                    <a:pt x="244" y="17"/>
                  </a:cubicBez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172" name="Checklist"/>
            <p:cNvSpPr>
              <a:spLocks/>
            </p:cNvSpPr>
            <p:nvPr>
              <p:custDataLst>
                <p:tags r:id="rId20"/>
              </p:custDataLst>
            </p:nvPr>
          </p:nvSpPr>
          <p:spPr bwMode="auto">
            <a:xfrm>
              <a:off x="256" y="246"/>
              <a:ext cx="99" cy="7"/>
            </a:xfrm>
            <a:custGeom>
              <a:avLst/>
              <a:gdLst>
                <a:gd name="T0" fmla="*/ 244 w 253"/>
                <a:gd name="T1" fmla="*/ 17 h 17"/>
                <a:gd name="T2" fmla="*/ 9 w 253"/>
                <a:gd name="T3" fmla="*/ 17 h 17"/>
                <a:gd name="T4" fmla="*/ 0 w 253"/>
                <a:gd name="T5" fmla="*/ 9 h 17"/>
                <a:gd name="T6" fmla="*/ 9 w 253"/>
                <a:gd name="T7" fmla="*/ 0 h 17"/>
                <a:gd name="T8" fmla="*/ 244 w 253"/>
                <a:gd name="T9" fmla="*/ 0 h 17"/>
                <a:gd name="T10" fmla="*/ 253 w 253"/>
                <a:gd name="T11" fmla="*/ 9 h 17"/>
                <a:gd name="T12" fmla="*/ 244 w 25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53" h="17">
                  <a:moveTo>
                    <a:pt x="244" y="17"/>
                  </a:moveTo>
                  <a:lnTo>
                    <a:pt x="9" y="17"/>
                  </a:lnTo>
                  <a:cubicBezTo>
                    <a:pt x="4" y="17"/>
                    <a:pt x="0" y="14"/>
                    <a:pt x="0" y="9"/>
                  </a:cubicBezTo>
                  <a:cubicBezTo>
                    <a:pt x="0" y="4"/>
                    <a:pt x="4" y="0"/>
                    <a:pt x="9" y="0"/>
                  </a:cubicBezTo>
                  <a:lnTo>
                    <a:pt x="244" y="0"/>
                  </a:lnTo>
                  <a:cubicBezTo>
                    <a:pt x="249" y="0"/>
                    <a:pt x="253" y="4"/>
                    <a:pt x="253" y="9"/>
                  </a:cubicBezTo>
                  <a:cubicBezTo>
                    <a:pt x="253" y="14"/>
                    <a:pt x="249" y="17"/>
                    <a:pt x="244" y="17"/>
                  </a:cubicBez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sp>
          <p:nvSpPr>
            <p:cNvPr id="173" name="Checklist"/>
            <p:cNvSpPr>
              <a:spLocks/>
            </p:cNvSpPr>
            <p:nvPr>
              <p:custDataLst>
                <p:tags r:id="rId21"/>
              </p:custDataLst>
            </p:nvPr>
          </p:nvSpPr>
          <p:spPr bwMode="auto">
            <a:xfrm>
              <a:off x="255" y="360"/>
              <a:ext cx="99" cy="6"/>
            </a:xfrm>
            <a:custGeom>
              <a:avLst/>
              <a:gdLst>
                <a:gd name="T0" fmla="*/ 244 w 253"/>
                <a:gd name="T1" fmla="*/ 17 h 17"/>
                <a:gd name="T2" fmla="*/ 9 w 253"/>
                <a:gd name="T3" fmla="*/ 17 h 17"/>
                <a:gd name="T4" fmla="*/ 0 w 253"/>
                <a:gd name="T5" fmla="*/ 9 h 17"/>
                <a:gd name="T6" fmla="*/ 9 w 253"/>
                <a:gd name="T7" fmla="*/ 0 h 17"/>
                <a:gd name="T8" fmla="*/ 244 w 253"/>
                <a:gd name="T9" fmla="*/ 0 h 17"/>
                <a:gd name="T10" fmla="*/ 253 w 253"/>
                <a:gd name="T11" fmla="*/ 9 h 17"/>
                <a:gd name="T12" fmla="*/ 244 w 25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53" h="17">
                  <a:moveTo>
                    <a:pt x="244" y="17"/>
                  </a:moveTo>
                  <a:lnTo>
                    <a:pt x="9" y="17"/>
                  </a:lnTo>
                  <a:cubicBezTo>
                    <a:pt x="4" y="17"/>
                    <a:pt x="0" y="14"/>
                    <a:pt x="0" y="9"/>
                  </a:cubicBezTo>
                  <a:cubicBezTo>
                    <a:pt x="0" y="4"/>
                    <a:pt x="4" y="0"/>
                    <a:pt x="9" y="0"/>
                  </a:cubicBezTo>
                  <a:lnTo>
                    <a:pt x="244" y="0"/>
                  </a:lnTo>
                  <a:cubicBezTo>
                    <a:pt x="250" y="0"/>
                    <a:pt x="253" y="4"/>
                    <a:pt x="253" y="9"/>
                  </a:cubicBezTo>
                  <a:cubicBezTo>
                    <a:pt x="253" y="14"/>
                    <a:pt x="249" y="17"/>
                    <a:pt x="244" y="17"/>
                  </a:cubicBez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grpSp>
      <p:grpSp>
        <p:nvGrpSpPr>
          <p:cNvPr id="175" name="Compose"/>
          <p:cNvGrpSpPr>
            <a:grpSpLocks noChangeAspect="1"/>
          </p:cNvGrpSpPr>
          <p:nvPr>
            <p:custDataLst>
              <p:tags r:id="rId5"/>
            </p:custDataLst>
          </p:nvPr>
        </p:nvGrpSpPr>
        <p:grpSpPr bwMode="auto">
          <a:xfrm>
            <a:off x="7412175" y="3023267"/>
            <a:ext cx="373988" cy="450452"/>
            <a:chOff x="2478" y="795"/>
            <a:chExt cx="2926" cy="2653"/>
          </a:xfrm>
          <a:solidFill>
            <a:srgbClr val="1F497D"/>
          </a:solidFill>
        </p:grpSpPr>
        <p:sp>
          <p:nvSpPr>
            <p:cNvPr id="177" name="Freeform 309"/>
            <p:cNvSpPr>
              <a:spLocks noEditPoints="1"/>
            </p:cNvSpPr>
            <p:nvPr/>
          </p:nvSpPr>
          <p:spPr bwMode="auto">
            <a:xfrm>
              <a:off x="2478" y="795"/>
              <a:ext cx="1854" cy="2653"/>
            </a:xfrm>
            <a:custGeom>
              <a:avLst/>
              <a:gdLst>
                <a:gd name="T0" fmla="*/ 67 w 467"/>
                <a:gd name="T1" fmla="*/ 117 h 667"/>
                <a:gd name="T2" fmla="*/ 233 w 467"/>
                <a:gd name="T3" fmla="*/ 117 h 667"/>
                <a:gd name="T4" fmla="*/ 233 w 467"/>
                <a:gd name="T5" fmla="*/ 150 h 667"/>
                <a:gd name="T6" fmla="*/ 67 w 467"/>
                <a:gd name="T7" fmla="*/ 150 h 667"/>
                <a:gd name="T8" fmla="*/ 67 w 467"/>
                <a:gd name="T9" fmla="*/ 117 h 667"/>
                <a:gd name="T10" fmla="*/ 50 w 467"/>
                <a:gd name="T11" fmla="*/ 667 h 667"/>
                <a:gd name="T12" fmla="*/ 417 w 467"/>
                <a:gd name="T13" fmla="*/ 667 h 667"/>
                <a:gd name="T14" fmla="*/ 467 w 467"/>
                <a:gd name="T15" fmla="*/ 617 h 667"/>
                <a:gd name="T16" fmla="*/ 467 w 467"/>
                <a:gd name="T17" fmla="*/ 516 h 667"/>
                <a:gd name="T18" fmla="*/ 400 w 467"/>
                <a:gd name="T19" fmla="*/ 583 h 667"/>
                <a:gd name="T20" fmla="*/ 187 w 467"/>
                <a:gd name="T21" fmla="*/ 583 h 667"/>
                <a:gd name="T22" fmla="*/ 67 w 467"/>
                <a:gd name="T23" fmla="*/ 583 h 667"/>
                <a:gd name="T24" fmla="*/ 67 w 467"/>
                <a:gd name="T25" fmla="*/ 550 h 667"/>
                <a:gd name="T26" fmla="*/ 194 w 467"/>
                <a:gd name="T27" fmla="*/ 550 h 667"/>
                <a:gd name="T28" fmla="*/ 199 w 467"/>
                <a:gd name="T29" fmla="*/ 530 h 667"/>
                <a:gd name="T30" fmla="*/ 205 w 467"/>
                <a:gd name="T31" fmla="*/ 500 h 667"/>
                <a:gd name="T32" fmla="*/ 67 w 467"/>
                <a:gd name="T33" fmla="*/ 500 h 667"/>
                <a:gd name="T34" fmla="*/ 67 w 467"/>
                <a:gd name="T35" fmla="*/ 467 h 667"/>
                <a:gd name="T36" fmla="*/ 211 w 467"/>
                <a:gd name="T37" fmla="*/ 467 h 667"/>
                <a:gd name="T38" fmla="*/ 221 w 467"/>
                <a:gd name="T39" fmla="*/ 417 h 667"/>
                <a:gd name="T40" fmla="*/ 67 w 467"/>
                <a:gd name="T41" fmla="*/ 417 h 667"/>
                <a:gd name="T42" fmla="*/ 67 w 467"/>
                <a:gd name="T43" fmla="*/ 383 h 667"/>
                <a:gd name="T44" fmla="*/ 228 w 467"/>
                <a:gd name="T45" fmla="*/ 383 h 667"/>
                <a:gd name="T46" fmla="*/ 230 w 467"/>
                <a:gd name="T47" fmla="*/ 373 h 667"/>
                <a:gd name="T48" fmla="*/ 270 w 467"/>
                <a:gd name="T49" fmla="*/ 333 h 667"/>
                <a:gd name="T50" fmla="*/ 67 w 467"/>
                <a:gd name="T51" fmla="*/ 333 h 667"/>
                <a:gd name="T52" fmla="*/ 67 w 467"/>
                <a:gd name="T53" fmla="*/ 300 h 667"/>
                <a:gd name="T54" fmla="*/ 303 w 467"/>
                <a:gd name="T55" fmla="*/ 300 h 667"/>
                <a:gd name="T56" fmla="*/ 353 w 467"/>
                <a:gd name="T57" fmla="*/ 250 h 667"/>
                <a:gd name="T58" fmla="*/ 67 w 467"/>
                <a:gd name="T59" fmla="*/ 250 h 667"/>
                <a:gd name="T60" fmla="*/ 67 w 467"/>
                <a:gd name="T61" fmla="*/ 217 h 667"/>
                <a:gd name="T62" fmla="*/ 386 w 467"/>
                <a:gd name="T63" fmla="*/ 217 h 667"/>
                <a:gd name="T64" fmla="*/ 467 w 467"/>
                <a:gd name="T65" fmla="*/ 136 h 667"/>
                <a:gd name="T66" fmla="*/ 467 w 467"/>
                <a:gd name="T67" fmla="*/ 50 h 667"/>
                <a:gd name="T68" fmla="*/ 417 w 467"/>
                <a:gd name="T69" fmla="*/ 0 h 667"/>
                <a:gd name="T70" fmla="*/ 267 w 467"/>
                <a:gd name="T71" fmla="*/ 0 h 667"/>
                <a:gd name="T72" fmla="*/ 50 w 467"/>
                <a:gd name="T73" fmla="*/ 0 h 667"/>
                <a:gd name="T74" fmla="*/ 0 w 467"/>
                <a:gd name="T75" fmla="*/ 50 h 667"/>
                <a:gd name="T76" fmla="*/ 0 w 467"/>
                <a:gd name="T77" fmla="*/ 467 h 667"/>
                <a:gd name="T78" fmla="*/ 0 w 467"/>
                <a:gd name="T79" fmla="*/ 617 h 667"/>
                <a:gd name="T80" fmla="*/ 50 w 467"/>
                <a:gd name="T81" fmla="*/ 66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7" h="667">
                  <a:moveTo>
                    <a:pt x="67" y="117"/>
                  </a:moveTo>
                  <a:lnTo>
                    <a:pt x="233" y="117"/>
                  </a:lnTo>
                  <a:lnTo>
                    <a:pt x="233" y="150"/>
                  </a:lnTo>
                  <a:lnTo>
                    <a:pt x="67" y="150"/>
                  </a:lnTo>
                  <a:lnTo>
                    <a:pt x="67" y="117"/>
                  </a:lnTo>
                  <a:close/>
                  <a:moveTo>
                    <a:pt x="50" y="667"/>
                  </a:moveTo>
                  <a:lnTo>
                    <a:pt x="417" y="667"/>
                  </a:lnTo>
                  <a:cubicBezTo>
                    <a:pt x="444" y="667"/>
                    <a:pt x="467" y="644"/>
                    <a:pt x="467" y="617"/>
                  </a:cubicBezTo>
                  <a:lnTo>
                    <a:pt x="467" y="516"/>
                  </a:lnTo>
                  <a:lnTo>
                    <a:pt x="400" y="583"/>
                  </a:lnTo>
                  <a:lnTo>
                    <a:pt x="187" y="583"/>
                  </a:lnTo>
                  <a:lnTo>
                    <a:pt x="67" y="583"/>
                  </a:lnTo>
                  <a:lnTo>
                    <a:pt x="67" y="550"/>
                  </a:lnTo>
                  <a:lnTo>
                    <a:pt x="194" y="550"/>
                  </a:lnTo>
                  <a:lnTo>
                    <a:pt x="199" y="530"/>
                  </a:lnTo>
                  <a:lnTo>
                    <a:pt x="205" y="500"/>
                  </a:lnTo>
                  <a:lnTo>
                    <a:pt x="67" y="500"/>
                  </a:lnTo>
                  <a:lnTo>
                    <a:pt x="67" y="467"/>
                  </a:lnTo>
                  <a:lnTo>
                    <a:pt x="211" y="467"/>
                  </a:lnTo>
                  <a:lnTo>
                    <a:pt x="221" y="417"/>
                  </a:lnTo>
                  <a:lnTo>
                    <a:pt x="67" y="417"/>
                  </a:lnTo>
                  <a:lnTo>
                    <a:pt x="67" y="383"/>
                  </a:lnTo>
                  <a:lnTo>
                    <a:pt x="228" y="383"/>
                  </a:lnTo>
                  <a:lnTo>
                    <a:pt x="230" y="373"/>
                  </a:lnTo>
                  <a:lnTo>
                    <a:pt x="270" y="333"/>
                  </a:lnTo>
                  <a:lnTo>
                    <a:pt x="67" y="333"/>
                  </a:lnTo>
                  <a:lnTo>
                    <a:pt x="67" y="300"/>
                  </a:lnTo>
                  <a:lnTo>
                    <a:pt x="303" y="300"/>
                  </a:lnTo>
                  <a:lnTo>
                    <a:pt x="353" y="250"/>
                  </a:lnTo>
                  <a:lnTo>
                    <a:pt x="67" y="250"/>
                  </a:lnTo>
                  <a:lnTo>
                    <a:pt x="67" y="217"/>
                  </a:lnTo>
                  <a:lnTo>
                    <a:pt x="386" y="217"/>
                  </a:lnTo>
                  <a:lnTo>
                    <a:pt x="467" y="136"/>
                  </a:lnTo>
                  <a:lnTo>
                    <a:pt x="467" y="50"/>
                  </a:lnTo>
                  <a:cubicBezTo>
                    <a:pt x="467" y="22"/>
                    <a:pt x="444" y="0"/>
                    <a:pt x="417" y="0"/>
                  </a:cubicBezTo>
                  <a:lnTo>
                    <a:pt x="267" y="0"/>
                  </a:lnTo>
                  <a:lnTo>
                    <a:pt x="50" y="0"/>
                  </a:lnTo>
                  <a:cubicBezTo>
                    <a:pt x="22" y="0"/>
                    <a:pt x="0" y="22"/>
                    <a:pt x="0" y="50"/>
                  </a:cubicBezTo>
                  <a:lnTo>
                    <a:pt x="0" y="467"/>
                  </a:lnTo>
                  <a:lnTo>
                    <a:pt x="0" y="617"/>
                  </a:lnTo>
                  <a:cubicBezTo>
                    <a:pt x="0" y="644"/>
                    <a:pt x="22" y="667"/>
                    <a:pt x="50" y="667"/>
                  </a:cubicBez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en-US" sz="1807">
                <a:solidFill>
                  <a:prstClr val="black"/>
                </a:solidFill>
                <a:latin typeface="Calibri"/>
              </a:endParaRPr>
            </a:p>
          </p:txBody>
        </p:sp>
        <p:sp>
          <p:nvSpPr>
            <p:cNvPr id="178" name="Freeform 310"/>
            <p:cNvSpPr>
              <a:spLocks/>
            </p:cNvSpPr>
            <p:nvPr/>
          </p:nvSpPr>
          <p:spPr bwMode="auto">
            <a:xfrm>
              <a:off x="4606" y="1014"/>
              <a:ext cx="798" cy="800"/>
            </a:xfrm>
            <a:custGeom>
              <a:avLst/>
              <a:gdLst>
                <a:gd name="T0" fmla="*/ 118 w 201"/>
                <a:gd name="T1" fmla="*/ 177 h 201"/>
                <a:gd name="T2" fmla="*/ 142 w 201"/>
                <a:gd name="T3" fmla="*/ 201 h 201"/>
                <a:gd name="T4" fmla="*/ 186 w 201"/>
                <a:gd name="T5" fmla="*/ 157 h 201"/>
                <a:gd name="T6" fmla="*/ 186 w 201"/>
                <a:gd name="T7" fmla="*/ 103 h 201"/>
                <a:gd name="T8" fmla="*/ 97 w 201"/>
                <a:gd name="T9" fmla="*/ 14 h 201"/>
                <a:gd name="T10" fmla="*/ 44 w 201"/>
                <a:gd name="T11" fmla="*/ 14 h 201"/>
                <a:gd name="T12" fmla="*/ 0 w 201"/>
                <a:gd name="T13" fmla="*/ 58 h 201"/>
                <a:gd name="T14" fmla="*/ 24 w 201"/>
                <a:gd name="T15" fmla="*/ 82 h 201"/>
                <a:gd name="T16" fmla="*/ 118 w 201"/>
                <a:gd name="T17" fmla="*/ 17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18" y="177"/>
                  </a:moveTo>
                  <a:lnTo>
                    <a:pt x="142" y="201"/>
                  </a:lnTo>
                  <a:lnTo>
                    <a:pt x="186" y="157"/>
                  </a:lnTo>
                  <a:cubicBezTo>
                    <a:pt x="201" y="142"/>
                    <a:pt x="201" y="118"/>
                    <a:pt x="186" y="103"/>
                  </a:cubicBezTo>
                  <a:lnTo>
                    <a:pt x="97" y="14"/>
                  </a:lnTo>
                  <a:cubicBezTo>
                    <a:pt x="83" y="0"/>
                    <a:pt x="59" y="0"/>
                    <a:pt x="44" y="14"/>
                  </a:cubicBezTo>
                  <a:lnTo>
                    <a:pt x="0" y="58"/>
                  </a:lnTo>
                  <a:lnTo>
                    <a:pt x="24" y="82"/>
                  </a:lnTo>
                  <a:lnTo>
                    <a:pt x="118" y="177"/>
                  </a:lnTo>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en-US" sz="1807">
                <a:solidFill>
                  <a:prstClr val="black"/>
                </a:solidFill>
                <a:latin typeface="Calibri"/>
              </a:endParaRPr>
            </a:p>
          </p:txBody>
        </p:sp>
        <p:sp>
          <p:nvSpPr>
            <p:cNvPr id="179" name="Freeform 311"/>
            <p:cNvSpPr>
              <a:spLocks/>
            </p:cNvSpPr>
            <p:nvPr/>
          </p:nvSpPr>
          <p:spPr bwMode="auto">
            <a:xfrm>
              <a:off x="3387" y="1340"/>
              <a:ext cx="1687" cy="1643"/>
            </a:xfrm>
            <a:custGeom>
              <a:avLst/>
              <a:gdLst>
                <a:gd name="T0" fmla="*/ 8 w 1687"/>
                <a:gd name="T1" fmla="*/ 1591 h 1643"/>
                <a:gd name="T2" fmla="*/ 0 w 1687"/>
                <a:gd name="T3" fmla="*/ 1643 h 1643"/>
                <a:gd name="T4" fmla="*/ 623 w 1687"/>
                <a:gd name="T5" fmla="*/ 1643 h 1643"/>
                <a:gd name="T6" fmla="*/ 1687 w 1687"/>
                <a:gd name="T7" fmla="*/ 565 h 1643"/>
                <a:gd name="T8" fmla="*/ 1596 w 1687"/>
                <a:gd name="T9" fmla="*/ 470 h 1643"/>
                <a:gd name="T10" fmla="*/ 1219 w 1687"/>
                <a:gd name="T11" fmla="*/ 96 h 1643"/>
                <a:gd name="T12" fmla="*/ 1128 w 1687"/>
                <a:gd name="T13" fmla="*/ 0 h 1643"/>
                <a:gd name="T14" fmla="*/ 127 w 1687"/>
                <a:gd name="T15" fmla="*/ 1007 h 1643"/>
                <a:gd name="T16" fmla="*/ 8 w 1687"/>
                <a:gd name="T17" fmla="*/ 1591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7" h="1643">
                  <a:moveTo>
                    <a:pt x="8" y="1591"/>
                  </a:moveTo>
                  <a:lnTo>
                    <a:pt x="0" y="1643"/>
                  </a:lnTo>
                  <a:lnTo>
                    <a:pt x="623" y="1643"/>
                  </a:lnTo>
                  <a:lnTo>
                    <a:pt x="1687" y="565"/>
                  </a:lnTo>
                  <a:lnTo>
                    <a:pt x="1596" y="470"/>
                  </a:lnTo>
                  <a:lnTo>
                    <a:pt x="1219" y="96"/>
                  </a:lnTo>
                  <a:lnTo>
                    <a:pt x="1128" y="0"/>
                  </a:lnTo>
                  <a:lnTo>
                    <a:pt x="127" y="1007"/>
                  </a:lnTo>
                  <a:lnTo>
                    <a:pt x="8" y="1591"/>
                  </a:lnTo>
                  <a:close/>
                </a:path>
              </a:pathLst>
            </a:custGeom>
            <a:grpFill/>
            <a:ln w="9525">
              <a:noFill/>
              <a:round/>
              <a:headEnd/>
              <a:tailEnd/>
            </a:ln>
            <a:extLst/>
          </p:spPr>
          <p:txBody>
            <a:bodyPr vert="horz" wrap="square" lIns="91780" tIns="45890" rIns="91780" bIns="45890" numCol="1" anchor="t" anchorCtr="0" compatLnSpc="1">
              <a:prstTxWarp prst="textNoShape">
                <a:avLst/>
              </a:prstTxWarp>
            </a:bodyPr>
            <a:lstStyle/>
            <a:p>
              <a:pPr defTabSz="769548"/>
              <a:endParaRPr lang="en-US" sz="1807">
                <a:solidFill>
                  <a:prstClr val="black"/>
                </a:solidFill>
                <a:latin typeface="Calibri"/>
              </a:endParaRPr>
            </a:p>
          </p:txBody>
        </p:sp>
      </p:grpSp>
      <p:grpSp>
        <p:nvGrpSpPr>
          <p:cNvPr id="180" name="Monitor"/>
          <p:cNvGrpSpPr>
            <a:grpSpLocks noChangeAspect="1"/>
          </p:cNvGrpSpPr>
          <p:nvPr>
            <p:custDataLst>
              <p:tags r:id="rId6"/>
            </p:custDataLst>
          </p:nvPr>
        </p:nvGrpSpPr>
        <p:grpSpPr bwMode="auto">
          <a:xfrm>
            <a:off x="7292814" y="4674275"/>
            <a:ext cx="391343" cy="451036"/>
            <a:chOff x="31" y="88"/>
            <a:chExt cx="423" cy="367"/>
          </a:xfrm>
          <a:solidFill>
            <a:srgbClr val="1F497D"/>
          </a:solidFill>
        </p:grpSpPr>
        <p:sp>
          <p:nvSpPr>
            <p:cNvPr id="181" name="Monitor"/>
            <p:cNvSpPr>
              <a:spLocks noEditPoints="1"/>
            </p:cNvSpPr>
            <p:nvPr>
              <p:custDataLst>
                <p:tags r:id="rId7"/>
              </p:custDataLst>
            </p:nvPr>
          </p:nvSpPr>
          <p:spPr bwMode="auto">
            <a:xfrm>
              <a:off x="31" y="88"/>
              <a:ext cx="423" cy="367"/>
            </a:xfrm>
            <a:custGeom>
              <a:avLst/>
              <a:gdLst>
                <a:gd name="T0" fmla="*/ 1101 w 1126"/>
                <a:gd name="T1" fmla="*/ 0 h 975"/>
                <a:gd name="T2" fmla="*/ 25 w 1126"/>
                <a:gd name="T3" fmla="*/ 0 h 975"/>
                <a:gd name="T4" fmla="*/ 0 w 1126"/>
                <a:gd name="T5" fmla="*/ 25 h 975"/>
                <a:gd name="T6" fmla="*/ 0 w 1126"/>
                <a:gd name="T7" fmla="*/ 799 h 975"/>
                <a:gd name="T8" fmla="*/ 25 w 1126"/>
                <a:gd name="T9" fmla="*/ 825 h 975"/>
                <a:gd name="T10" fmla="*/ 388 w 1126"/>
                <a:gd name="T11" fmla="*/ 825 h 975"/>
                <a:gd name="T12" fmla="*/ 305 w 1126"/>
                <a:gd name="T13" fmla="*/ 934 h 975"/>
                <a:gd name="T14" fmla="*/ 303 w 1126"/>
                <a:gd name="T15" fmla="*/ 960 h 975"/>
                <a:gd name="T16" fmla="*/ 325 w 1126"/>
                <a:gd name="T17" fmla="*/ 975 h 975"/>
                <a:gd name="T18" fmla="*/ 800 w 1126"/>
                <a:gd name="T19" fmla="*/ 975 h 975"/>
                <a:gd name="T20" fmla="*/ 823 w 1126"/>
                <a:gd name="T21" fmla="*/ 961 h 975"/>
                <a:gd name="T22" fmla="*/ 821 w 1126"/>
                <a:gd name="T23" fmla="*/ 935 h 975"/>
                <a:gd name="T24" fmla="*/ 738 w 1126"/>
                <a:gd name="T25" fmla="*/ 825 h 975"/>
                <a:gd name="T26" fmla="*/ 1101 w 1126"/>
                <a:gd name="T27" fmla="*/ 825 h 975"/>
                <a:gd name="T28" fmla="*/ 1126 w 1126"/>
                <a:gd name="T29" fmla="*/ 799 h 975"/>
                <a:gd name="T30" fmla="*/ 1126 w 1126"/>
                <a:gd name="T31" fmla="*/ 25 h 975"/>
                <a:gd name="T32" fmla="*/ 1101 w 1126"/>
                <a:gd name="T33" fmla="*/ 0 h 975"/>
                <a:gd name="T34" fmla="*/ 375 w 1126"/>
                <a:gd name="T35" fmla="*/ 924 h 975"/>
                <a:gd name="T36" fmla="*/ 413 w 1126"/>
                <a:gd name="T37" fmla="*/ 874 h 975"/>
                <a:gd name="T38" fmla="*/ 713 w 1126"/>
                <a:gd name="T39" fmla="*/ 874 h 975"/>
                <a:gd name="T40" fmla="*/ 750 w 1126"/>
                <a:gd name="T41" fmla="*/ 924 h 975"/>
                <a:gd name="T42" fmla="*/ 375 w 1126"/>
                <a:gd name="T43" fmla="*/ 924 h 975"/>
                <a:gd name="T44" fmla="*/ 1075 w 1126"/>
                <a:gd name="T45" fmla="*/ 775 h 975"/>
                <a:gd name="T46" fmla="*/ 50 w 1126"/>
                <a:gd name="T47" fmla="*/ 775 h 975"/>
                <a:gd name="T48" fmla="*/ 50 w 1126"/>
                <a:gd name="T49" fmla="*/ 675 h 975"/>
                <a:gd name="T50" fmla="*/ 1075 w 1126"/>
                <a:gd name="T51" fmla="*/ 675 h 975"/>
                <a:gd name="T52" fmla="*/ 1075 w 1126"/>
                <a:gd name="T53" fmla="*/ 775 h 975"/>
                <a:gd name="T54" fmla="*/ 1076 w 1126"/>
                <a:gd name="T55" fmla="*/ 624 h 975"/>
                <a:gd name="T56" fmla="*/ 50 w 1126"/>
                <a:gd name="T57" fmla="*/ 624 h 975"/>
                <a:gd name="T58" fmla="*/ 50 w 1126"/>
                <a:gd name="T59" fmla="*/ 50 h 975"/>
                <a:gd name="T60" fmla="*/ 1076 w 1126"/>
                <a:gd name="T61" fmla="*/ 50 h 975"/>
                <a:gd name="T62" fmla="*/ 1076 w 1126"/>
                <a:gd name="T63" fmla="*/ 62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6" h="975">
                  <a:moveTo>
                    <a:pt x="1101" y="0"/>
                  </a:moveTo>
                  <a:lnTo>
                    <a:pt x="25" y="0"/>
                  </a:lnTo>
                  <a:cubicBezTo>
                    <a:pt x="12" y="0"/>
                    <a:pt x="0" y="11"/>
                    <a:pt x="0" y="25"/>
                  </a:cubicBezTo>
                  <a:lnTo>
                    <a:pt x="0" y="799"/>
                  </a:lnTo>
                  <a:cubicBezTo>
                    <a:pt x="0" y="813"/>
                    <a:pt x="12" y="825"/>
                    <a:pt x="25" y="825"/>
                  </a:cubicBezTo>
                  <a:cubicBezTo>
                    <a:pt x="25" y="825"/>
                    <a:pt x="381" y="825"/>
                    <a:pt x="388" y="825"/>
                  </a:cubicBezTo>
                  <a:lnTo>
                    <a:pt x="305" y="934"/>
                  </a:lnTo>
                  <a:cubicBezTo>
                    <a:pt x="300" y="942"/>
                    <a:pt x="299" y="952"/>
                    <a:pt x="303" y="960"/>
                  </a:cubicBezTo>
                  <a:cubicBezTo>
                    <a:pt x="307" y="969"/>
                    <a:pt x="316" y="975"/>
                    <a:pt x="325" y="975"/>
                  </a:cubicBezTo>
                  <a:lnTo>
                    <a:pt x="800" y="975"/>
                  </a:lnTo>
                  <a:cubicBezTo>
                    <a:pt x="810" y="975"/>
                    <a:pt x="819" y="969"/>
                    <a:pt x="823" y="961"/>
                  </a:cubicBezTo>
                  <a:cubicBezTo>
                    <a:pt x="827" y="952"/>
                    <a:pt x="826" y="942"/>
                    <a:pt x="821" y="935"/>
                  </a:cubicBezTo>
                  <a:lnTo>
                    <a:pt x="738" y="825"/>
                  </a:lnTo>
                  <a:cubicBezTo>
                    <a:pt x="746" y="825"/>
                    <a:pt x="1101" y="825"/>
                    <a:pt x="1101" y="825"/>
                  </a:cubicBezTo>
                  <a:cubicBezTo>
                    <a:pt x="1114" y="825"/>
                    <a:pt x="1126" y="813"/>
                    <a:pt x="1126" y="799"/>
                  </a:cubicBezTo>
                  <a:lnTo>
                    <a:pt x="1126" y="25"/>
                  </a:lnTo>
                  <a:cubicBezTo>
                    <a:pt x="1126" y="11"/>
                    <a:pt x="1114" y="0"/>
                    <a:pt x="1101" y="0"/>
                  </a:cubicBezTo>
                  <a:close/>
                  <a:moveTo>
                    <a:pt x="375" y="924"/>
                  </a:moveTo>
                  <a:lnTo>
                    <a:pt x="413" y="874"/>
                  </a:lnTo>
                  <a:lnTo>
                    <a:pt x="713" y="874"/>
                  </a:lnTo>
                  <a:lnTo>
                    <a:pt x="750" y="924"/>
                  </a:lnTo>
                  <a:lnTo>
                    <a:pt x="375" y="924"/>
                  </a:lnTo>
                  <a:close/>
                  <a:moveTo>
                    <a:pt x="1075" y="775"/>
                  </a:moveTo>
                  <a:lnTo>
                    <a:pt x="50" y="775"/>
                  </a:lnTo>
                  <a:lnTo>
                    <a:pt x="50" y="675"/>
                  </a:lnTo>
                  <a:lnTo>
                    <a:pt x="1075" y="675"/>
                  </a:lnTo>
                  <a:lnTo>
                    <a:pt x="1075" y="775"/>
                  </a:lnTo>
                  <a:close/>
                  <a:moveTo>
                    <a:pt x="1076" y="624"/>
                  </a:moveTo>
                  <a:lnTo>
                    <a:pt x="50" y="624"/>
                  </a:lnTo>
                  <a:lnTo>
                    <a:pt x="50" y="50"/>
                  </a:lnTo>
                  <a:lnTo>
                    <a:pt x="1076" y="50"/>
                  </a:lnTo>
                  <a:lnTo>
                    <a:pt x="1076" y="624"/>
                  </a:lnTo>
                  <a:close/>
                </a:path>
              </a:pathLst>
            </a:cu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endParaRPr lang="fr-FR" sz="1807" dirty="0">
                <a:solidFill>
                  <a:prstClr val="black"/>
                </a:solidFill>
                <a:latin typeface="Calibri"/>
              </a:endParaRPr>
            </a:p>
          </p:txBody>
        </p:sp>
        <p:sp>
          <p:nvSpPr>
            <p:cNvPr id="205" name="Monitor"/>
            <p:cNvSpPr>
              <a:spLocks noChangeArrowheads="1"/>
            </p:cNvSpPr>
            <p:nvPr>
              <p:custDataLst>
                <p:tags r:id="rId8"/>
              </p:custDataLst>
            </p:nvPr>
          </p:nvSpPr>
          <p:spPr bwMode="auto">
            <a:xfrm>
              <a:off x="233" y="351"/>
              <a:ext cx="19" cy="19"/>
            </a:xfrm>
            <a:prstGeom prst="ellipse">
              <a:avLst/>
            </a:prstGeom>
            <a:grpFill/>
            <a:ln w="0">
              <a:noFill/>
              <a:prstDash val="solid"/>
              <a:round/>
              <a:headEnd/>
              <a:tailEnd/>
            </a:ln>
          </p:spPr>
          <p:txBody>
            <a:bodyPr vert="horz" wrap="square" lIns="91780" tIns="45890" rIns="91780" bIns="45890" numCol="1" anchor="t" anchorCtr="0" compatLnSpc="1">
              <a:prstTxWarp prst="textNoShape">
                <a:avLst/>
              </a:prstTxWarp>
            </a:bodyPr>
            <a:lstStyle/>
            <a:p>
              <a:pPr defTabSz="769548"/>
              <a:endParaRPr lang="fr-FR" sz="1807">
                <a:solidFill>
                  <a:prstClr val="black"/>
                </a:solidFill>
                <a:latin typeface="Calibri"/>
              </a:endParaRPr>
            </a:p>
          </p:txBody>
        </p:sp>
      </p:grpSp>
      <p:pic>
        <p:nvPicPr>
          <p:cNvPr id="224" name="Picture 3"/>
          <p:cNvPicPr>
            <a:picLocks noChangeAspect="1" noChangeArrowheads="1"/>
          </p:cNvPicPr>
          <p:nvPr/>
        </p:nvPicPr>
        <p:blipFill>
          <a:blip r:embed="rId61" cstate="print"/>
          <a:srcRect/>
          <a:stretch>
            <a:fillRect/>
          </a:stretch>
        </p:blipFill>
        <p:spPr bwMode="auto">
          <a:xfrm>
            <a:off x="9682015" y="345044"/>
            <a:ext cx="544083" cy="509801"/>
          </a:xfrm>
          <a:prstGeom prst="rect">
            <a:avLst/>
          </a:prstGeom>
          <a:noFill/>
          <a:ln w="9525">
            <a:noFill/>
            <a:miter lim="800000"/>
            <a:headEnd/>
            <a:tailEnd/>
          </a:ln>
        </p:spPr>
      </p:pic>
      <p:sp>
        <p:nvSpPr>
          <p:cNvPr id="122" name="Başlık 1"/>
          <p:cNvSpPr txBox="1">
            <a:spLocks/>
          </p:cNvSpPr>
          <p:nvPr/>
        </p:nvSpPr>
        <p:spPr>
          <a:xfrm>
            <a:off x="2031740" y="-1760"/>
            <a:ext cx="7650274" cy="1143000"/>
          </a:xfrm>
          <a:prstGeom prst="rect">
            <a:avLst/>
          </a:prstGeom>
        </p:spPr>
        <p:txBody>
          <a:bodyPr vert="horz" lIns="76957" tIns="38479" rIns="76957" bIns="38479"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tr-TR" sz="3212" b="1" dirty="0">
                <a:solidFill>
                  <a:srgbClr val="00BAD5"/>
                </a:solidFill>
                <a:latin typeface="Calibri" pitchFamily="34" charset="0"/>
                <a:ea typeface="ヒラギノ角ゴ Pro W3" pitchFamily="1" charset="-128"/>
              </a:rPr>
              <a:t>İŞGEM/TEKMER Programı</a:t>
            </a:r>
          </a:p>
        </p:txBody>
      </p:sp>
      <p:sp>
        <p:nvSpPr>
          <p:cNvPr id="187" name="TextBox 91"/>
          <p:cNvSpPr txBox="1"/>
          <p:nvPr/>
        </p:nvSpPr>
        <p:spPr>
          <a:xfrm>
            <a:off x="1432931" y="2264301"/>
            <a:ext cx="1555214" cy="633766"/>
          </a:xfrm>
          <a:prstGeom prst="rect">
            <a:avLst/>
          </a:prstGeom>
          <a:noFill/>
        </p:spPr>
        <p:txBody>
          <a:bodyPr wrap="none" lIns="76957" tIns="38479" rIns="76957" bIns="38479" rtlCol="0">
            <a:spAutoFit/>
          </a:bodyPr>
          <a:lstStyle/>
          <a:p>
            <a:pPr algn="ctr" defTabSz="436019">
              <a:defRPr/>
            </a:pPr>
            <a:r>
              <a:rPr lang="tr-TR" sz="1807" b="1" kern="0" dirty="0">
                <a:solidFill>
                  <a:srgbClr val="1F497D"/>
                </a:solidFill>
                <a:latin typeface="Calibri"/>
              </a:rPr>
              <a:t>Yetkilendirme </a:t>
            </a:r>
          </a:p>
          <a:p>
            <a:pPr algn="ctr" defTabSz="436019">
              <a:defRPr/>
            </a:pPr>
            <a:r>
              <a:rPr lang="tr-TR" sz="1807" b="1" kern="0" dirty="0">
                <a:solidFill>
                  <a:srgbClr val="1F497D"/>
                </a:solidFill>
                <a:latin typeface="Calibri"/>
              </a:rPr>
              <a:t>Formu</a:t>
            </a:r>
            <a:endParaRPr lang="en-US" sz="1807" b="1" kern="0" dirty="0">
              <a:solidFill>
                <a:srgbClr val="1F497D"/>
              </a:solidFill>
              <a:latin typeface="Calibri"/>
            </a:endParaRPr>
          </a:p>
        </p:txBody>
      </p:sp>
    </p:spTree>
    <p:custDataLst>
      <p:tags r:id="rId1"/>
    </p:custDataLst>
    <p:extLst>
      <p:ext uri="{BB962C8B-B14F-4D97-AF65-F5344CB8AC3E}">
        <p14:creationId xmlns:p14="http://schemas.microsoft.com/office/powerpoint/2010/main" val="3871227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1 Başlık"/>
          <p:cNvSpPr>
            <a:spLocks noGrp="1"/>
          </p:cNvSpPr>
          <p:nvPr>
            <p:ph type="ctrTitle"/>
          </p:nvPr>
        </p:nvSpPr>
        <p:spPr>
          <a:xfrm>
            <a:off x="2195353" y="2130430"/>
            <a:ext cx="7801294" cy="1470025"/>
          </a:xfrm>
        </p:spPr>
        <p:txBody>
          <a:bodyPr/>
          <a:lstStyle/>
          <a:p>
            <a:pPr eaLnBrk="1" hangingPunct="1"/>
            <a:r>
              <a:rPr lang="tr-TR" dirty="0" smtClean="0"/>
              <a:t> </a:t>
            </a:r>
          </a:p>
        </p:txBody>
      </p:sp>
      <p:sp>
        <p:nvSpPr>
          <p:cNvPr id="18436" name="6 Metin kutusu"/>
          <p:cNvSpPr txBox="1">
            <a:spLocks noChangeArrowheads="1"/>
          </p:cNvSpPr>
          <p:nvPr/>
        </p:nvSpPr>
        <p:spPr bwMode="auto">
          <a:xfrm>
            <a:off x="2662830" y="2032506"/>
            <a:ext cx="7866014" cy="5251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810" b="1" i="0" u="none" strike="noStrike" kern="1200" cap="none" spc="0" normalizeH="0" baseline="0" noProof="0" dirty="0">
                <a:ln>
                  <a:noFill/>
                </a:ln>
                <a:solidFill>
                  <a:srgbClr val="FFFFFF"/>
                </a:solidFill>
                <a:effectLst/>
                <a:uLnTx/>
                <a:uFillTx/>
                <a:latin typeface="Roboto Light"/>
                <a:ea typeface="+mn-ea"/>
                <a:cs typeface="+mn-cs"/>
              </a:rPr>
              <a:t>KOSGEB GİRİŞİMCİLİK DESTEKLERİ</a:t>
            </a:r>
          </a:p>
        </p:txBody>
      </p:sp>
      <p:sp>
        <p:nvSpPr>
          <p:cNvPr id="18437" name="7 Metin kutusu"/>
          <p:cNvSpPr txBox="1">
            <a:spLocks noChangeArrowheads="1"/>
          </p:cNvSpPr>
          <p:nvPr/>
        </p:nvSpPr>
        <p:spPr bwMode="auto">
          <a:xfrm>
            <a:off x="3890732" y="3422649"/>
            <a:ext cx="6794264" cy="338554"/>
          </a:xfrm>
          <a:prstGeom prst="rect">
            <a:avLst/>
          </a:prstGeom>
          <a:noFill/>
          <a:ln w="9525">
            <a:noFill/>
            <a:miter lim="800000"/>
            <a:headEnd/>
            <a:tailEnd/>
          </a:ln>
        </p:spPr>
        <p:txBody>
          <a:bodyP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606" b="1" i="0" u="none" strike="noStrike" kern="1200" cap="none" spc="0" normalizeH="0" baseline="0" noProof="0" dirty="0">
                <a:ln>
                  <a:noFill/>
                </a:ln>
                <a:solidFill>
                  <a:srgbClr val="FFFFFF"/>
                </a:solidFill>
                <a:effectLst/>
                <a:uLnTx/>
                <a:uFillTx/>
                <a:latin typeface="Arial" charset="0"/>
                <a:ea typeface="+mn-ea"/>
                <a:cs typeface="Arial" charset="0"/>
              </a:rPr>
              <a:t> Eylül 2020</a:t>
            </a:r>
          </a:p>
        </p:txBody>
      </p:sp>
      <p:pic>
        <p:nvPicPr>
          <p:cNvPr id="8" name="Resim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8717548" cy="4741817"/>
          </a:xfrm>
          <a:prstGeom prst="rect">
            <a:avLst/>
          </a:prstGeom>
        </p:spPr>
      </p:pic>
      <p:sp>
        <p:nvSpPr>
          <p:cNvPr id="6" name="Dikdörtgen 5"/>
          <p:cNvSpPr/>
          <p:nvPr/>
        </p:nvSpPr>
        <p:spPr>
          <a:xfrm>
            <a:off x="3147934" y="3309614"/>
            <a:ext cx="9044066" cy="3650105"/>
          </a:xfrm>
          <a:prstGeom prst="rect">
            <a:avLst/>
          </a:prstGeom>
          <a:solidFill>
            <a:schemeClr val="tx2">
              <a:lumMod val="50000"/>
              <a:alpha val="9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4400" b="0" i="0" u="none" strike="noStrike" kern="1200" cap="none" spc="0" normalizeH="0" baseline="0" noProof="0" dirty="0" smtClean="0">
                <a:ln>
                  <a:noFill/>
                </a:ln>
                <a:solidFill>
                  <a:prstClr val="white"/>
                </a:solidFill>
                <a:effectLst/>
                <a:uLnTx/>
                <a:uFillTx/>
                <a:latin typeface="Roboto Black"/>
                <a:ea typeface="+mn-ea"/>
                <a:cs typeface="+mn-cs"/>
              </a:rPr>
              <a:t>KOBİGEL – KOBİ GELİŞİM DESTEK PROGRAMI</a:t>
            </a:r>
            <a:endParaRPr kumimoji="0" lang="en-US" sz="4400" b="0" i="0" u="none" strike="noStrike" kern="1200" cap="none" spc="0" normalizeH="0" baseline="0" noProof="0" dirty="0">
              <a:ln>
                <a:noFill/>
              </a:ln>
              <a:solidFill>
                <a:prstClr val="white"/>
              </a:solidFill>
              <a:effectLst/>
              <a:uLnTx/>
              <a:uFillTx/>
              <a:latin typeface="Roboto Black"/>
              <a:ea typeface="+mn-ea"/>
              <a:cs typeface="+mn-cs"/>
            </a:endParaRPr>
          </a:p>
        </p:txBody>
      </p:sp>
    </p:spTree>
    <p:extLst>
      <p:ext uri="{BB962C8B-B14F-4D97-AF65-F5344CB8AC3E}">
        <p14:creationId xmlns:p14="http://schemas.microsoft.com/office/powerpoint/2010/main" val="242305569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Yuvarlatılmış Dikdörtgen 35"/>
          <p:cNvSpPr/>
          <p:nvPr/>
        </p:nvSpPr>
        <p:spPr>
          <a:xfrm>
            <a:off x="738606" y="4120278"/>
            <a:ext cx="4406890" cy="2246650"/>
          </a:xfrm>
          <a:prstGeom prst="roundRect">
            <a:avLst/>
          </a:prstGeom>
          <a:ln/>
        </p:spPr>
        <p:style>
          <a:lnRef idx="1">
            <a:schemeClr val="accent1"/>
          </a:lnRef>
          <a:fillRef idx="2">
            <a:schemeClr val="accent1"/>
          </a:fillRef>
          <a:effectRef idx="1">
            <a:schemeClr val="accent1"/>
          </a:effectRef>
          <a:fontRef idx="minor">
            <a:schemeClr val="dk1"/>
          </a:fontRef>
        </p:style>
        <p:txBody>
          <a:bodyPr lIns="105046" tIns="52523" rIns="105046" bIns="52523" rtlCol="0" anchor="ctr"/>
          <a:lstStyle/>
          <a:p>
            <a:pPr defTabSz="1097150"/>
            <a:endParaRPr lang="tr-TR" sz="1320" dirty="0">
              <a:solidFill>
                <a:prstClr val="black"/>
              </a:solidFill>
              <a:latin typeface="Calibri"/>
            </a:endParaRPr>
          </a:p>
        </p:txBody>
      </p:sp>
      <p:sp>
        <p:nvSpPr>
          <p:cNvPr id="37" name="Yuvarlatılmış Dikdörtgen 36"/>
          <p:cNvSpPr/>
          <p:nvPr/>
        </p:nvSpPr>
        <p:spPr>
          <a:xfrm>
            <a:off x="5318316" y="2866645"/>
            <a:ext cx="6135080" cy="3932329"/>
          </a:xfrm>
          <a:prstGeom prst="roundRect">
            <a:avLst/>
          </a:prstGeom>
          <a:ln/>
        </p:spPr>
        <p:style>
          <a:lnRef idx="1">
            <a:schemeClr val="accent1"/>
          </a:lnRef>
          <a:fillRef idx="2">
            <a:schemeClr val="accent1"/>
          </a:fillRef>
          <a:effectRef idx="1">
            <a:schemeClr val="accent1"/>
          </a:effectRef>
          <a:fontRef idx="minor">
            <a:schemeClr val="dk1"/>
          </a:fontRef>
        </p:style>
        <p:txBody>
          <a:bodyPr lIns="105046" tIns="52523" rIns="105046" bIns="52523" rtlCol="0" anchor="ctr"/>
          <a:lstStyle/>
          <a:p>
            <a:pPr algn="ctr" defTabSz="1097150"/>
            <a:endParaRPr lang="tr-TR" sz="2160" b="1" dirty="0">
              <a:solidFill>
                <a:prstClr val="black"/>
              </a:solidFill>
              <a:latin typeface="Calibri"/>
            </a:endParaRPr>
          </a:p>
          <a:p>
            <a:pPr algn="ctr" defTabSz="1097150"/>
            <a:endParaRPr lang="tr-TR" sz="2160" b="1" dirty="0">
              <a:solidFill>
                <a:prstClr val="black"/>
              </a:solidFill>
              <a:latin typeface="Calibri"/>
            </a:endParaRPr>
          </a:p>
          <a:p>
            <a:pPr defTabSz="1097150"/>
            <a:endParaRPr lang="tr-TR" sz="1320" dirty="0">
              <a:solidFill>
                <a:prstClr val="black"/>
              </a:solidFill>
              <a:latin typeface="Calibri"/>
            </a:endParaRPr>
          </a:p>
        </p:txBody>
      </p:sp>
      <p:sp>
        <p:nvSpPr>
          <p:cNvPr id="43" name="Yuvarlatılmış Dikdörtgen 42"/>
          <p:cNvSpPr/>
          <p:nvPr/>
        </p:nvSpPr>
        <p:spPr>
          <a:xfrm>
            <a:off x="738606" y="1927053"/>
            <a:ext cx="4434829" cy="2106815"/>
          </a:xfrm>
          <a:prstGeom prst="roundRect">
            <a:avLst/>
          </a:prstGeom>
          <a:ln/>
        </p:spPr>
        <p:style>
          <a:lnRef idx="1">
            <a:schemeClr val="accent1"/>
          </a:lnRef>
          <a:fillRef idx="2">
            <a:schemeClr val="accent1"/>
          </a:fillRef>
          <a:effectRef idx="1">
            <a:schemeClr val="accent1"/>
          </a:effectRef>
          <a:fontRef idx="minor">
            <a:schemeClr val="dk1"/>
          </a:fontRef>
        </p:style>
        <p:txBody>
          <a:bodyPr lIns="105046" tIns="52523" rIns="105046" bIns="52523" rtlCol="0" anchor="ctr"/>
          <a:lstStyle/>
          <a:p>
            <a:pPr defTabSz="1097150"/>
            <a:r>
              <a:rPr lang="tr-TR" sz="1320" dirty="0">
                <a:solidFill>
                  <a:prstClr val="black"/>
                </a:solidFill>
                <a:latin typeface="Calibri"/>
              </a:rPr>
              <a:t> </a:t>
            </a:r>
          </a:p>
        </p:txBody>
      </p:sp>
      <p:sp>
        <p:nvSpPr>
          <p:cNvPr id="44" name="Yuvarlatılmış Dikdörtgen 43"/>
          <p:cNvSpPr/>
          <p:nvPr/>
        </p:nvSpPr>
        <p:spPr>
          <a:xfrm>
            <a:off x="5318315" y="706326"/>
            <a:ext cx="6135082" cy="2064007"/>
          </a:xfrm>
          <a:prstGeom prst="roundRect">
            <a:avLst/>
          </a:prstGeom>
          <a:ln/>
        </p:spPr>
        <p:style>
          <a:lnRef idx="1">
            <a:schemeClr val="accent1"/>
          </a:lnRef>
          <a:fillRef idx="2">
            <a:schemeClr val="accent1"/>
          </a:fillRef>
          <a:effectRef idx="1">
            <a:schemeClr val="accent1"/>
          </a:effectRef>
          <a:fontRef idx="minor">
            <a:schemeClr val="dk1"/>
          </a:fontRef>
        </p:style>
        <p:txBody>
          <a:bodyPr lIns="105046" tIns="52523" rIns="105046" bIns="52523" rtlCol="0" anchor="ctr"/>
          <a:lstStyle/>
          <a:p>
            <a:pPr algn="ctr" defTabSz="1097150"/>
            <a:r>
              <a:rPr lang="tr-TR" sz="2160" b="1" dirty="0">
                <a:solidFill>
                  <a:srgbClr val="FF3300"/>
                </a:solidFill>
                <a:latin typeface="Calibri"/>
              </a:rPr>
              <a:t>   </a:t>
            </a:r>
          </a:p>
        </p:txBody>
      </p:sp>
      <p:sp>
        <p:nvSpPr>
          <p:cNvPr id="46" name="Metin kutusu 45"/>
          <p:cNvSpPr txBox="1"/>
          <p:nvPr/>
        </p:nvSpPr>
        <p:spPr>
          <a:xfrm>
            <a:off x="1185734" y="2083789"/>
            <a:ext cx="3345444" cy="438471"/>
          </a:xfrm>
          <a:prstGeom prst="rect">
            <a:avLst/>
          </a:prstGeom>
        </p:spPr>
        <p:style>
          <a:lnRef idx="2">
            <a:schemeClr val="accent1"/>
          </a:lnRef>
          <a:fillRef idx="1">
            <a:schemeClr val="lt1"/>
          </a:fillRef>
          <a:effectRef idx="0">
            <a:schemeClr val="accent1"/>
          </a:effectRef>
          <a:fontRef idx="minor">
            <a:schemeClr val="dk1"/>
          </a:fontRef>
        </p:style>
        <p:txBody>
          <a:bodyPr wrap="square" lIns="105046" tIns="52523" rIns="105046" bIns="52523" rtlCol="0">
            <a:spAutoFit/>
          </a:bodyPr>
          <a:lstStyle/>
          <a:p>
            <a:pPr defTabSz="1097150"/>
            <a:r>
              <a:rPr lang="tr-TR" sz="2160" b="1" dirty="0">
                <a:solidFill>
                  <a:srgbClr val="00B0F0"/>
                </a:solidFill>
                <a:latin typeface="Calibri"/>
              </a:rPr>
              <a:t>      Amacı ve Kapsamı</a:t>
            </a:r>
          </a:p>
        </p:txBody>
      </p:sp>
      <p:sp>
        <p:nvSpPr>
          <p:cNvPr id="48" name="Metin kutusu 47"/>
          <p:cNvSpPr txBox="1"/>
          <p:nvPr/>
        </p:nvSpPr>
        <p:spPr>
          <a:xfrm>
            <a:off x="6747644" y="830278"/>
            <a:ext cx="3625296" cy="438471"/>
          </a:xfrm>
          <a:prstGeom prst="rect">
            <a:avLst/>
          </a:prstGeom>
        </p:spPr>
        <p:style>
          <a:lnRef idx="2">
            <a:schemeClr val="accent2"/>
          </a:lnRef>
          <a:fillRef idx="1">
            <a:schemeClr val="lt1"/>
          </a:fillRef>
          <a:effectRef idx="0">
            <a:schemeClr val="accent2"/>
          </a:effectRef>
          <a:fontRef idx="minor">
            <a:schemeClr val="dk1"/>
          </a:fontRef>
        </p:style>
        <p:txBody>
          <a:bodyPr wrap="square" lIns="105046" tIns="52523" rIns="105046" bIns="52523" rtlCol="0">
            <a:spAutoFit/>
          </a:bodyPr>
          <a:lstStyle/>
          <a:p>
            <a:pPr defTabSz="1097150"/>
            <a:r>
              <a:rPr lang="tr-TR" sz="2160" b="1" dirty="0">
                <a:solidFill>
                  <a:srgbClr val="FF3300"/>
                </a:solidFill>
                <a:latin typeface="Calibri"/>
              </a:rPr>
              <a:t>        Destek Kalemleri</a:t>
            </a:r>
          </a:p>
        </p:txBody>
      </p:sp>
      <p:sp>
        <p:nvSpPr>
          <p:cNvPr id="52" name="Metin kutusu 51"/>
          <p:cNvSpPr txBox="1"/>
          <p:nvPr/>
        </p:nvSpPr>
        <p:spPr>
          <a:xfrm>
            <a:off x="6833232" y="2910543"/>
            <a:ext cx="3602328" cy="438471"/>
          </a:xfrm>
          <a:prstGeom prst="rect">
            <a:avLst/>
          </a:prstGeom>
          <a:ln>
            <a:solidFill>
              <a:srgbClr val="0CA446"/>
            </a:solidFill>
          </a:ln>
        </p:spPr>
        <p:style>
          <a:lnRef idx="2">
            <a:schemeClr val="accent3"/>
          </a:lnRef>
          <a:fillRef idx="1">
            <a:schemeClr val="lt1"/>
          </a:fillRef>
          <a:effectRef idx="0">
            <a:schemeClr val="accent3"/>
          </a:effectRef>
          <a:fontRef idx="minor">
            <a:schemeClr val="dk1"/>
          </a:fontRef>
        </p:style>
        <p:txBody>
          <a:bodyPr wrap="square" lIns="105046" tIns="52523" rIns="105046" bIns="52523" rtlCol="0">
            <a:spAutoFit/>
          </a:bodyPr>
          <a:lstStyle/>
          <a:p>
            <a:pPr defTabSz="1097150"/>
            <a:r>
              <a:rPr lang="tr-TR" sz="2160" b="1" dirty="0">
                <a:solidFill>
                  <a:srgbClr val="00B050"/>
                </a:solidFill>
                <a:latin typeface="Calibri"/>
              </a:rPr>
              <a:t>       Destek Özellikleri</a:t>
            </a:r>
          </a:p>
        </p:txBody>
      </p:sp>
      <p:sp>
        <p:nvSpPr>
          <p:cNvPr id="53" name="Metin kutusu 52"/>
          <p:cNvSpPr txBox="1"/>
          <p:nvPr/>
        </p:nvSpPr>
        <p:spPr>
          <a:xfrm>
            <a:off x="1265460" y="4269786"/>
            <a:ext cx="3467533" cy="438471"/>
          </a:xfrm>
          <a:prstGeom prst="rect">
            <a:avLst/>
          </a:prstGeom>
          <a:ln>
            <a:solidFill>
              <a:srgbClr val="D1621D"/>
            </a:solidFill>
          </a:ln>
        </p:spPr>
        <p:style>
          <a:lnRef idx="2">
            <a:schemeClr val="accent6"/>
          </a:lnRef>
          <a:fillRef idx="1">
            <a:schemeClr val="lt1"/>
          </a:fillRef>
          <a:effectRef idx="0">
            <a:schemeClr val="accent6"/>
          </a:effectRef>
          <a:fontRef idx="minor">
            <a:schemeClr val="dk1"/>
          </a:fontRef>
        </p:style>
        <p:txBody>
          <a:bodyPr wrap="square" lIns="105046" tIns="52523" rIns="105046" bIns="52523" rtlCol="0">
            <a:spAutoFit/>
          </a:bodyPr>
          <a:lstStyle/>
          <a:p>
            <a:pPr defTabSz="1097150"/>
            <a:r>
              <a:rPr lang="tr-TR" sz="2160" b="1" dirty="0">
                <a:solidFill>
                  <a:srgbClr val="F79646">
                    <a:lumMod val="75000"/>
                  </a:srgbClr>
                </a:solidFill>
                <a:latin typeface="Calibri"/>
              </a:rPr>
              <a:t>      </a:t>
            </a:r>
            <a:r>
              <a:rPr lang="tr-TR" sz="2160" b="1" dirty="0">
                <a:solidFill>
                  <a:srgbClr val="D1621D"/>
                </a:solidFill>
                <a:latin typeface="Calibri"/>
              </a:rPr>
              <a:t>Kimler Başvurabilir?</a:t>
            </a:r>
          </a:p>
        </p:txBody>
      </p:sp>
      <p:sp>
        <p:nvSpPr>
          <p:cNvPr id="59" name="Metin kutusu 58"/>
          <p:cNvSpPr txBox="1"/>
          <p:nvPr/>
        </p:nvSpPr>
        <p:spPr>
          <a:xfrm>
            <a:off x="997835" y="2578748"/>
            <a:ext cx="3735158" cy="1084801"/>
          </a:xfrm>
          <a:prstGeom prst="rect">
            <a:avLst/>
          </a:prstGeom>
          <a:noFill/>
        </p:spPr>
        <p:txBody>
          <a:bodyPr wrap="square" lIns="105046" tIns="52523" rIns="105046" bIns="52523" rtlCol="0">
            <a:spAutoFit/>
          </a:bodyPr>
          <a:lstStyle/>
          <a:p>
            <a:pPr algn="just" defTabSz="1097150"/>
            <a:endParaRPr lang="tr-TR" sz="1320" dirty="0">
              <a:solidFill>
                <a:prstClr val="black"/>
              </a:solidFill>
              <a:latin typeface="Calibri"/>
              <a:ea typeface="ヒラギノ角ゴ Pro W3" pitchFamily="1" charset="-128"/>
            </a:endParaRPr>
          </a:p>
          <a:p>
            <a:pPr algn="just" defTabSz="1097150"/>
            <a:r>
              <a:rPr lang="tr-TR" sz="1680" dirty="0">
                <a:solidFill>
                  <a:prstClr val="black"/>
                </a:solidFill>
                <a:latin typeface="Calibri"/>
                <a:ea typeface="ヒラギノ角ゴ Pro W3" pitchFamily="1" charset="-128"/>
              </a:rPr>
              <a:t>Ulusal sanayi – ekonomi hedefleri doğrultusunda belirlenen konularda KOBİ’lerin geliştirilmesidir.</a:t>
            </a:r>
          </a:p>
        </p:txBody>
      </p:sp>
      <p:sp>
        <p:nvSpPr>
          <p:cNvPr id="60" name="Metin kutusu 59"/>
          <p:cNvSpPr txBox="1"/>
          <p:nvPr/>
        </p:nvSpPr>
        <p:spPr>
          <a:xfrm>
            <a:off x="5663952" y="1070909"/>
            <a:ext cx="5166694" cy="1612638"/>
          </a:xfrm>
          <a:prstGeom prst="rect">
            <a:avLst/>
          </a:prstGeom>
          <a:noFill/>
        </p:spPr>
        <p:txBody>
          <a:bodyPr wrap="square" lIns="105046" tIns="52523" rIns="105046" bIns="52523" rtlCol="0">
            <a:spAutoFit/>
          </a:bodyPr>
          <a:lstStyle/>
          <a:p>
            <a:pPr algn="just" defTabSz="1097150"/>
            <a:endParaRPr lang="tr-TR" sz="1320" b="1" dirty="0">
              <a:solidFill>
                <a:srgbClr val="FF0000"/>
              </a:solidFill>
              <a:latin typeface="Calibri"/>
              <a:ea typeface="ヒラギノ角ゴ Pro W3" pitchFamily="1" charset="-128"/>
            </a:endParaRPr>
          </a:p>
          <a:p>
            <a:pPr algn="just" defTabSz="1097150">
              <a:spcAft>
                <a:spcPts val="689"/>
              </a:spcAft>
            </a:pPr>
            <a:r>
              <a:rPr lang="tr-TR" sz="1680" b="1" dirty="0">
                <a:solidFill>
                  <a:srgbClr val="FF0000"/>
                </a:solidFill>
                <a:latin typeface="Calibri"/>
                <a:ea typeface="ヒラギノ角ゴ Pro W3" pitchFamily="1" charset="-128"/>
              </a:rPr>
              <a:t>a)</a:t>
            </a:r>
            <a:r>
              <a:rPr lang="tr-TR" sz="1680" dirty="0">
                <a:solidFill>
                  <a:prstClr val="black"/>
                </a:solidFill>
                <a:latin typeface="Calibri"/>
                <a:ea typeface="ヒラギノ角ゴ Pro W3" pitchFamily="1" charset="-128"/>
              </a:rPr>
              <a:t> Makine, teçhizat</a:t>
            </a:r>
          </a:p>
          <a:p>
            <a:pPr algn="just" defTabSz="1097150">
              <a:spcAft>
                <a:spcPts val="689"/>
              </a:spcAft>
            </a:pPr>
            <a:r>
              <a:rPr lang="tr-TR" sz="1680" b="1" dirty="0">
                <a:solidFill>
                  <a:srgbClr val="FF0000"/>
                </a:solidFill>
                <a:latin typeface="Calibri"/>
                <a:ea typeface="ヒラギノ角ゴ Pro W3" pitchFamily="1" charset="-128"/>
              </a:rPr>
              <a:t>b)</a:t>
            </a:r>
            <a:r>
              <a:rPr lang="tr-TR" sz="1680" dirty="0">
                <a:solidFill>
                  <a:prstClr val="black"/>
                </a:solidFill>
                <a:latin typeface="Calibri"/>
                <a:ea typeface="ヒラギノ角ゴ Pro W3" pitchFamily="1" charset="-128"/>
              </a:rPr>
              <a:t> Yazılım</a:t>
            </a:r>
          </a:p>
          <a:p>
            <a:pPr algn="just" defTabSz="1097150">
              <a:spcAft>
                <a:spcPts val="689"/>
              </a:spcAft>
            </a:pPr>
            <a:r>
              <a:rPr lang="tr-TR" sz="1680" b="1" dirty="0">
                <a:solidFill>
                  <a:srgbClr val="FF0000"/>
                </a:solidFill>
                <a:latin typeface="Calibri"/>
                <a:ea typeface="ヒラギノ角ゴ Pro W3" pitchFamily="1" charset="-128"/>
              </a:rPr>
              <a:t>c)</a:t>
            </a:r>
            <a:r>
              <a:rPr lang="tr-TR" sz="1680" dirty="0">
                <a:solidFill>
                  <a:prstClr val="black"/>
                </a:solidFill>
                <a:latin typeface="Calibri"/>
                <a:ea typeface="ヒラギノ角ゴ Pro W3" pitchFamily="1" charset="-128"/>
              </a:rPr>
              <a:t> Personel gideri</a:t>
            </a:r>
          </a:p>
          <a:p>
            <a:pPr algn="just" defTabSz="1097150">
              <a:spcAft>
                <a:spcPts val="689"/>
              </a:spcAft>
            </a:pPr>
            <a:r>
              <a:rPr lang="tr-TR" sz="1680" b="1" dirty="0">
                <a:solidFill>
                  <a:srgbClr val="FF0000"/>
                </a:solidFill>
                <a:latin typeface="Calibri"/>
                <a:ea typeface="ヒラギノ角ゴ Pro W3" pitchFamily="1" charset="-128"/>
              </a:rPr>
              <a:t>ç)</a:t>
            </a:r>
            <a:r>
              <a:rPr lang="tr-TR" sz="1680" dirty="0">
                <a:solidFill>
                  <a:prstClr val="black"/>
                </a:solidFill>
                <a:latin typeface="Calibri"/>
                <a:ea typeface="ヒラギノ角ゴ Pro W3" pitchFamily="1" charset="-128"/>
              </a:rPr>
              <a:t> Hizmet alımı giderleri</a:t>
            </a:r>
            <a:endParaRPr lang="tr-TR" sz="1260" dirty="0">
              <a:solidFill>
                <a:prstClr val="black"/>
              </a:solidFill>
              <a:latin typeface="Calibri"/>
              <a:ea typeface="ヒラギノ角ゴ Pro W3" pitchFamily="1" charset="-128"/>
            </a:endParaRPr>
          </a:p>
        </p:txBody>
      </p:sp>
      <p:sp>
        <p:nvSpPr>
          <p:cNvPr id="31" name="Metin kutusu 30"/>
          <p:cNvSpPr txBox="1"/>
          <p:nvPr/>
        </p:nvSpPr>
        <p:spPr>
          <a:xfrm>
            <a:off x="5750362" y="3399927"/>
            <a:ext cx="5616624" cy="3516236"/>
          </a:xfrm>
          <a:prstGeom prst="rect">
            <a:avLst/>
          </a:prstGeom>
          <a:noFill/>
        </p:spPr>
        <p:txBody>
          <a:bodyPr wrap="square" lIns="105046" tIns="52523" rIns="105046" bIns="52523" rtlCol="0">
            <a:spAutoFit/>
          </a:bodyPr>
          <a:lstStyle/>
          <a:p>
            <a:pPr marL="1832610" indent="-1832610" defTabSz="1097150">
              <a:spcAft>
                <a:spcPts val="360"/>
              </a:spcAft>
            </a:pPr>
            <a:r>
              <a:rPr lang="tr-TR" sz="1680" b="1" dirty="0">
                <a:solidFill>
                  <a:srgbClr val="0CA446"/>
                </a:solidFill>
                <a:latin typeface="Calibri"/>
                <a:ea typeface="ヒラギノ角ゴ Pro W3" pitchFamily="1" charset="-128"/>
              </a:rPr>
              <a:t>Destek Türü:              </a:t>
            </a:r>
            <a:r>
              <a:rPr lang="tr-TR" sz="1680" dirty="0">
                <a:solidFill>
                  <a:prstClr val="black"/>
                </a:solidFill>
                <a:latin typeface="Calibri"/>
                <a:ea typeface="ヒラギノ角ゴ Pro W3" pitchFamily="1" charset="-128"/>
              </a:rPr>
              <a:t>Geri Ödemesiz + Geri Ödemeli</a:t>
            </a:r>
          </a:p>
          <a:p>
            <a:pPr algn="just" defTabSz="1097150">
              <a:spcAft>
                <a:spcPts val="360"/>
              </a:spcAft>
            </a:pPr>
            <a:r>
              <a:rPr lang="tr-TR" sz="1680" b="1" dirty="0">
                <a:solidFill>
                  <a:srgbClr val="0CA446"/>
                </a:solidFill>
                <a:latin typeface="Calibri"/>
                <a:ea typeface="ヒラギノ角ゴ Pro W3" pitchFamily="1" charset="-128"/>
              </a:rPr>
              <a:t>Destek Miktarı:</a:t>
            </a:r>
            <a:r>
              <a:rPr lang="tr-TR" sz="1680" b="1" dirty="0">
                <a:solidFill>
                  <a:prstClr val="black"/>
                </a:solidFill>
                <a:latin typeface="Calibri"/>
                <a:ea typeface="ヒラギノ角ゴ Pro W3" pitchFamily="1" charset="-128"/>
              </a:rPr>
              <a:t>         </a:t>
            </a:r>
            <a:r>
              <a:rPr lang="tr-TR" sz="1680" dirty="0">
                <a:solidFill>
                  <a:prstClr val="black"/>
                </a:solidFill>
                <a:latin typeface="Calibri"/>
                <a:ea typeface="ヒラギノ角ゴ Pro W3" pitchFamily="1" charset="-128"/>
              </a:rPr>
              <a:t>300.000 TL (Geri Ödemesiz)</a:t>
            </a:r>
          </a:p>
          <a:p>
            <a:pPr marL="1504950" indent="-1504950" algn="just" defTabSz="1097150">
              <a:spcAft>
                <a:spcPts val="360"/>
              </a:spcAft>
            </a:pPr>
            <a:r>
              <a:rPr lang="tr-TR" sz="1680" dirty="0">
                <a:solidFill>
                  <a:prstClr val="black"/>
                </a:solidFill>
                <a:latin typeface="Calibri"/>
                <a:ea typeface="ヒラギノ角ゴ Pro W3" pitchFamily="1" charset="-128"/>
              </a:rPr>
              <a:t>                                      700.000TL (Geri Ödemeli)</a:t>
            </a:r>
          </a:p>
          <a:p>
            <a:pPr marL="1832610" indent="-1832610" defTabSz="1097150">
              <a:spcAft>
                <a:spcPts val="360"/>
              </a:spcAft>
            </a:pPr>
            <a:r>
              <a:rPr lang="tr-TR" sz="1680" b="1" dirty="0">
                <a:solidFill>
                  <a:srgbClr val="0CA446"/>
                </a:solidFill>
                <a:latin typeface="Calibri"/>
                <a:ea typeface="ヒラギノ角ゴ Pro W3" pitchFamily="1" charset="-128"/>
              </a:rPr>
              <a:t>Destek Oranı:</a:t>
            </a:r>
            <a:r>
              <a:rPr lang="tr-TR" sz="1680" dirty="0">
                <a:solidFill>
                  <a:prstClr val="black"/>
                </a:solidFill>
                <a:latin typeface="Calibri"/>
                <a:ea typeface="ヒラギノ角ゴ Pro W3" pitchFamily="1" charset="-128"/>
              </a:rPr>
              <a:t>             </a:t>
            </a:r>
            <a:r>
              <a:rPr lang="de-DE" sz="1680" b="1" dirty="0">
                <a:solidFill>
                  <a:prstClr val="black"/>
                </a:solidFill>
                <a:latin typeface="Calibri"/>
                <a:ea typeface="ヒラギノ角ゴ Pro W3" pitchFamily="1" charset="-128"/>
              </a:rPr>
              <a:t>%60 </a:t>
            </a:r>
            <a:r>
              <a:rPr lang="tr-TR" sz="1680" b="1" dirty="0">
                <a:solidFill>
                  <a:prstClr val="black"/>
                </a:solidFill>
                <a:latin typeface="Calibri"/>
                <a:ea typeface="ヒラギノ角ゴ Pro W3" pitchFamily="1" charset="-128"/>
              </a:rPr>
              <a:t> </a:t>
            </a:r>
            <a:r>
              <a:rPr lang="tr-TR" sz="1680" i="1" dirty="0">
                <a:solidFill>
                  <a:prstClr val="black"/>
                </a:solidFill>
                <a:latin typeface="Calibri"/>
                <a:ea typeface="ヒラギノ角ゴ Pro W3" pitchFamily="1" charset="-128"/>
              </a:rPr>
              <a:t>(Desteğin %70’i geri ödemeli,                        %30’u geri ödemesiz destek olarak ödenir). </a:t>
            </a:r>
            <a:r>
              <a:rPr lang="tr-TR" sz="1680" dirty="0">
                <a:solidFill>
                  <a:prstClr val="black"/>
                </a:solidFill>
                <a:latin typeface="Calibri"/>
                <a:ea typeface="ヒラギノ角ゴ Pro W3" pitchFamily="1" charset="-128"/>
              </a:rPr>
              <a:t>Personel desteği oranı, belirli limitler dahilinde </a:t>
            </a:r>
            <a:r>
              <a:rPr lang="tr-TR" sz="1680" b="1" dirty="0">
                <a:solidFill>
                  <a:prstClr val="black"/>
                </a:solidFill>
                <a:latin typeface="Calibri"/>
                <a:ea typeface="ヒラギノ角ゴ Pro W3" pitchFamily="1" charset="-128"/>
              </a:rPr>
              <a:t>%100</a:t>
            </a:r>
            <a:r>
              <a:rPr lang="tr-TR" sz="1680" dirty="0">
                <a:solidFill>
                  <a:prstClr val="black"/>
                </a:solidFill>
                <a:latin typeface="Calibri"/>
                <a:ea typeface="ヒラギノ角ゴ Pro W3" pitchFamily="1" charset="-128"/>
              </a:rPr>
              <a:t>’dür (Geri Ödemesiz). </a:t>
            </a:r>
          </a:p>
          <a:p>
            <a:pPr defTabSz="1097150">
              <a:spcAft>
                <a:spcPts val="360"/>
              </a:spcAft>
            </a:pPr>
            <a:r>
              <a:rPr lang="tr-TR" sz="1680" b="1" dirty="0">
                <a:solidFill>
                  <a:srgbClr val="0AA649"/>
                </a:solidFill>
                <a:latin typeface="Calibri"/>
                <a:ea typeface="ヒラギノ角ゴ Pro W3" pitchFamily="1" charset="-128"/>
              </a:rPr>
              <a:t>Başvuru Dönemi:       </a:t>
            </a:r>
            <a:r>
              <a:rPr lang="tr-TR" sz="1680" dirty="0">
                <a:solidFill>
                  <a:prstClr val="black"/>
                </a:solidFill>
                <a:latin typeface="Calibri"/>
                <a:ea typeface="ヒラギノ角ゴ Pro W3" pitchFamily="1" charset="-128"/>
              </a:rPr>
              <a:t>Çağrılı</a:t>
            </a:r>
          </a:p>
          <a:p>
            <a:pPr defTabSz="1097150">
              <a:spcAft>
                <a:spcPts val="360"/>
              </a:spcAft>
            </a:pPr>
            <a:r>
              <a:rPr lang="tr-TR" sz="1680" b="1" dirty="0">
                <a:solidFill>
                  <a:srgbClr val="0AA649"/>
                </a:solidFill>
                <a:latin typeface="Calibri"/>
                <a:ea typeface="ヒラギノ角ゴ Pro W3" pitchFamily="1" charset="-128"/>
              </a:rPr>
              <a:t>Destek Süresi:             </a:t>
            </a:r>
            <a:r>
              <a:rPr lang="tr-TR" sz="1680" dirty="0">
                <a:solidFill>
                  <a:prstClr val="black"/>
                </a:solidFill>
                <a:latin typeface="Calibri"/>
                <a:ea typeface="ヒラギノ角ゴ Pro W3" pitchFamily="1" charset="-128"/>
              </a:rPr>
              <a:t>En az 8 Ay, En fazla 36 Ay</a:t>
            </a:r>
          </a:p>
          <a:p>
            <a:pPr marL="1824990" indent="-1824990" defTabSz="1097150">
              <a:spcAft>
                <a:spcPts val="360"/>
              </a:spcAft>
            </a:pPr>
            <a:r>
              <a:rPr lang="tr-TR" sz="1680" b="1" dirty="0">
                <a:solidFill>
                  <a:srgbClr val="0AA649"/>
                </a:solidFill>
                <a:latin typeface="Calibri"/>
                <a:ea typeface="ヒラギノ角ゴ Pro W3" pitchFamily="1" charset="-128"/>
                <a:cs typeface="Times New Roman" panose="02020603050405020304" pitchFamily="18" charset="0"/>
              </a:rPr>
              <a:t>Erken Ödeme Oranı:</a:t>
            </a:r>
            <a:r>
              <a:rPr lang="tr-TR" sz="1680" dirty="0">
                <a:solidFill>
                  <a:prstClr val="black"/>
                </a:solidFill>
                <a:latin typeface="Calibri"/>
                <a:ea typeface="ヒラギノ角ゴ Pro W3" pitchFamily="1" charset="-128"/>
                <a:cs typeface="Times New Roman" panose="02020603050405020304" pitchFamily="18" charset="0"/>
              </a:rPr>
              <a:t>  %50 </a:t>
            </a:r>
            <a:r>
              <a:rPr lang="tr-TR" sz="1680" i="1" dirty="0">
                <a:solidFill>
                  <a:prstClr val="black"/>
                </a:solidFill>
                <a:latin typeface="Calibri"/>
                <a:ea typeface="ヒラギノ角ゴ Pro W3" pitchFamily="1" charset="-128"/>
              </a:rPr>
              <a:t>(Geri ödemeli destek tutarı üzerinden hesaplanır)</a:t>
            </a:r>
          </a:p>
        </p:txBody>
      </p:sp>
      <p:sp>
        <p:nvSpPr>
          <p:cNvPr id="27" name="Metin kutusu 26"/>
          <p:cNvSpPr txBox="1"/>
          <p:nvPr/>
        </p:nvSpPr>
        <p:spPr>
          <a:xfrm>
            <a:off x="840181" y="4900955"/>
            <a:ext cx="4072014" cy="1140201"/>
          </a:xfrm>
          <a:prstGeom prst="rect">
            <a:avLst/>
          </a:prstGeom>
          <a:noFill/>
        </p:spPr>
        <p:txBody>
          <a:bodyPr wrap="square" lIns="105046" tIns="52523" rIns="105046" bIns="52523" rtlCol="0">
            <a:spAutoFit/>
          </a:bodyPr>
          <a:lstStyle/>
          <a:p>
            <a:pPr marL="196963" indent="-196963" algn="just" defTabSz="1097150">
              <a:buFont typeface="Wingdings" pitchFamily="2" charset="2"/>
              <a:buChar char="ü"/>
            </a:pPr>
            <a:r>
              <a:rPr lang="tr-TR" sz="1680" dirty="0">
                <a:solidFill>
                  <a:prstClr val="black"/>
                </a:solidFill>
                <a:latin typeface="Calibri"/>
                <a:ea typeface="ヒラギノ角ゴ Pro W3" pitchFamily="1" charset="-128"/>
              </a:rPr>
              <a:t>KOBİ (Proje Teklif Çağrısında çıkılan konunun özelliğine göre başvuru şartları belirlenmekte, KOSGEB web sitesinde yayınlanmaktadır.)</a:t>
            </a:r>
          </a:p>
        </p:txBody>
      </p:sp>
      <p:sp>
        <p:nvSpPr>
          <p:cNvPr id="28" name="Yuvarlatılmış Dikdörtgen 27"/>
          <p:cNvSpPr/>
          <p:nvPr/>
        </p:nvSpPr>
        <p:spPr>
          <a:xfrm>
            <a:off x="1625259" y="664150"/>
            <a:ext cx="2670119" cy="881039"/>
          </a:xfrm>
          <a:prstGeom prst="roundRect">
            <a:avLst/>
          </a:prstGeom>
        </p:spPr>
        <p:style>
          <a:lnRef idx="1">
            <a:schemeClr val="dk1"/>
          </a:lnRef>
          <a:fillRef idx="2">
            <a:schemeClr val="dk1"/>
          </a:fillRef>
          <a:effectRef idx="1">
            <a:schemeClr val="dk1"/>
          </a:effectRef>
          <a:fontRef idx="minor">
            <a:schemeClr val="dk1"/>
          </a:fontRef>
        </p:style>
        <p:txBody>
          <a:bodyPr lIns="105046" tIns="52523" rIns="105046" bIns="52523" rtlCol="0" anchor="ctr"/>
          <a:lstStyle/>
          <a:p>
            <a:pPr algn="ctr" defTabSz="1097150"/>
            <a:r>
              <a:rPr lang="tr-TR" b="1" u="sng" dirty="0">
                <a:solidFill>
                  <a:prstClr val="black"/>
                </a:solidFill>
                <a:latin typeface="Calibri"/>
              </a:rPr>
              <a:t>Destek Alanı</a:t>
            </a:r>
          </a:p>
          <a:p>
            <a:pPr algn="ctr" defTabSz="1097150"/>
            <a:r>
              <a:rPr lang="tr-TR" b="1" dirty="0">
                <a:solidFill>
                  <a:prstClr val="black"/>
                </a:solidFill>
                <a:latin typeface="Calibri"/>
              </a:rPr>
              <a:t>Büyüme</a:t>
            </a:r>
          </a:p>
          <a:p>
            <a:pPr algn="ctr" defTabSz="1097150"/>
            <a:r>
              <a:rPr lang="tr-TR" sz="1560" dirty="0">
                <a:solidFill>
                  <a:prstClr val="black"/>
                </a:solidFill>
                <a:latin typeface="Calibri"/>
                <a:hlinkClick r:id="" action="ppaction://noaction"/>
              </a:rPr>
              <a:t>(Yatırım/Kapasite Artırımı)</a:t>
            </a:r>
            <a:endParaRPr lang="tr-TR" sz="1560" dirty="0">
              <a:solidFill>
                <a:prstClr val="black"/>
              </a:solidFill>
              <a:latin typeface="Calibri"/>
            </a:endParaRPr>
          </a:p>
        </p:txBody>
      </p:sp>
      <p:grpSp>
        <p:nvGrpSpPr>
          <p:cNvPr id="16" name="Grup 15"/>
          <p:cNvGrpSpPr/>
          <p:nvPr/>
        </p:nvGrpSpPr>
        <p:grpSpPr>
          <a:xfrm>
            <a:off x="1966190" y="17479"/>
            <a:ext cx="8259714" cy="611777"/>
            <a:chOff x="1501775" y="17412"/>
            <a:chExt cx="9144000" cy="609511"/>
          </a:xfrm>
        </p:grpSpPr>
        <p:sp>
          <p:nvSpPr>
            <p:cNvPr id="17" name="Dikdörtgen 16"/>
            <p:cNvSpPr/>
            <p:nvPr/>
          </p:nvSpPr>
          <p:spPr>
            <a:xfrm>
              <a:off x="1501775" y="581373"/>
              <a:ext cx="9144000" cy="45550"/>
            </a:xfrm>
            <a:prstGeom prst="rect">
              <a:avLst/>
            </a:prstGeom>
            <a:solidFill>
              <a:srgbClr val="336699">
                <a:alpha val="89000"/>
              </a:srgbClr>
            </a:solidFill>
            <a:ln w="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9716" tIns="54857" rIns="109716" bIns="54857" anchor="ctr"/>
            <a:lstStyle/>
            <a:p>
              <a:pPr algn="ctr" defTabSz="1097280" fontAlgn="base">
                <a:spcBef>
                  <a:spcPct val="0"/>
                </a:spcBef>
                <a:spcAft>
                  <a:spcPct val="0"/>
                </a:spcAft>
                <a:defRPr/>
              </a:pPr>
              <a:endParaRPr lang="tr-TR" sz="2160" dirty="0">
                <a:solidFill>
                  <a:prstClr val="white"/>
                </a:solidFill>
                <a:latin typeface="Calibri"/>
              </a:endParaRPr>
            </a:p>
          </p:txBody>
        </p:sp>
        <p:pic>
          <p:nvPicPr>
            <p:cNvPr id="19" name="Picture 3"/>
            <p:cNvPicPr>
              <a:picLocks noChangeAspect="1" noChangeArrowheads="1"/>
            </p:cNvPicPr>
            <p:nvPr/>
          </p:nvPicPr>
          <p:blipFill>
            <a:blip r:embed="rId3" cstate="print"/>
            <a:srcRect/>
            <a:stretch>
              <a:fillRect/>
            </a:stretch>
          </p:blipFill>
          <p:spPr bwMode="auto">
            <a:xfrm>
              <a:off x="9746184" y="44461"/>
              <a:ext cx="720080" cy="507913"/>
            </a:xfrm>
            <a:prstGeom prst="rect">
              <a:avLst/>
            </a:prstGeom>
            <a:noFill/>
            <a:ln w="9525">
              <a:noFill/>
              <a:miter lim="800000"/>
              <a:headEnd/>
              <a:tailEnd/>
            </a:ln>
          </p:spPr>
        </p:pic>
        <p:grpSp>
          <p:nvGrpSpPr>
            <p:cNvPr id="20" name="Grup 19"/>
            <p:cNvGrpSpPr/>
            <p:nvPr/>
          </p:nvGrpSpPr>
          <p:grpSpPr>
            <a:xfrm>
              <a:off x="1773512" y="17412"/>
              <a:ext cx="8021025" cy="345682"/>
              <a:chOff x="271736" y="17410"/>
              <a:chExt cx="8021025" cy="345682"/>
            </a:xfrm>
          </p:grpSpPr>
          <p:sp>
            <p:nvSpPr>
              <p:cNvPr id="21" name="3 Metin kutusu"/>
              <p:cNvSpPr txBox="1"/>
              <p:nvPr/>
            </p:nvSpPr>
            <p:spPr>
              <a:xfrm>
                <a:off x="271736" y="17410"/>
                <a:ext cx="7632848" cy="331168"/>
              </a:xfrm>
              <a:prstGeom prst="rect">
                <a:avLst/>
              </a:prstGeom>
              <a:noFill/>
            </p:spPr>
            <p:txBody>
              <a:bodyPr wrap="square" rtlCol="0">
                <a:spAutoFit/>
              </a:bodyPr>
              <a:lstStyle/>
              <a:p>
                <a:pPr defTabSz="1097280" fontAlgn="base">
                  <a:spcBef>
                    <a:spcPct val="0"/>
                  </a:spcBef>
                  <a:spcAft>
                    <a:spcPct val="0"/>
                  </a:spcAft>
                </a:pPr>
                <a:r>
                  <a:rPr lang="tr-TR" sz="1560" b="1" dirty="0">
                    <a:solidFill>
                      <a:srgbClr val="3366FF"/>
                    </a:solidFill>
                    <a:latin typeface="Calibri" pitchFamily="34" charset="0"/>
                    <a:ea typeface="ヒラギノ角ゴ Pro W3" pitchFamily="1" charset="-128"/>
                  </a:rPr>
                  <a:t>KOBİGEL - KOBİ GELİŞİM DESTEK PROGRAMI |</a:t>
                </a:r>
              </a:p>
            </p:txBody>
          </p:sp>
          <p:sp>
            <p:nvSpPr>
              <p:cNvPr id="22" name="3 Metin kutusu"/>
              <p:cNvSpPr txBox="1"/>
              <p:nvPr/>
            </p:nvSpPr>
            <p:spPr>
              <a:xfrm>
                <a:off x="4476337" y="31924"/>
                <a:ext cx="3816424" cy="331168"/>
              </a:xfrm>
              <a:prstGeom prst="rect">
                <a:avLst/>
              </a:prstGeom>
              <a:noFill/>
            </p:spPr>
            <p:txBody>
              <a:bodyPr wrap="square" rtlCol="0">
                <a:spAutoFit/>
              </a:bodyPr>
              <a:lstStyle/>
              <a:p>
                <a:pPr defTabSz="1097280" fontAlgn="base">
                  <a:spcBef>
                    <a:spcPct val="0"/>
                  </a:spcBef>
                  <a:spcAft>
                    <a:spcPct val="0"/>
                  </a:spcAft>
                </a:pPr>
                <a:r>
                  <a:rPr lang="tr-TR" sz="1560" b="1" dirty="0">
                    <a:solidFill>
                      <a:srgbClr val="FF0000"/>
                    </a:solidFill>
                    <a:latin typeface="Calibri" pitchFamily="34" charset="0"/>
                    <a:ea typeface="ヒラギノ角ゴ Pro W3" pitchFamily="1" charset="-128"/>
                  </a:rPr>
                  <a:t>Özet</a:t>
                </a:r>
              </a:p>
            </p:txBody>
          </p:sp>
        </p:grpSp>
      </p:grpSp>
    </p:spTree>
    <p:extLst>
      <p:ext uri="{BB962C8B-B14F-4D97-AF65-F5344CB8AC3E}">
        <p14:creationId xmlns:p14="http://schemas.microsoft.com/office/powerpoint/2010/main" val="2855132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o 1"/>
          <p:cNvGraphicFramePr>
            <a:graphicFrameLocks noGrp="1"/>
          </p:cNvGraphicFramePr>
          <p:nvPr>
            <p:extLst/>
          </p:nvPr>
        </p:nvGraphicFramePr>
        <p:xfrm>
          <a:off x="911424" y="662947"/>
          <a:ext cx="10369155" cy="1901956"/>
        </p:xfrm>
        <a:graphic>
          <a:graphicData uri="http://schemas.openxmlformats.org/drawingml/2006/table">
            <a:tbl>
              <a:tblPr firstRow="1" bandRow="1">
                <a:tableStyleId>{22838BEF-8BB2-4498-84A7-C5851F593DF1}</a:tableStyleId>
              </a:tblPr>
              <a:tblGrid>
                <a:gridCol w="3974842">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3802025">
                  <a:extLst>
                    <a:ext uri="{9D8B030D-6E8A-4147-A177-3AD203B41FA5}">
                      <a16:colId xmlns:a16="http://schemas.microsoft.com/office/drawing/2014/main" val="20002"/>
                    </a:ext>
                  </a:extLst>
                </a:gridCol>
              </a:tblGrid>
              <a:tr h="713234">
                <a:tc>
                  <a:txBody>
                    <a:bodyPr/>
                    <a:lstStyle/>
                    <a:p>
                      <a:pPr marL="0" algn="l" defTabSz="914400" rtl="0" eaLnBrk="1" latinLnBrk="0" hangingPunct="1"/>
                      <a:r>
                        <a:rPr lang="tr-TR" sz="2000" b="1" kern="1200" dirty="0" smtClean="0">
                          <a:solidFill>
                            <a:schemeClr val="dk1"/>
                          </a:solidFill>
                          <a:latin typeface="+mn-lt"/>
                          <a:ea typeface="+mn-ea"/>
                          <a:cs typeface="+mn-cs"/>
                        </a:rPr>
                        <a:t>Destek türü</a:t>
                      </a:r>
                      <a:endParaRPr lang="tr-TR" sz="2000" b="1" kern="1200" dirty="0">
                        <a:solidFill>
                          <a:schemeClr val="dk1"/>
                        </a:solidFill>
                        <a:latin typeface="+mn-lt"/>
                        <a:ea typeface="+mn-ea"/>
                        <a:cs typeface="+mn-cs"/>
                      </a:endParaRPr>
                    </a:p>
                  </a:txBody>
                  <a:tcPr marL="109728" marR="109728" marT="45721" marB="45721" anchor="ctr">
                    <a:solidFill>
                      <a:schemeClr val="accent1">
                        <a:lumMod val="60000"/>
                        <a:lumOff val="40000"/>
                      </a:schemeClr>
                    </a:solidFill>
                  </a:tcPr>
                </a:tc>
                <a:tc>
                  <a:txBody>
                    <a:bodyPr/>
                    <a:lstStyle/>
                    <a:p>
                      <a:pPr algn="ctr"/>
                      <a:r>
                        <a:rPr lang="tr-TR" sz="2000" b="1" dirty="0" smtClean="0"/>
                        <a:t>Destek Üst Limiti (TL)</a:t>
                      </a:r>
                    </a:p>
                  </a:txBody>
                  <a:tcPr marL="109728" marR="109728" marT="45721" marB="45721"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2000" b="1" dirty="0" smtClean="0"/>
                        <a:t>Destek Oranı </a:t>
                      </a:r>
                    </a:p>
                    <a:p>
                      <a:pPr marL="0" marR="0" indent="0" algn="ctr" defTabSz="914400" rtl="0" eaLnBrk="1" fontAlgn="auto" latinLnBrk="0" hangingPunct="1">
                        <a:lnSpc>
                          <a:spcPct val="100000"/>
                        </a:lnSpc>
                        <a:spcBef>
                          <a:spcPts val="0"/>
                        </a:spcBef>
                        <a:spcAft>
                          <a:spcPts val="0"/>
                        </a:spcAft>
                        <a:buClrTx/>
                        <a:buSzTx/>
                        <a:buFontTx/>
                        <a:buNone/>
                        <a:tabLst/>
                        <a:defRPr/>
                      </a:pPr>
                      <a:r>
                        <a:rPr lang="tr-TR" sz="2000" b="1" dirty="0" smtClean="0"/>
                        <a:t>(%)</a:t>
                      </a:r>
                    </a:p>
                  </a:txBody>
                  <a:tcPr marL="109728" marR="109728" marT="45721" marB="45721" anchor="ctr">
                    <a:solidFill>
                      <a:schemeClr val="accent1">
                        <a:lumMod val="60000"/>
                        <a:lumOff val="40000"/>
                      </a:schemeClr>
                    </a:solidFill>
                  </a:tcPr>
                </a:tc>
                <a:extLst>
                  <a:ext uri="{0D108BD9-81ED-4DB2-BD59-A6C34878D82A}">
                    <a16:rowId xmlns:a16="http://schemas.microsoft.com/office/drawing/2014/main" val="10000"/>
                  </a:ext>
                </a:extLst>
              </a:tr>
              <a:tr h="402338">
                <a:tc>
                  <a:txBody>
                    <a:bodyPr/>
                    <a:lstStyle/>
                    <a:p>
                      <a:pPr algn="l"/>
                      <a:r>
                        <a:rPr lang="tr-TR" sz="2000" dirty="0" smtClean="0"/>
                        <a:t>Geri ödemesiz (hibe) destek</a:t>
                      </a:r>
                      <a:endParaRPr lang="tr-TR" sz="2000" dirty="0"/>
                    </a:p>
                  </a:txBody>
                  <a:tcPr marL="109728" marR="109728" marT="45721" marB="45721" anchor="ctr">
                    <a:solidFill>
                      <a:schemeClr val="bg1"/>
                    </a:solidFill>
                  </a:tcPr>
                </a:tc>
                <a:tc>
                  <a:txBody>
                    <a:bodyPr/>
                    <a:lstStyle/>
                    <a:p>
                      <a:pPr algn="ctr"/>
                      <a:r>
                        <a:rPr lang="tr-TR" sz="2000" dirty="0" smtClean="0"/>
                        <a:t>300.000</a:t>
                      </a:r>
                      <a:endParaRPr lang="tr-TR" sz="2000" dirty="0"/>
                    </a:p>
                  </a:txBody>
                  <a:tcPr marL="109728" marR="109728" marT="45721" marB="45721" anchor="ctr">
                    <a:solidFill>
                      <a:schemeClr val="bg1"/>
                    </a:solidFill>
                  </a:tcPr>
                </a:tc>
                <a:tc rowSpan="2">
                  <a:txBody>
                    <a:bodyPr/>
                    <a:lstStyle/>
                    <a:p>
                      <a:pPr algn="l"/>
                      <a:r>
                        <a:rPr lang="tr-TR" sz="1600" kern="1200" baseline="0" dirty="0" smtClean="0">
                          <a:solidFill>
                            <a:schemeClr val="dk1"/>
                          </a:solidFill>
                          <a:latin typeface="+mn-lt"/>
                          <a:ea typeface="+mn-ea"/>
                          <a:cs typeface="+mn-cs"/>
                        </a:rPr>
                        <a:t>Personel dışındaki giderler      :  </a:t>
                      </a:r>
                      <a:r>
                        <a:rPr lang="tr-TR" sz="2000" b="1" dirty="0" smtClean="0"/>
                        <a:t>60</a:t>
                      </a:r>
                      <a:r>
                        <a:rPr lang="tr-TR" sz="2000" dirty="0" smtClean="0"/>
                        <a:t> </a:t>
                      </a:r>
                    </a:p>
                    <a:p>
                      <a:pPr algn="l"/>
                      <a:r>
                        <a:rPr lang="tr-TR" sz="1600" i="1" kern="1200" baseline="0" dirty="0" smtClean="0">
                          <a:solidFill>
                            <a:schemeClr val="dk1"/>
                          </a:solidFill>
                          <a:latin typeface="+mn-lt"/>
                          <a:ea typeface="+mn-ea"/>
                          <a:cs typeface="+mn-cs"/>
                        </a:rPr>
                        <a:t>(Desteğin %70’i geri ödemeli, </a:t>
                      </a:r>
                    </a:p>
                    <a:p>
                      <a:pPr algn="l"/>
                      <a:r>
                        <a:rPr lang="tr-TR" sz="1600" i="1" kern="1200" baseline="0" dirty="0" smtClean="0">
                          <a:solidFill>
                            <a:schemeClr val="dk1"/>
                          </a:solidFill>
                          <a:latin typeface="+mn-lt"/>
                          <a:ea typeface="+mn-ea"/>
                          <a:cs typeface="+mn-cs"/>
                        </a:rPr>
                        <a:t>%30’u hibe olarak ödenir)</a:t>
                      </a:r>
                    </a:p>
                    <a:p>
                      <a:pPr algn="l"/>
                      <a:r>
                        <a:rPr lang="tr-TR" sz="1600" kern="1200" baseline="0" dirty="0" smtClean="0">
                          <a:solidFill>
                            <a:schemeClr val="dk1"/>
                          </a:solidFill>
                          <a:latin typeface="+mn-lt"/>
                          <a:ea typeface="+mn-ea"/>
                          <a:cs typeface="+mn-cs"/>
                        </a:rPr>
                        <a:t>Personel gideri                           :  </a:t>
                      </a:r>
                      <a:r>
                        <a:rPr lang="tr-TR" sz="2000" b="1" kern="1200" dirty="0" smtClean="0">
                          <a:solidFill>
                            <a:schemeClr val="dk1"/>
                          </a:solidFill>
                          <a:latin typeface="+mn-lt"/>
                          <a:ea typeface="+mn-ea"/>
                          <a:cs typeface="+mn-cs"/>
                        </a:rPr>
                        <a:t>100</a:t>
                      </a:r>
                      <a:r>
                        <a:rPr lang="tr-TR" sz="2000" kern="1200" dirty="0" smtClean="0">
                          <a:solidFill>
                            <a:schemeClr val="dk1"/>
                          </a:solidFill>
                          <a:latin typeface="+mn-lt"/>
                          <a:ea typeface="+mn-ea"/>
                          <a:cs typeface="+mn-cs"/>
                        </a:rPr>
                        <a:t> </a:t>
                      </a:r>
                    </a:p>
                  </a:txBody>
                  <a:tcPr marL="109728" marR="109728" marT="45721" marB="45721" anchor="ctr">
                    <a:solidFill>
                      <a:schemeClr val="bg1"/>
                    </a:solidFill>
                  </a:tcPr>
                </a:tc>
                <a:extLst>
                  <a:ext uri="{0D108BD9-81ED-4DB2-BD59-A6C34878D82A}">
                    <a16:rowId xmlns:a16="http://schemas.microsoft.com/office/drawing/2014/main" val="10001"/>
                  </a:ext>
                </a:extLst>
              </a:tr>
              <a:tr h="786384">
                <a:tc>
                  <a:txBody>
                    <a:bodyPr/>
                    <a:lstStyle/>
                    <a:p>
                      <a:pPr algn="l"/>
                      <a:r>
                        <a:rPr lang="tr-TR" sz="2000" dirty="0" smtClean="0"/>
                        <a:t>Geri ödemeli destek</a:t>
                      </a:r>
                      <a:endParaRPr lang="tr-TR" sz="2000" dirty="0"/>
                    </a:p>
                  </a:txBody>
                  <a:tcPr marL="109728" marR="109728" marT="45721" marB="45721" anchor="ctr">
                    <a:solidFill>
                      <a:schemeClr val="bg1"/>
                    </a:solidFill>
                  </a:tcPr>
                </a:tc>
                <a:tc>
                  <a:txBody>
                    <a:bodyPr/>
                    <a:lstStyle/>
                    <a:p>
                      <a:pPr algn="ctr"/>
                      <a:r>
                        <a:rPr lang="tr-TR" sz="2000" dirty="0" smtClean="0"/>
                        <a:t>700.000</a:t>
                      </a:r>
                      <a:endParaRPr lang="tr-TR" sz="2000" dirty="0"/>
                    </a:p>
                  </a:txBody>
                  <a:tcPr marL="109728" marR="109728" marT="45721" marB="45721" anchor="ctr">
                    <a:solidFill>
                      <a:schemeClr val="bg1"/>
                    </a:solidFill>
                  </a:tcPr>
                </a:tc>
                <a:tc vMerge="1">
                  <a:txBody>
                    <a:bodyPr/>
                    <a:lstStyle/>
                    <a:p>
                      <a:pPr algn="ctr"/>
                      <a:endParaRPr lang="tr-TR" sz="1800" dirty="0"/>
                    </a:p>
                  </a:txBody>
                  <a:tcPr marT="38101" marB="38101" anchor="ctr">
                    <a:solidFill>
                      <a:schemeClr val="bg1"/>
                    </a:solidFill>
                  </a:tcPr>
                </a:tc>
                <a:extLst>
                  <a:ext uri="{0D108BD9-81ED-4DB2-BD59-A6C34878D82A}">
                    <a16:rowId xmlns:a16="http://schemas.microsoft.com/office/drawing/2014/main" val="10002"/>
                  </a:ext>
                </a:extLst>
              </a:tr>
            </a:tbl>
          </a:graphicData>
        </a:graphic>
      </p:graphicFrame>
      <p:graphicFrame>
        <p:nvGraphicFramePr>
          <p:cNvPr id="3" name="Tablo 2"/>
          <p:cNvGraphicFramePr>
            <a:graphicFrameLocks noGrp="1"/>
          </p:cNvGraphicFramePr>
          <p:nvPr>
            <p:extLst/>
          </p:nvPr>
        </p:nvGraphicFramePr>
        <p:xfrm>
          <a:off x="911424" y="2911963"/>
          <a:ext cx="10369152" cy="3700284"/>
        </p:xfrm>
        <a:graphic>
          <a:graphicData uri="http://schemas.openxmlformats.org/drawingml/2006/table">
            <a:tbl>
              <a:tblPr firstRow="1" bandRow="1">
                <a:tableStyleId>{22838BEF-8BB2-4498-84A7-C5851F593DF1}</a:tableStyleId>
              </a:tblPr>
              <a:tblGrid>
                <a:gridCol w="3974842">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3802022">
                  <a:extLst>
                    <a:ext uri="{9D8B030D-6E8A-4147-A177-3AD203B41FA5}">
                      <a16:colId xmlns:a16="http://schemas.microsoft.com/office/drawing/2014/main" val="20002"/>
                    </a:ext>
                  </a:extLst>
                </a:gridCol>
              </a:tblGrid>
              <a:tr h="1024130">
                <a:tc>
                  <a:txBody>
                    <a:bodyPr/>
                    <a:lstStyle/>
                    <a:p>
                      <a:pPr algn="l"/>
                      <a:r>
                        <a:rPr lang="tr-TR" sz="2000" b="1" dirty="0" smtClean="0"/>
                        <a:t>Destek Kalemleri</a:t>
                      </a:r>
                    </a:p>
                    <a:p>
                      <a:pPr algn="l"/>
                      <a:r>
                        <a:rPr lang="tr-TR" sz="2000" b="0" dirty="0" smtClean="0"/>
                        <a:t>(</a:t>
                      </a:r>
                      <a:r>
                        <a:rPr lang="tr-TR" sz="2000" b="0" dirty="0" smtClean="0">
                          <a:solidFill>
                            <a:schemeClr val="tx1"/>
                          </a:solidFill>
                        </a:rPr>
                        <a:t>Proje Teklif Çağrılarında belirlenir</a:t>
                      </a:r>
                      <a:r>
                        <a:rPr lang="tr-TR" sz="2000" b="0" dirty="0" smtClean="0"/>
                        <a:t>) </a:t>
                      </a:r>
                      <a:endParaRPr lang="tr-TR" sz="2000" b="0" dirty="0"/>
                    </a:p>
                  </a:txBody>
                  <a:tcPr marL="109728" marR="109728" marT="45721" marB="45721" anchor="ctr">
                    <a:solidFill>
                      <a:schemeClr val="accent1">
                        <a:lumMod val="60000"/>
                        <a:lumOff val="40000"/>
                      </a:schemeClr>
                    </a:solidFill>
                  </a:tcPr>
                </a:tc>
                <a:tc>
                  <a:txBody>
                    <a:bodyPr/>
                    <a:lstStyle/>
                    <a:p>
                      <a:pPr algn="ctr"/>
                      <a:r>
                        <a:rPr lang="tr-TR" sz="2000" b="1" dirty="0" smtClean="0"/>
                        <a:t>Destek Üst Limiti</a:t>
                      </a:r>
                      <a:endParaRPr lang="tr-TR" sz="2000" b="1" dirty="0"/>
                    </a:p>
                  </a:txBody>
                  <a:tcPr marL="109728" marR="109728" marT="45721" marB="45721" anchor="ctr">
                    <a:solidFill>
                      <a:schemeClr val="accent1">
                        <a:lumMod val="60000"/>
                        <a:lumOff val="40000"/>
                      </a:schemeClr>
                    </a:solidFill>
                  </a:tcPr>
                </a:tc>
                <a:tc>
                  <a:txBody>
                    <a:bodyPr/>
                    <a:lstStyle/>
                    <a:p>
                      <a:pPr algn="ctr"/>
                      <a:r>
                        <a:rPr lang="tr-TR" sz="2000" b="1" dirty="0" smtClean="0"/>
                        <a:t>Destek Türü</a:t>
                      </a:r>
                      <a:endParaRPr lang="tr-TR" sz="2000" b="1" dirty="0"/>
                    </a:p>
                  </a:txBody>
                  <a:tcPr marL="109728" marR="109728" marT="45721" marB="45721" anchor="ctr">
                    <a:solidFill>
                      <a:schemeClr val="accent1">
                        <a:lumMod val="60000"/>
                        <a:lumOff val="40000"/>
                      </a:schemeClr>
                    </a:solidFill>
                  </a:tcPr>
                </a:tc>
                <a:extLst>
                  <a:ext uri="{0D108BD9-81ED-4DB2-BD59-A6C34878D82A}">
                    <a16:rowId xmlns:a16="http://schemas.microsoft.com/office/drawing/2014/main" val="10000"/>
                  </a:ext>
                </a:extLst>
              </a:tr>
              <a:tr h="1042418">
                <a:tc gridSpan="3">
                  <a:txBody>
                    <a:bodyPr/>
                    <a:lstStyle/>
                    <a:p>
                      <a:r>
                        <a:rPr lang="tr-TR" sz="1600" dirty="0" smtClean="0"/>
                        <a:t>2020 Proje Teklif Çağrısı destek kalemleri </a:t>
                      </a:r>
                    </a:p>
                    <a:p>
                      <a:pPr marL="441325" indent="0"/>
                      <a:r>
                        <a:rPr lang="tr-TR" sz="1600" dirty="0" smtClean="0"/>
                        <a:t>Çağrı 01: Sanayiye</a:t>
                      </a:r>
                      <a:r>
                        <a:rPr lang="tr-TR" sz="1600" baseline="0" dirty="0" smtClean="0"/>
                        <a:t> yönelik akıllı dijital teknoloji geliştiricilerinin desteklenmesi</a:t>
                      </a:r>
                    </a:p>
                    <a:p>
                      <a:pPr marL="441325" indent="0"/>
                      <a:r>
                        <a:rPr lang="tr-TR" sz="1600" baseline="0" dirty="0" smtClean="0"/>
                        <a:t>Çağrı 02: Akıllı dijital teknolojileri , imalat ve ilişkili iş süreçlerine  uyarlayacak sanayi sektörü KOBİ’lerinin  desteklenmesi</a:t>
                      </a:r>
                      <a:endParaRPr lang="tr-TR" sz="1600" dirty="0"/>
                    </a:p>
                  </a:txBody>
                  <a:tcPr marL="109728" marR="109728" marT="45721" marB="45721" anchor="ctr"/>
                </a:tc>
                <a:tc hMerge="1">
                  <a:txBody>
                    <a:bodyPr/>
                    <a:lstStyle/>
                    <a:p>
                      <a:endParaRPr lang="tr-TR" dirty="0"/>
                    </a:p>
                  </a:txBody>
                  <a:tcPr marT="38101" marB="38101" anchor="ctr"/>
                </a:tc>
                <a:tc hMerge="1">
                  <a:txBody>
                    <a:bodyPr/>
                    <a:lstStyle/>
                    <a:p>
                      <a:endParaRPr lang="tr-TR"/>
                    </a:p>
                  </a:txBody>
                  <a:tcPr/>
                </a:tc>
                <a:extLst>
                  <a:ext uri="{0D108BD9-81ED-4DB2-BD59-A6C34878D82A}">
                    <a16:rowId xmlns:a16="http://schemas.microsoft.com/office/drawing/2014/main" val="10001"/>
                  </a:ext>
                </a:extLst>
              </a:tr>
              <a:tr h="402338">
                <a:tc>
                  <a:txBody>
                    <a:bodyPr/>
                    <a:lstStyle/>
                    <a:p>
                      <a:r>
                        <a:rPr lang="tr-TR" sz="2000" kern="1200" dirty="0" smtClean="0">
                          <a:solidFill>
                            <a:schemeClr val="dk1"/>
                          </a:solidFill>
                          <a:latin typeface="+mn-lt"/>
                          <a:ea typeface="+mn-ea"/>
                          <a:cs typeface="+mn-cs"/>
                        </a:rPr>
                        <a:t>Makine – teçhizat </a:t>
                      </a:r>
                    </a:p>
                  </a:txBody>
                  <a:tcPr marL="109728" marR="109728" marT="45721" marB="45721" anchor="ctr"/>
                </a:tc>
                <a:tc>
                  <a:txBody>
                    <a:bodyPr/>
                    <a:lstStyle/>
                    <a:p>
                      <a:pPr algn="ctr"/>
                      <a:r>
                        <a:rPr lang="tr-TR" sz="2000" kern="1200" dirty="0" smtClean="0">
                          <a:solidFill>
                            <a:schemeClr val="dk1"/>
                          </a:solidFill>
                          <a:latin typeface="+mn-lt"/>
                          <a:ea typeface="+mn-ea"/>
                          <a:cs typeface="+mn-cs"/>
                        </a:rPr>
                        <a:t>850.000 TL</a:t>
                      </a:r>
                    </a:p>
                  </a:txBody>
                  <a:tcPr marL="109728" marR="109728" marT="45721" marB="45721" anchor="ctr"/>
                </a:tc>
                <a:tc>
                  <a:txBody>
                    <a:bodyPr/>
                    <a:lstStyle/>
                    <a:p>
                      <a:pPr marL="0" marR="0" indent="0" algn="l" defTabSz="914292" rtl="0" eaLnBrk="1" fontAlgn="auto" latinLnBrk="0" hangingPunct="1">
                        <a:lnSpc>
                          <a:spcPct val="100000"/>
                        </a:lnSpc>
                        <a:spcBef>
                          <a:spcPts val="0"/>
                        </a:spcBef>
                        <a:spcAft>
                          <a:spcPts val="0"/>
                        </a:spcAft>
                        <a:buClrTx/>
                        <a:buSzTx/>
                        <a:buFontTx/>
                        <a:buNone/>
                        <a:tabLst/>
                        <a:defRPr/>
                      </a:pPr>
                      <a:r>
                        <a:rPr lang="tr-TR" sz="1600" dirty="0" smtClean="0"/>
                        <a:t>Geri ödemeli ve geri ödemesiz</a:t>
                      </a:r>
                    </a:p>
                  </a:txBody>
                  <a:tcPr marL="109728" marR="109728" marT="45721" marB="45721" anchor="ctr"/>
                </a:tc>
                <a:extLst>
                  <a:ext uri="{0D108BD9-81ED-4DB2-BD59-A6C34878D82A}">
                    <a16:rowId xmlns:a16="http://schemas.microsoft.com/office/drawing/2014/main" val="10002"/>
                  </a:ext>
                </a:extLst>
              </a:tr>
              <a:tr h="402338">
                <a:tc>
                  <a:txBody>
                    <a:bodyPr/>
                    <a:lstStyle/>
                    <a:p>
                      <a:r>
                        <a:rPr lang="tr-TR" sz="2000" kern="1200" dirty="0" smtClean="0">
                          <a:solidFill>
                            <a:schemeClr val="dk1"/>
                          </a:solidFill>
                          <a:latin typeface="+mn-lt"/>
                          <a:ea typeface="+mn-ea"/>
                          <a:cs typeface="+mn-cs"/>
                        </a:rPr>
                        <a:t>Personel</a:t>
                      </a:r>
                      <a:endParaRPr lang="tr-TR" sz="2000" kern="1200" dirty="0">
                        <a:solidFill>
                          <a:schemeClr val="dk1"/>
                        </a:solidFill>
                        <a:latin typeface="+mn-lt"/>
                        <a:ea typeface="+mn-ea"/>
                        <a:cs typeface="+mn-cs"/>
                      </a:endParaRPr>
                    </a:p>
                  </a:txBody>
                  <a:tcPr marL="109728" marR="109728" marT="45721" marB="45721" anchor="ctr"/>
                </a:tc>
                <a:tc>
                  <a:txBody>
                    <a:bodyPr/>
                    <a:lstStyle/>
                    <a:p>
                      <a:pPr algn="ctr"/>
                      <a:r>
                        <a:rPr lang="tr-TR" sz="2000" kern="1200" dirty="0" smtClean="0">
                          <a:solidFill>
                            <a:schemeClr val="dk1"/>
                          </a:solidFill>
                          <a:latin typeface="+mn-lt"/>
                          <a:ea typeface="+mn-ea"/>
                          <a:cs typeface="+mn-cs"/>
                        </a:rPr>
                        <a:t>90.000 TL</a:t>
                      </a:r>
                      <a:endParaRPr lang="tr-TR" sz="2000" kern="1200" dirty="0">
                        <a:solidFill>
                          <a:schemeClr val="dk1"/>
                        </a:solidFill>
                        <a:latin typeface="+mn-lt"/>
                        <a:ea typeface="+mn-ea"/>
                        <a:cs typeface="+mn-cs"/>
                      </a:endParaRPr>
                    </a:p>
                  </a:txBody>
                  <a:tcPr marL="109728" marR="109728" marT="45721" marB="45721" anchor="ctr"/>
                </a:tc>
                <a:tc>
                  <a:txBody>
                    <a:bodyPr/>
                    <a:lstStyle/>
                    <a:p>
                      <a:pPr marL="0" marR="0" indent="0" algn="l" defTabSz="914292" rtl="0" eaLnBrk="1" fontAlgn="auto" latinLnBrk="0" hangingPunct="1">
                        <a:lnSpc>
                          <a:spcPct val="100000"/>
                        </a:lnSpc>
                        <a:spcBef>
                          <a:spcPts val="0"/>
                        </a:spcBef>
                        <a:spcAft>
                          <a:spcPts val="0"/>
                        </a:spcAft>
                        <a:buClrTx/>
                        <a:buSzTx/>
                        <a:buFontTx/>
                        <a:buNone/>
                        <a:tabLst/>
                        <a:defRPr/>
                      </a:pPr>
                      <a:r>
                        <a:rPr lang="tr-TR" sz="1600" dirty="0" smtClean="0"/>
                        <a:t>Geri ödemesiz</a:t>
                      </a:r>
                      <a:endParaRPr lang="tr-TR" sz="1600" dirty="0"/>
                    </a:p>
                  </a:txBody>
                  <a:tcPr marL="109728" marR="109728" marT="45721" marB="45721" anchor="ctr"/>
                </a:tc>
                <a:extLst>
                  <a:ext uri="{0D108BD9-81ED-4DB2-BD59-A6C34878D82A}">
                    <a16:rowId xmlns:a16="http://schemas.microsoft.com/office/drawing/2014/main" val="10003"/>
                  </a:ext>
                </a:extLst>
              </a:tr>
              <a:tr h="402338">
                <a:tc>
                  <a:txBody>
                    <a:bodyPr/>
                    <a:lstStyle/>
                    <a:p>
                      <a:r>
                        <a:rPr lang="tr-TR" sz="2000" kern="1200" dirty="0" smtClean="0">
                          <a:solidFill>
                            <a:schemeClr val="dk1"/>
                          </a:solidFill>
                          <a:latin typeface="+mn-lt"/>
                          <a:ea typeface="+mn-ea"/>
                          <a:cs typeface="+mn-cs"/>
                        </a:rPr>
                        <a:t>Yazılım</a:t>
                      </a:r>
                      <a:endParaRPr lang="tr-TR" sz="2000" kern="1200" dirty="0">
                        <a:solidFill>
                          <a:schemeClr val="dk1"/>
                        </a:solidFill>
                        <a:latin typeface="+mn-lt"/>
                        <a:ea typeface="+mn-ea"/>
                        <a:cs typeface="+mn-cs"/>
                      </a:endParaRPr>
                    </a:p>
                  </a:txBody>
                  <a:tcPr marL="109728" marR="109728" marT="45721" marB="45721" anchor="ctr"/>
                </a:tc>
                <a:tc>
                  <a:txBody>
                    <a:bodyPr/>
                    <a:lstStyle/>
                    <a:p>
                      <a:pPr marL="0" marR="0" indent="0" algn="ctr" defTabSz="914292" rtl="0" eaLnBrk="1" fontAlgn="auto" latinLnBrk="0" hangingPunct="1">
                        <a:lnSpc>
                          <a:spcPct val="100000"/>
                        </a:lnSpc>
                        <a:spcBef>
                          <a:spcPts val="0"/>
                        </a:spcBef>
                        <a:spcAft>
                          <a:spcPts val="0"/>
                        </a:spcAft>
                        <a:buClrTx/>
                        <a:buSzTx/>
                        <a:buFontTx/>
                        <a:buNone/>
                        <a:tabLst/>
                        <a:defRPr/>
                      </a:pPr>
                      <a:r>
                        <a:rPr lang="tr-TR" sz="2000" kern="1200" dirty="0" smtClean="0">
                          <a:solidFill>
                            <a:schemeClr val="dk1"/>
                          </a:solidFill>
                          <a:latin typeface="+mn-lt"/>
                          <a:ea typeface="+mn-ea"/>
                          <a:cs typeface="+mn-cs"/>
                        </a:rPr>
                        <a:t>100.000 TL</a:t>
                      </a:r>
                    </a:p>
                  </a:txBody>
                  <a:tcPr marL="109728" marR="109728" marT="45721" marB="45721" anchor="ctr"/>
                </a:tc>
                <a:tc>
                  <a:txBody>
                    <a:bodyPr/>
                    <a:lstStyle/>
                    <a:p>
                      <a:pPr marL="0" marR="0" indent="0" algn="l" defTabSz="914292" rtl="0" eaLnBrk="1" fontAlgn="auto" latinLnBrk="0" hangingPunct="1">
                        <a:lnSpc>
                          <a:spcPct val="100000"/>
                        </a:lnSpc>
                        <a:spcBef>
                          <a:spcPts val="0"/>
                        </a:spcBef>
                        <a:spcAft>
                          <a:spcPts val="0"/>
                        </a:spcAft>
                        <a:buClrTx/>
                        <a:buSzTx/>
                        <a:buFontTx/>
                        <a:buNone/>
                        <a:tabLst/>
                        <a:defRPr/>
                      </a:pPr>
                      <a:r>
                        <a:rPr lang="tr-TR" sz="1600" dirty="0" smtClean="0"/>
                        <a:t>Geri ödemeli ve geri ödemesiz</a:t>
                      </a:r>
                    </a:p>
                  </a:txBody>
                  <a:tcPr marL="109728" marR="109728" marT="45721" marB="45721" anchor="ctr"/>
                </a:tc>
                <a:extLst>
                  <a:ext uri="{0D108BD9-81ED-4DB2-BD59-A6C34878D82A}">
                    <a16:rowId xmlns:a16="http://schemas.microsoft.com/office/drawing/2014/main" val="10004"/>
                  </a:ext>
                </a:extLst>
              </a:tr>
              <a:tr h="402338">
                <a:tc>
                  <a:txBody>
                    <a:bodyPr/>
                    <a:lstStyle/>
                    <a:p>
                      <a:r>
                        <a:rPr lang="tr-TR" sz="2000" kern="1200" dirty="0" smtClean="0">
                          <a:solidFill>
                            <a:schemeClr val="dk1"/>
                          </a:solidFill>
                          <a:latin typeface="+mn-lt"/>
                          <a:ea typeface="+mn-ea"/>
                          <a:cs typeface="+mn-cs"/>
                        </a:rPr>
                        <a:t>Hizmet</a:t>
                      </a:r>
                    </a:p>
                  </a:txBody>
                  <a:tcPr marL="109728" marR="109728" marT="45721" marB="45721" anchor="ctr"/>
                </a:tc>
                <a:tc>
                  <a:txBody>
                    <a:bodyPr/>
                    <a:lstStyle/>
                    <a:p>
                      <a:pPr algn="ctr"/>
                      <a:r>
                        <a:rPr lang="tr-TR" sz="2000" kern="1200" dirty="0" smtClean="0">
                          <a:solidFill>
                            <a:schemeClr val="dk1"/>
                          </a:solidFill>
                          <a:latin typeface="+mn-lt"/>
                          <a:ea typeface="+mn-ea"/>
                          <a:cs typeface="+mn-cs"/>
                        </a:rPr>
                        <a:t>200.000 TL</a:t>
                      </a:r>
                    </a:p>
                  </a:txBody>
                  <a:tcPr marL="109728" marR="109728" marT="45721" marB="45721" anchor="ctr"/>
                </a:tc>
                <a:tc>
                  <a:txBody>
                    <a:bodyPr/>
                    <a:lstStyle/>
                    <a:p>
                      <a:pPr marL="0" marR="0" indent="0" algn="l" defTabSz="914292" rtl="0" eaLnBrk="1" fontAlgn="auto" latinLnBrk="0" hangingPunct="1">
                        <a:lnSpc>
                          <a:spcPct val="100000"/>
                        </a:lnSpc>
                        <a:spcBef>
                          <a:spcPts val="0"/>
                        </a:spcBef>
                        <a:spcAft>
                          <a:spcPts val="0"/>
                        </a:spcAft>
                        <a:buClrTx/>
                        <a:buSzTx/>
                        <a:buFontTx/>
                        <a:buNone/>
                        <a:tabLst/>
                        <a:defRPr/>
                      </a:pPr>
                      <a:r>
                        <a:rPr lang="tr-TR" sz="1600" dirty="0" smtClean="0"/>
                        <a:t>Geri ödemeli ve geri ödemesiz</a:t>
                      </a:r>
                    </a:p>
                  </a:txBody>
                  <a:tcPr marL="109728" marR="109728" marT="45721" marB="45721" anchor="ctr"/>
                </a:tc>
                <a:extLst>
                  <a:ext uri="{0D108BD9-81ED-4DB2-BD59-A6C34878D82A}">
                    <a16:rowId xmlns:a16="http://schemas.microsoft.com/office/drawing/2014/main" val="10005"/>
                  </a:ext>
                </a:extLst>
              </a:tr>
            </a:tbl>
          </a:graphicData>
        </a:graphic>
      </p:graphicFrame>
      <p:sp>
        <p:nvSpPr>
          <p:cNvPr id="5" name="Metin kutusu 4"/>
          <p:cNvSpPr txBox="1"/>
          <p:nvPr/>
        </p:nvSpPr>
        <p:spPr>
          <a:xfrm>
            <a:off x="738605" y="0"/>
            <a:ext cx="9595380" cy="530803"/>
          </a:xfrm>
          <a:prstGeom prst="rect">
            <a:avLst/>
          </a:prstGeom>
          <a:noFill/>
        </p:spPr>
        <p:txBody>
          <a:bodyPr wrap="square" lIns="105046" tIns="52523" rIns="105046" bIns="52523" rtlCol="0">
            <a:spAutoFit/>
          </a:bodyPr>
          <a:lstStyle/>
          <a:p>
            <a:r>
              <a:rPr lang="tr-TR" sz="2760" b="1" dirty="0">
                <a:solidFill>
                  <a:prstClr val="black"/>
                </a:solidFill>
              </a:rPr>
              <a:t>KOBİGEL - KOBİ GELİŞİM DESTEK PROGRAMI</a:t>
            </a:r>
            <a:endParaRPr lang="tr-TR" sz="1200" b="1" dirty="0">
              <a:solidFill>
                <a:prstClr val="black"/>
              </a:solidFill>
            </a:endParaRPr>
          </a:p>
        </p:txBody>
      </p:sp>
    </p:spTree>
    <p:extLst>
      <p:ext uri="{BB962C8B-B14F-4D97-AF65-F5344CB8AC3E}">
        <p14:creationId xmlns:p14="http://schemas.microsoft.com/office/powerpoint/2010/main" val="2097114563"/>
      </p:ext>
    </p:extLst>
  </p:cSld>
  <p:clrMapOvr>
    <a:masterClrMapping/>
  </p:clrMapOvr>
  <p:transition spd="slow">
    <p:push dir="u"/>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4000" r="-34000"/>
          </a:stretch>
        </a:blipFill>
        <a:effectLst/>
      </p:bgPr>
    </p:bg>
    <p:spTree>
      <p:nvGrpSpPr>
        <p:cNvPr id="1" name=""/>
        <p:cNvGrpSpPr/>
        <p:nvPr/>
      </p:nvGrpSpPr>
      <p:grpSpPr>
        <a:xfrm>
          <a:off x="0" y="0"/>
          <a:ext cx="0" cy="0"/>
          <a:chOff x="0" y="0"/>
          <a:chExt cx="0" cy="0"/>
        </a:xfrm>
      </p:grpSpPr>
      <p:sp>
        <p:nvSpPr>
          <p:cNvPr id="70" name="Akış Çizelgesi: Öteki İşlem 69"/>
          <p:cNvSpPr/>
          <p:nvPr/>
        </p:nvSpPr>
        <p:spPr>
          <a:xfrm>
            <a:off x="2214190" y="2746976"/>
            <a:ext cx="1980868" cy="1307518"/>
          </a:xfrm>
          <a:prstGeom prst="flowChartAlternateProcess">
            <a:avLst/>
          </a:prstGeom>
          <a:solidFill>
            <a:sysClr val="window" lastClr="FFFFFF"/>
          </a:solidFill>
          <a:ln w="25400" cap="flat" cmpd="sng" algn="ctr">
            <a:solidFill>
              <a:srgbClr val="002060"/>
            </a:solidFill>
            <a:prstDash val="solid"/>
          </a:ln>
          <a:effectLst/>
        </p:spPr>
        <p:txBody>
          <a:bodyPr lIns="109699" tIns="54850" rIns="109699" bIns="54850" rtlCol="0" anchor="ctr"/>
          <a:lstStyle/>
          <a:p>
            <a:pPr algn="ctr" defTabSz="1097280">
              <a:defRPr/>
            </a:pPr>
            <a:r>
              <a:rPr lang="tr-TR" sz="1440" b="1" kern="0" dirty="0">
                <a:solidFill>
                  <a:srgbClr val="002060"/>
                </a:solidFill>
                <a:latin typeface="Calibri"/>
                <a:ea typeface="ヒラギノ角ゴ Pro W3" pitchFamily="1" charset="-128"/>
              </a:rPr>
              <a:t>Başvurunun KOSGEB Kurulları tarafından değerlendirilmesi ve kararın bildirilmesi</a:t>
            </a:r>
          </a:p>
        </p:txBody>
      </p:sp>
      <p:sp>
        <p:nvSpPr>
          <p:cNvPr id="72" name="Akış Çizelgesi: Öteki İşlem 71"/>
          <p:cNvSpPr/>
          <p:nvPr/>
        </p:nvSpPr>
        <p:spPr>
          <a:xfrm>
            <a:off x="4453936" y="2934436"/>
            <a:ext cx="2678981" cy="939584"/>
          </a:xfrm>
          <a:prstGeom prst="flowChartAlternateProcess">
            <a:avLst/>
          </a:prstGeom>
          <a:solidFill>
            <a:schemeClr val="bg2">
              <a:lumMod val="25000"/>
            </a:schemeClr>
          </a:solidFill>
          <a:ln w="25400" cap="flat" cmpd="sng" algn="ctr">
            <a:noFill/>
            <a:prstDash val="solid"/>
          </a:ln>
          <a:effectLst/>
        </p:spPr>
        <p:txBody>
          <a:bodyPr lIns="109699" tIns="54850" rIns="109699" bIns="54850" rtlCol="0" anchor="ctr"/>
          <a:lstStyle/>
          <a:p>
            <a:pPr algn="ctr" defTabSz="1097280">
              <a:defRPr/>
            </a:pPr>
            <a:r>
              <a:rPr lang="tr-TR" sz="1440" b="1" kern="0" dirty="0">
                <a:solidFill>
                  <a:sysClr val="window" lastClr="FFFFFF"/>
                </a:solidFill>
                <a:latin typeface="Calibri"/>
                <a:ea typeface="ヒラギノ角ゴ Pro W3" pitchFamily="1" charset="-128"/>
              </a:rPr>
              <a:t>Destekleme kararı alınan projelerin başlatılması</a:t>
            </a:r>
          </a:p>
        </p:txBody>
      </p:sp>
      <p:sp>
        <p:nvSpPr>
          <p:cNvPr id="73" name="Akış Çizelgesi: Öteki İşlem 72"/>
          <p:cNvSpPr/>
          <p:nvPr/>
        </p:nvSpPr>
        <p:spPr>
          <a:xfrm>
            <a:off x="9001784" y="2934436"/>
            <a:ext cx="2419469" cy="939584"/>
          </a:xfrm>
          <a:prstGeom prst="flowChartAlternateProcess">
            <a:avLst/>
          </a:prstGeom>
          <a:solidFill>
            <a:schemeClr val="bg2">
              <a:lumMod val="25000"/>
            </a:schemeClr>
          </a:solidFill>
          <a:ln w="25400" cap="flat" cmpd="sng" algn="ctr">
            <a:noFill/>
            <a:prstDash val="solid"/>
          </a:ln>
          <a:effectLst/>
        </p:spPr>
        <p:txBody>
          <a:bodyPr lIns="109699" tIns="54850" rIns="109699" bIns="54850" rtlCol="0" anchor="ctr"/>
          <a:lstStyle/>
          <a:p>
            <a:pPr algn="ctr" defTabSz="1097280">
              <a:defRPr/>
            </a:pPr>
            <a:r>
              <a:rPr lang="tr-TR" sz="1440" b="1" kern="0" dirty="0">
                <a:solidFill>
                  <a:sysClr val="window" lastClr="FFFFFF"/>
                </a:solidFill>
                <a:latin typeface="Calibri"/>
                <a:ea typeface="ヒラギノ角ゴ Pro W3" pitchFamily="1" charset="-128"/>
              </a:rPr>
              <a:t>Proje faaliyetlerinin yürütülmesi</a:t>
            </a:r>
          </a:p>
        </p:txBody>
      </p:sp>
      <p:cxnSp>
        <p:nvCxnSpPr>
          <p:cNvPr id="74" name="Düz Ok Bağlayıcısı 73"/>
          <p:cNvCxnSpPr>
            <a:stCxn id="72" idx="3"/>
            <a:endCxn id="73" idx="1"/>
          </p:cNvCxnSpPr>
          <p:nvPr/>
        </p:nvCxnSpPr>
        <p:spPr>
          <a:xfrm>
            <a:off x="7132969" y="3404226"/>
            <a:ext cx="1868869" cy="0"/>
          </a:xfrm>
          <a:prstGeom prst="straightConnector1">
            <a:avLst/>
          </a:prstGeom>
          <a:noFill/>
          <a:ln w="25400" cap="flat" cmpd="sng" algn="ctr">
            <a:solidFill>
              <a:srgbClr val="52AADF"/>
            </a:solidFill>
            <a:prstDash val="solid"/>
            <a:headEnd type="oval" w="lg" len="lg"/>
            <a:tailEnd type="triangle" w="lg" len="lg"/>
          </a:ln>
          <a:effectLst/>
        </p:spPr>
      </p:cxnSp>
      <p:sp>
        <p:nvSpPr>
          <p:cNvPr id="75" name="Akış Çizelgesi: Öteki İşlem 74"/>
          <p:cNvSpPr/>
          <p:nvPr/>
        </p:nvSpPr>
        <p:spPr>
          <a:xfrm>
            <a:off x="4972675" y="4572595"/>
            <a:ext cx="1707298" cy="1653817"/>
          </a:xfrm>
          <a:prstGeom prst="flowChartAlternateProcess">
            <a:avLst/>
          </a:prstGeom>
          <a:solidFill>
            <a:srgbClr val="FF8021"/>
          </a:solidFill>
          <a:ln w="25400" cap="flat" cmpd="sng" algn="ctr">
            <a:noFill/>
            <a:prstDash val="solid"/>
          </a:ln>
          <a:effectLst/>
        </p:spPr>
        <p:txBody>
          <a:bodyPr lIns="109699" tIns="54850" rIns="109699" bIns="54850" rtlCol="0" anchor="ctr"/>
          <a:lstStyle/>
          <a:p>
            <a:pPr algn="ctr" defTabSz="1097280">
              <a:defRPr/>
            </a:pPr>
            <a:r>
              <a:rPr lang="tr-TR" sz="1440" b="1" kern="0" dirty="0">
                <a:solidFill>
                  <a:sysClr val="windowText" lastClr="000000"/>
                </a:solidFill>
                <a:latin typeface="Calibri"/>
                <a:ea typeface="ヒラギノ角ゴ Pro W3" pitchFamily="1" charset="-128"/>
              </a:rPr>
              <a:t>KOSGEB’in destek ödemesi yapması veya erken ödemeden mahsup etmesi</a:t>
            </a:r>
          </a:p>
        </p:txBody>
      </p:sp>
      <p:cxnSp>
        <p:nvCxnSpPr>
          <p:cNvPr id="76" name="Dirsek Bağlayıcısı 75"/>
          <p:cNvCxnSpPr>
            <a:stCxn id="73" idx="2"/>
            <a:endCxn id="82" idx="0"/>
          </p:cNvCxnSpPr>
          <p:nvPr/>
        </p:nvCxnSpPr>
        <p:spPr>
          <a:xfrm rot="5400000">
            <a:off x="5716190" y="39019"/>
            <a:ext cx="660329" cy="8330399"/>
          </a:xfrm>
          <a:prstGeom prst="bentConnector3">
            <a:avLst>
              <a:gd name="adj1" fmla="val 50000"/>
            </a:avLst>
          </a:prstGeom>
          <a:noFill/>
          <a:ln w="25400" cap="flat" cmpd="sng" algn="ctr">
            <a:solidFill>
              <a:srgbClr val="52AADF"/>
            </a:solidFill>
            <a:prstDash val="solid"/>
            <a:headEnd type="oval" w="lg" len="lg"/>
            <a:tailEnd type="triangle" w="lg" len="lg"/>
          </a:ln>
          <a:effectLst/>
        </p:spPr>
      </p:cxnSp>
      <p:sp>
        <p:nvSpPr>
          <p:cNvPr id="77" name="Akış Çizelgesi: Öteki İşlem 76"/>
          <p:cNvSpPr/>
          <p:nvPr/>
        </p:nvSpPr>
        <p:spPr>
          <a:xfrm>
            <a:off x="7001101" y="4572595"/>
            <a:ext cx="2000683" cy="1653817"/>
          </a:xfrm>
          <a:prstGeom prst="flowChartAlternateProcess">
            <a:avLst/>
          </a:prstGeom>
          <a:solidFill>
            <a:sysClr val="window" lastClr="FFFFFF"/>
          </a:solidFill>
          <a:ln w="25400" cap="flat" cmpd="sng" algn="ctr">
            <a:solidFill>
              <a:srgbClr val="002060"/>
            </a:solidFill>
            <a:prstDash val="solid"/>
          </a:ln>
          <a:effectLst/>
        </p:spPr>
        <p:txBody>
          <a:bodyPr lIns="109699" tIns="54850" rIns="109699" bIns="54850" rtlCol="0" anchor="ctr"/>
          <a:lstStyle/>
          <a:p>
            <a:pPr algn="ctr" defTabSz="1097280">
              <a:defRPr/>
            </a:pPr>
            <a:r>
              <a:rPr lang="tr-TR" sz="1440" b="1" kern="0" dirty="0">
                <a:solidFill>
                  <a:srgbClr val="002060"/>
                </a:solidFill>
                <a:latin typeface="Calibri"/>
                <a:ea typeface="ヒラギノ角ゴ Pro W3" pitchFamily="1" charset="-128"/>
              </a:rPr>
              <a:t>Proje sonucunun KOSGEB tarafından değerlendirilmesi</a:t>
            </a:r>
          </a:p>
        </p:txBody>
      </p:sp>
      <p:cxnSp>
        <p:nvCxnSpPr>
          <p:cNvPr id="78" name="Düz Ok Bağlayıcısı 77"/>
          <p:cNvCxnSpPr>
            <a:stCxn id="75" idx="3"/>
            <a:endCxn id="77" idx="1"/>
          </p:cNvCxnSpPr>
          <p:nvPr/>
        </p:nvCxnSpPr>
        <p:spPr>
          <a:xfrm>
            <a:off x="6680020" y="5399498"/>
            <a:ext cx="321128" cy="0"/>
          </a:xfrm>
          <a:prstGeom prst="straightConnector1">
            <a:avLst/>
          </a:prstGeom>
          <a:noFill/>
          <a:ln w="25400" cap="flat" cmpd="sng" algn="ctr">
            <a:solidFill>
              <a:srgbClr val="52AADF"/>
            </a:solidFill>
            <a:prstDash val="solid"/>
            <a:headEnd type="oval" w="lg" len="lg"/>
            <a:tailEnd type="triangle" w="lg" len="lg"/>
          </a:ln>
          <a:effectLst/>
        </p:spPr>
      </p:cxnSp>
      <p:sp>
        <p:nvSpPr>
          <p:cNvPr id="79" name="Akış Çizelgesi: Öteki İşlem 78"/>
          <p:cNvSpPr/>
          <p:nvPr/>
        </p:nvSpPr>
        <p:spPr>
          <a:xfrm>
            <a:off x="9377171" y="4372265"/>
            <a:ext cx="2076246" cy="1091436"/>
          </a:xfrm>
          <a:prstGeom prst="flowChartAlternateProcess">
            <a:avLst/>
          </a:prstGeom>
          <a:solidFill>
            <a:schemeClr val="bg2">
              <a:lumMod val="25000"/>
            </a:schemeClr>
          </a:solidFill>
          <a:ln w="25400" cap="flat" cmpd="sng" algn="ctr">
            <a:noFill/>
            <a:prstDash val="solid"/>
          </a:ln>
          <a:effectLst/>
        </p:spPr>
        <p:txBody>
          <a:bodyPr lIns="109699" tIns="54850" rIns="109699" bIns="54850" rtlCol="0" anchor="ctr"/>
          <a:lstStyle/>
          <a:p>
            <a:pPr algn="ctr" defTabSz="1097280">
              <a:defRPr/>
            </a:pPr>
            <a:r>
              <a:rPr lang="tr-TR" sz="1440" b="1" kern="0" dirty="0">
                <a:solidFill>
                  <a:sysClr val="window" lastClr="FFFFFF"/>
                </a:solidFill>
                <a:latin typeface="Calibri"/>
                <a:ea typeface="ヒラギノ角ゴ Pro W3" pitchFamily="1" charset="-128"/>
              </a:rPr>
              <a:t>Geri ödemeli desteklerin 4’er aylık dönemlerde 6 taksitte geri ödenmesi</a:t>
            </a:r>
          </a:p>
        </p:txBody>
      </p:sp>
      <p:cxnSp>
        <p:nvCxnSpPr>
          <p:cNvPr id="80" name="Düz Ok Bağlayıcısı 79"/>
          <p:cNvCxnSpPr>
            <a:endCxn id="79" idx="1"/>
          </p:cNvCxnSpPr>
          <p:nvPr/>
        </p:nvCxnSpPr>
        <p:spPr>
          <a:xfrm flipV="1">
            <a:off x="9001784" y="4917983"/>
            <a:ext cx="375365" cy="7464"/>
          </a:xfrm>
          <a:prstGeom prst="straightConnector1">
            <a:avLst/>
          </a:prstGeom>
          <a:noFill/>
          <a:ln w="25400" cap="flat" cmpd="sng" algn="ctr">
            <a:solidFill>
              <a:srgbClr val="52AADF"/>
            </a:solidFill>
            <a:prstDash val="solid"/>
            <a:headEnd type="oval" w="lg" len="lg"/>
            <a:tailEnd type="triangle" w="lg" len="lg"/>
          </a:ln>
          <a:effectLst/>
        </p:spPr>
      </p:cxnSp>
      <p:cxnSp>
        <p:nvCxnSpPr>
          <p:cNvPr id="81" name="Düz Ok Bağlayıcısı 80"/>
          <p:cNvCxnSpPr>
            <a:stCxn id="70" idx="3"/>
            <a:endCxn id="72" idx="1"/>
          </p:cNvCxnSpPr>
          <p:nvPr/>
        </p:nvCxnSpPr>
        <p:spPr>
          <a:xfrm>
            <a:off x="4194989" y="3400739"/>
            <a:ext cx="258946" cy="3491"/>
          </a:xfrm>
          <a:prstGeom prst="straightConnector1">
            <a:avLst/>
          </a:prstGeom>
          <a:noFill/>
          <a:ln w="25400" cap="flat" cmpd="sng" algn="ctr">
            <a:solidFill>
              <a:srgbClr val="52AADF"/>
            </a:solidFill>
            <a:prstDash val="solid"/>
            <a:headEnd type="oval" w="lg" len="lg"/>
            <a:tailEnd type="triangle" w="lg" len="lg"/>
          </a:ln>
          <a:effectLst/>
        </p:spPr>
      </p:cxnSp>
      <p:sp>
        <p:nvSpPr>
          <p:cNvPr id="82" name="Akış Çizelgesi: Öteki İşlem 81"/>
          <p:cNvSpPr/>
          <p:nvPr/>
        </p:nvSpPr>
        <p:spPr>
          <a:xfrm>
            <a:off x="960270" y="4534352"/>
            <a:ext cx="1841702" cy="1722376"/>
          </a:xfrm>
          <a:prstGeom prst="flowChartAlternateProcess">
            <a:avLst/>
          </a:prstGeom>
          <a:solidFill>
            <a:sysClr val="window" lastClr="FFFFFF"/>
          </a:solidFill>
          <a:ln w="25400" cap="flat" cmpd="sng" algn="ctr">
            <a:solidFill>
              <a:srgbClr val="002060"/>
            </a:solidFill>
            <a:prstDash val="solid"/>
          </a:ln>
          <a:effectLst/>
        </p:spPr>
        <p:txBody>
          <a:bodyPr lIns="109699" tIns="54850" rIns="109699" bIns="54850" rtlCol="0" anchor="ctr"/>
          <a:lstStyle/>
          <a:p>
            <a:pPr algn="ctr" defTabSz="1097280">
              <a:defRPr/>
            </a:pPr>
            <a:r>
              <a:rPr lang="tr-TR" sz="1440" b="1" kern="0" dirty="0">
                <a:solidFill>
                  <a:srgbClr val="002060"/>
                </a:solidFill>
                <a:latin typeface="Calibri"/>
                <a:ea typeface="ヒラギノ角ゴ Pro W3" pitchFamily="1" charset="-128"/>
              </a:rPr>
              <a:t>Proje faaliyetlerinin ve harcamaların  KOSGEB tarafından izlenmesi</a:t>
            </a:r>
          </a:p>
          <a:p>
            <a:pPr algn="ctr" defTabSz="1097280">
              <a:defRPr/>
            </a:pPr>
            <a:r>
              <a:rPr lang="tr-TR" sz="1440" b="1" kern="0" dirty="0">
                <a:solidFill>
                  <a:srgbClr val="002060"/>
                </a:solidFill>
                <a:latin typeface="Calibri"/>
                <a:ea typeface="ヒラギノ角ゴ Pro W3" pitchFamily="1" charset="-128"/>
              </a:rPr>
              <a:t>(4’er aylık periyotlar) </a:t>
            </a:r>
          </a:p>
        </p:txBody>
      </p:sp>
      <p:sp>
        <p:nvSpPr>
          <p:cNvPr id="83" name="Akış Çizelgesi: Öteki İşlem 82"/>
          <p:cNvSpPr/>
          <p:nvPr/>
        </p:nvSpPr>
        <p:spPr>
          <a:xfrm>
            <a:off x="6960096" y="1886223"/>
            <a:ext cx="2419469" cy="939584"/>
          </a:xfrm>
          <a:prstGeom prst="flowChartAlternateProcess">
            <a:avLst/>
          </a:prstGeom>
          <a:solidFill>
            <a:srgbClr val="FF8021"/>
          </a:solidFill>
          <a:ln w="25400" cap="flat" cmpd="sng" algn="ctr">
            <a:noFill/>
            <a:prstDash val="solid"/>
          </a:ln>
          <a:effectLst/>
        </p:spPr>
        <p:txBody>
          <a:bodyPr lIns="109699" tIns="54850" rIns="109699" bIns="54850" rtlCol="0" anchor="ctr"/>
          <a:lstStyle/>
          <a:p>
            <a:pPr algn="ctr" defTabSz="1097280">
              <a:defRPr/>
            </a:pPr>
            <a:r>
              <a:rPr lang="tr-TR" sz="1440" b="1" kern="0" dirty="0">
                <a:solidFill>
                  <a:sysClr val="windowText" lastClr="000000"/>
                </a:solidFill>
                <a:latin typeface="Calibri"/>
                <a:ea typeface="ヒラギノ角ゴ Pro W3" pitchFamily="1" charset="-128"/>
              </a:rPr>
              <a:t>Talep varsa  KOSGEB’in teminat karşılığında erken ödeme yapması</a:t>
            </a:r>
          </a:p>
        </p:txBody>
      </p:sp>
      <p:sp>
        <p:nvSpPr>
          <p:cNvPr id="85" name="Akış Çizelgesi: Öteki İşlem 84"/>
          <p:cNvSpPr/>
          <p:nvPr/>
        </p:nvSpPr>
        <p:spPr>
          <a:xfrm>
            <a:off x="3158092" y="4572592"/>
            <a:ext cx="1481300" cy="1653816"/>
          </a:xfrm>
          <a:prstGeom prst="flowChartAlternateProcess">
            <a:avLst/>
          </a:prstGeom>
          <a:solidFill>
            <a:schemeClr val="bg2">
              <a:lumMod val="25000"/>
            </a:schemeClr>
          </a:solidFill>
          <a:ln w="25400" cap="flat" cmpd="sng" algn="ctr">
            <a:noFill/>
            <a:prstDash val="solid"/>
          </a:ln>
          <a:effectLst/>
        </p:spPr>
        <p:txBody>
          <a:bodyPr lIns="109699" tIns="54850" rIns="109699" bIns="54850" rtlCol="0" anchor="ctr"/>
          <a:lstStyle/>
          <a:p>
            <a:pPr algn="ctr" defTabSz="1097280">
              <a:defRPr/>
            </a:pPr>
            <a:r>
              <a:rPr lang="tr-TR" sz="1440" b="1" kern="0" dirty="0">
                <a:solidFill>
                  <a:sysClr val="window" lastClr="FFFFFF"/>
                </a:solidFill>
                <a:latin typeface="Calibri"/>
                <a:ea typeface="ヒラギノ角ゴ Pro W3" pitchFamily="1" charset="-128"/>
              </a:rPr>
              <a:t>Ödeme talebi yapılması ve geri ödemeli destekler için teminat verilmesi</a:t>
            </a:r>
          </a:p>
        </p:txBody>
      </p:sp>
      <p:cxnSp>
        <p:nvCxnSpPr>
          <p:cNvPr id="86" name="Düz Ok Bağlayıcısı 85"/>
          <p:cNvCxnSpPr>
            <a:stCxn id="85" idx="3"/>
            <a:endCxn id="75" idx="1"/>
          </p:cNvCxnSpPr>
          <p:nvPr/>
        </p:nvCxnSpPr>
        <p:spPr>
          <a:xfrm flipV="1">
            <a:off x="4639389" y="5399534"/>
            <a:ext cx="333301" cy="1"/>
          </a:xfrm>
          <a:prstGeom prst="straightConnector1">
            <a:avLst/>
          </a:prstGeom>
          <a:noFill/>
          <a:ln w="25400" cap="flat" cmpd="sng" algn="ctr">
            <a:solidFill>
              <a:srgbClr val="52AADF"/>
            </a:solidFill>
            <a:prstDash val="solid"/>
            <a:headEnd type="oval" w="lg" len="lg"/>
            <a:tailEnd type="triangle" w="lg" len="lg"/>
          </a:ln>
          <a:effectLst/>
        </p:spPr>
      </p:cxnSp>
      <p:sp>
        <p:nvSpPr>
          <p:cNvPr id="87" name="Akış Çizelgesi: Öteki İşlem 86"/>
          <p:cNvSpPr/>
          <p:nvPr/>
        </p:nvSpPr>
        <p:spPr>
          <a:xfrm>
            <a:off x="9377149" y="5575932"/>
            <a:ext cx="2044104" cy="939584"/>
          </a:xfrm>
          <a:prstGeom prst="flowChartAlternateProcess">
            <a:avLst/>
          </a:prstGeom>
          <a:solidFill>
            <a:sysClr val="window" lastClr="FFFFFF"/>
          </a:solidFill>
          <a:ln w="25400" cap="flat" cmpd="sng" algn="ctr">
            <a:solidFill>
              <a:srgbClr val="002060"/>
            </a:solidFill>
            <a:prstDash val="solid"/>
          </a:ln>
          <a:effectLst/>
        </p:spPr>
        <p:txBody>
          <a:bodyPr lIns="109699" tIns="54850" rIns="109699" bIns="54850" rtlCol="0" anchor="ctr"/>
          <a:lstStyle/>
          <a:p>
            <a:pPr algn="ctr" defTabSz="1097280">
              <a:defRPr/>
            </a:pPr>
            <a:r>
              <a:rPr lang="tr-TR" sz="1440" b="1" kern="0" dirty="0">
                <a:solidFill>
                  <a:srgbClr val="002060"/>
                </a:solidFill>
                <a:latin typeface="Calibri"/>
                <a:ea typeface="ヒラギノ角ゴ Pro W3" pitchFamily="1" charset="-128"/>
              </a:rPr>
              <a:t>Proje etkilerinin 1 yıl sonra KOSGEB tarafından izlenmesi</a:t>
            </a:r>
          </a:p>
        </p:txBody>
      </p:sp>
      <p:cxnSp>
        <p:nvCxnSpPr>
          <p:cNvPr id="88" name="Düz Ok Bağlayıcısı 87"/>
          <p:cNvCxnSpPr/>
          <p:nvPr/>
        </p:nvCxnSpPr>
        <p:spPr>
          <a:xfrm>
            <a:off x="9001784" y="5792753"/>
            <a:ext cx="375365" cy="0"/>
          </a:xfrm>
          <a:prstGeom prst="straightConnector1">
            <a:avLst/>
          </a:prstGeom>
          <a:noFill/>
          <a:ln w="25400" cap="flat" cmpd="sng" algn="ctr">
            <a:solidFill>
              <a:srgbClr val="52AADF"/>
            </a:solidFill>
            <a:prstDash val="solid"/>
            <a:headEnd type="oval" w="lg" len="lg"/>
            <a:tailEnd type="triangle" w="lg" len="lg"/>
          </a:ln>
          <a:effectLst/>
        </p:spPr>
      </p:cxnSp>
      <p:cxnSp>
        <p:nvCxnSpPr>
          <p:cNvPr id="89" name="Düz Ok Bağlayıcısı 88"/>
          <p:cNvCxnSpPr>
            <a:stCxn id="82" idx="3"/>
            <a:endCxn id="85" idx="1"/>
          </p:cNvCxnSpPr>
          <p:nvPr/>
        </p:nvCxnSpPr>
        <p:spPr>
          <a:xfrm>
            <a:off x="2801973" y="5395570"/>
            <a:ext cx="356102" cy="3964"/>
          </a:xfrm>
          <a:prstGeom prst="straightConnector1">
            <a:avLst/>
          </a:prstGeom>
          <a:noFill/>
          <a:ln w="25400" cap="flat" cmpd="sng" algn="ctr">
            <a:solidFill>
              <a:srgbClr val="52AADF"/>
            </a:solidFill>
            <a:prstDash val="solid"/>
            <a:headEnd type="oval" w="lg" len="lg"/>
            <a:tailEnd type="triangle" w="lg" len="lg"/>
          </a:ln>
          <a:effectLst/>
        </p:spPr>
      </p:cxnSp>
      <p:cxnSp>
        <p:nvCxnSpPr>
          <p:cNvPr id="84" name="Düz Ok Bağlayıcısı 83"/>
          <p:cNvCxnSpPr>
            <a:stCxn id="83" idx="2"/>
          </p:cNvCxnSpPr>
          <p:nvPr/>
        </p:nvCxnSpPr>
        <p:spPr>
          <a:xfrm>
            <a:off x="8169830" y="2825816"/>
            <a:ext cx="0" cy="590953"/>
          </a:xfrm>
          <a:prstGeom prst="straightConnector1">
            <a:avLst/>
          </a:prstGeom>
          <a:noFill/>
          <a:ln w="25400" cap="flat" cmpd="sng" algn="ctr">
            <a:solidFill>
              <a:srgbClr val="52AADF"/>
            </a:solidFill>
            <a:prstDash val="solid"/>
            <a:headEnd type="oval" w="lg" len="lg"/>
            <a:tailEnd type="triangle" w="lg" len="lg"/>
          </a:ln>
          <a:effectLst/>
        </p:spPr>
      </p:cxnSp>
      <p:graphicFrame>
        <p:nvGraphicFramePr>
          <p:cNvPr id="34" name="Tablo 33"/>
          <p:cNvGraphicFramePr>
            <a:graphicFrameLocks noGrp="1"/>
          </p:cNvGraphicFramePr>
          <p:nvPr>
            <p:extLst/>
          </p:nvPr>
        </p:nvGraphicFramePr>
        <p:xfrm>
          <a:off x="1429881" y="591660"/>
          <a:ext cx="9591466" cy="458561"/>
        </p:xfrm>
        <a:graphic>
          <a:graphicData uri="http://schemas.openxmlformats.org/drawingml/2006/table">
            <a:tbl>
              <a:tblPr firstRow="1" bandRow="1">
                <a:tableStyleId>{5C22544A-7EE6-4342-B048-85BDC9FD1C3A}</a:tableStyleId>
              </a:tblPr>
              <a:tblGrid>
                <a:gridCol w="9591466">
                  <a:extLst>
                    <a:ext uri="{9D8B030D-6E8A-4147-A177-3AD203B41FA5}">
                      <a16:colId xmlns:a16="http://schemas.microsoft.com/office/drawing/2014/main" val="20000"/>
                    </a:ext>
                  </a:extLst>
                </a:gridCol>
              </a:tblGrid>
              <a:tr h="458561">
                <a:tc>
                  <a:txBody>
                    <a:bodyPr/>
                    <a:lstStyle/>
                    <a:p>
                      <a:pPr fontAlgn="base">
                        <a:spcBef>
                          <a:spcPct val="0"/>
                        </a:spcBef>
                        <a:spcAft>
                          <a:spcPct val="0"/>
                        </a:spcAft>
                        <a:buClr>
                          <a:srgbClr val="52AADF"/>
                        </a:buClr>
                      </a:pPr>
                      <a:r>
                        <a:rPr lang="tr-TR" sz="2400" b="1" dirty="0" smtClean="0">
                          <a:solidFill>
                            <a:srgbClr val="FF0000"/>
                          </a:solidFill>
                          <a:latin typeface="Calibri" pitchFamily="34" charset="0"/>
                          <a:ea typeface="ヒラギノ角ゴ Pro W3" pitchFamily="1" charset="-128"/>
                        </a:rPr>
                        <a:t>KOBİGEL proje uygulama süreci</a:t>
                      </a:r>
                      <a:endParaRPr lang="tr-TR" sz="2400" dirty="0">
                        <a:solidFill>
                          <a:srgbClr val="FF0000"/>
                        </a:solidFill>
                        <a:latin typeface="Calibri" pitchFamily="34" charset="0"/>
                        <a:ea typeface="ヒラギノ角ゴ Pro W3" pitchFamily="1" charset="-128"/>
                      </a:endParaRPr>
                    </a:p>
                  </a:txBody>
                  <a:tcPr marL="109728" marR="10972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2" name="Metin kutusu 31"/>
          <p:cNvSpPr txBox="1"/>
          <p:nvPr/>
        </p:nvSpPr>
        <p:spPr>
          <a:xfrm>
            <a:off x="997834" y="1009532"/>
            <a:ext cx="4736912" cy="627836"/>
          </a:xfrm>
          <a:prstGeom prst="rect">
            <a:avLst/>
          </a:prstGeom>
          <a:noFill/>
        </p:spPr>
        <p:txBody>
          <a:bodyPr wrap="square" lIns="109699" tIns="54850" rIns="109699" bIns="54850" rtlCol="0">
            <a:spAutoFit/>
          </a:bodyPr>
          <a:lstStyle/>
          <a:p>
            <a:pPr defTabSz="1097280" fontAlgn="base">
              <a:spcBef>
                <a:spcPct val="0"/>
              </a:spcBef>
              <a:spcAft>
                <a:spcPct val="0"/>
              </a:spcAft>
            </a:pPr>
            <a:r>
              <a:rPr lang="tr-TR" sz="1680" b="1" dirty="0">
                <a:solidFill>
                  <a:prstClr val="black"/>
                </a:solidFill>
                <a:latin typeface="Calibri" pitchFamily="34" charset="0"/>
                <a:ea typeface="ヒラギノ角ゴ Pro W3" pitchFamily="1" charset="-128"/>
              </a:rPr>
              <a:t>KBS</a:t>
            </a:r>
            <a:r>
              <a:rPr lang="tr-TR" sz="1680" dirty="0">
                <a:solidFill>
                  <a:prstClr val="black"/>
                </a:solidFill>
                <a:latin typeface="Calibri" pitchFamily="34" charset="0"/>
                <a:ea typeface="ヒラギノ角ゴ Pro W3" pitchFamily="1" charset="-128"/>
              </a:rPr>
              <a:t> (KOBİ Bilgi Sistemi)</a:t>
            </a:r>
          </a:p>
          <a:p>
            <a:pPr defTabSz="1097280" fontAlgn="base">
              <a:spcBef>
                <a:spcPct val="0"/>
              </a:spcBef>
              <a:spcAft>
                <a:spcPct val="0"/>
              </a:spcAft>
            </a:pPr>
            <a:r>
              <a:rPr lang="tr-TR" sz="1680" dirty="0">
                <a:solidFill>
                  <a:srgbClr val="FF0000"/>
                </a:solidFill>
                <a:latin typeface="Calibri" pitchFamily="34" charset="0"/>
                <a:ea typeface="ヒラギノ角ゴ Pro W3" pitchFamily="1" charset="-128"/>
              </a:rPr>
              <a:t>www.kosgeb.gov.tr / E - Hizmetler </a:t>
            </a:r>
          </a:p>
        </p:txBody>
      </p:sp>
      <p:cxnSp>
        <p:nvCxnSpPr>
          <p:cNvPr id="33" name="Düz Bağlayıcı 32"/>
          <p:cNvCxnSpPr/>
          <p:nvPr/>
        </p:nvCxnSpPr>
        <p:spPr>
          <a:xfrm>
            <a:off x="4243532" y="1156362"/>
            <a:ext cx="0" cy="51320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6" name="Düz Bağlayıcı 35"/>
          <p:cNvCxnSpPr/>
          <p:nvPr/>
        </p:nvCxnSpPr>
        <p:spPr>
          <a:xfrm>
            <a:off x="770027" y="1156362"/>
            <a:ext cx="0" cy="51320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40" name="Akış Çizelgesi: Öteki İşlem 39"/>
          <p:cNvSpPr/>
          <p:nvPr/>
        </p:nvSpPr>
        <p:spPr>
          <a:xfrm>
            <a:off x="738605" y="1669562"/>
            <a:ext cx="3539218" cy="939584"/>
          </a:xfrm>
          <a:prstGeom prst="flowChartAlternateProcess">
            <a:avLst/>
          </a:prstGeom>
          <a:solidFill>
            <a:schemeClr val="bg2">
              <a:lumMod val="25000"/>
            </a:schemeClr>
          </a:solidFill>
          <a:ln w="25400" cap="flat" cmpd="sng" algn="ctr">
            <a:noFill/>
            <a:prstDash val="solid"/>
          </a:ln>
          <a:effectLst/>
        </p:spPr>
        <p:txBody>
          <a:bodyPr lIns="109699" tIns="54850" rIns="109699" bIns="54850" rtlCol="0" anchor="ctr"/>
          <a:lstStyle/>
          <a:p>
            <a:pPr algn="ctr" defTabSz="1097280">
              <a:defRPr/>
            </a:pPr>
            <a:r>
              <a:rPr lang="tr-TR" sz="1440" b="1" kern="0" dirty="0">
                <a:solidFill>
                  <a:sysClr val="window" lastClr="FFFFFF"/>
                </a:solidFill>
                <a:latin typeface="Calibri"/>
                <a:ea typeface="ヒラギノ角ゴ Pro W3" pitchFamily="1" charset="-128"/>
              </a:rPr>
              <a:t>Proje Teklif Çağrısı  başvuru döneminde KOBİ tarafından online başvuru yapılması </a:t>
            </a:r>
          </a:p>
        </p:txBody>
      </p:sp>
      <p:cxnSp>
        <p:nvCxnSpPr>
          <p:cNvPr id="13" name="Dirsek Bağlayıcısı 12"/>
          <p:cNvCxnSpPr>
            <a:stCxn id="40" idx="2"/>
            <a:endCxn id="70" idx="1"/>
          </p:cNvCxnSpPr>
          <p:nvPr/>
        </p:nvCxnSpPr>
        <p:spPr>
          <a:xfrm rot="5400000">
            <a:off x="1965400" y="2857928"/>
            <a:ext cx="791594" cy="294092"/>
          </a:xfrm>
          <a:prstGeom prst="bentConnector4">
            <a:avLst>
              <a:gd name="adj1" fmla="val 11594"/>
              <a:gd name="adj2" fmla="val 193277"/>
            </a:avLst>
          </a:prstGeom>
          <a:noFill/>
          <a:ln w="25400" cap="flat" cmpd="sng" algn="ctr">
            <a:solidFill>
              <a:srgbClr val="52AADF"/>
            </a:solidFill>
            <a:prstDash val="solid"/>
            <a:headEnd type="oval" w="lg" len="lg"/>
            <a:tailEnd type="triangle" w="lg" len="lg"/>
          </a:ln>
          <a:effectLst/>
        </p:spPr>
      </p:cxnSp>
      <p:sp>
        <p:nvSpPr>
          <p:cNvPr id="39" name="Slayt Numarası Yer Tutucusu 1"/>
          <p:cNvSpPr>
            <a:spLocks noGrp="1"/>
          </p:cNvSpPr>
          <p:nvPr>
            <p:ph type="sldNum" sz="quarter" idx="12"/>
          </p:nvPr>
        </p:nvSpPr>
        <p:spPr/>
        <p:txBody>
          <a:bodyPr/>
          <a:lstStyle/>
          <a:p>
            <a:pPr defTabSz="1097280">
              <a:defRPr/>
            </a:pPr>
            <a:fld id="{FF16F97C-866D-4F85-A1F6-DDF39F62CB6A}" type="slidenum">
              <a:rPr lang="en-CA">
                <a:solidFill>
                  <a:prstClr val="black"/>
                </a:solidFill>
                <a:latin typeface="Calibri" panose="020F0502020204030204" pitchFamily="34" charset="0"/>
                <a:ea typeface="ヒラギノ角ゴ Pro W3" pitchFamily="1" charset="-128"/>
              </a:rPr>
              <a:pPr defTabSz="1097280">
                <a:defRPr/>
              </a:pPr>
              <a:t>66</a:t>
            </a:fld>
            <a:endParaRPr lang="en-CA" dirty="0">
              <a:solidFill>
                <a:prstClr val="black"/>
              </a:solidFill>
              <a:latin typeface="Calibri" panose="020F0502020204030204" pitchFamily="34" charset="0"/>
              <a:ea typeface="ヒラギノ角ゴ Pro W3" pitchFamily="1" charset="-128"/>
            </a:endParaRPr>
          </a:p>
        </p:txBody>
      </p:sp>
      <p:grpSp>
        <p:nvGrpSpPr>
          <p:cNvPr id="37" name="Grup 36"/>
          <p:cNvGrpSpPr/>
          <p:nvPr/>
        </p:nvGrpSpPr>
        <p:grpSpPr>
          <a:xfrm>
            <a:off x="1966190" y="17479"/>
            <a:ext cx="8259714" cy="611777"/>
            <a:chOff x="1501775" y="17412"/>
            <a:chExt cx="9144000" cy="609511"/>
          </a:xfrm>
        </p:grpSpPr>
        <p:sp>
          <p:nvSpPr>
            <p:cNvPr id="38" name="Dikdörtgen 37"/>
            <p:cNvSpPr/>
            <p:nvPr/>
          </p:nvSpPr>
          <p:spPr>
            <a:xfrm>
              <a:off x="1501775" y="581373"/>
              <a:ext cx="9144000" cy="45550"/>
            </a:xfrm>
            <a:prstGeom prst="rect">
              <a:avLst/>
            </a:prstGeom>
            <a:solidFill>
              <a:srgbClr val="336699">
                <a:alpha val="89000"/>
              </a:srgbClr>
            </a:solidFill>
            <a:ln w="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9716" tIns="54857" rIns="109716" bIns="54857" anchor="ctr"/>
            <a:lstStyle/>
            <a:p>
              <a:pPr algn="ctr" defTabSz="1097280" fontAlgn="base">
                <a:spcBef>
                  <a:spcPct val="0"/>
                </a:spcBef>
                <a:spcAft>
                  <a:spcPct val="0"/>
                </a:spcAft>
                <a:defRPr/>
              </a:pPr>
              <a:endParaRPr lang="tr-TR" sz="2160" dirty="0">
                <a:solidFill>
                  <a:prstClr val="white"/>
                </a:solidFill>
                <a:latin typeface="Frutiger 45 Light"/>
              </a:endParaRPr>
            </a:p>
          </p:txBody>
        </p:sp>
        <p:pic>
          <p:nvPicPr>
            <p:cNvPr id="41" name="Picture 3"/>
            <p:cNvPicPr>
              <a:picLocks noChangeAspect="1" noChangeArrowheads="1"/>
            </p:cNvPicPr>
            <p:nvPr/>
          </p:nvPicPr>
          <p:blipFill>
            <a:blip r:embed="rId4" cstate="print"/>
            <a:srcRect/>
            <a:stretch>
              <a:fillRect/>
            </a:stretch>
          </p:blipFill>
          <p:spPr bwMode="auto">
            <a:xfrm>
              <a:off x="9746184" y="44461"/>
              <a:ext cx="720080" cy="507913"/>
            </a:xfrm>
            <a:prstGeom prst="rect">
              <a:avLst/>
            </a:prstGeom>
            <a:noFill/>
            <a:ln w="9525">
              <a:noFill/>
              <a:miter lim="800000"/>
              <a:headEnd/>
              <a:tailEnd/>
            </a:ln>
          </p:spPr>
        </p:pic>
        <p:sp>
          <p:nvSpPr>
            <p:cNvPr id="42" name="3 Metin kutusu"/>
            <p:cNvSpPr txBox="1"/>
            <p:nvPr/>
          </p:nvSpPr>
          <p:spPr>
            <a:xfrm>
              <a:off x="1773513" y="17412"/>
              <a:ext cx="7632849" cy="331168"/>
            </a:xfrm>
            <a:prstGeom prst="rect">
              <a:avLst/>
            </a:prstGeom>
            <a:noFill/>
          </p:spPr>
          <p:txBody>
            <a:bodyPr wrap="square" rtlCol="0">
              <a:spAutoFit/>
            </a:bodyPr>
            <a:lstStyle/>
            <a:p>
              <a:pPr defTabSz="1097280" fontAlgn="base">
                <a:spcBef>
                  <a:spcPct val="0"/>
                </a:spcBef>
                <a:spcAft>
                  <a:spcPct val="0"/>
                </a:spcAft>
              </a:pPr>
              <a:r>
                <a:rPr lang="tr-TR" sz="1560" b="1" dirty="0">
                  <a:solidFill>
                    <a:srgbClr val="3366FF"/>
                  </a:solidFill>
                  <a:latin typeface="Calibri" pitchFamily="34" charset="0"/>
                  <a:ea typeface="ヒラギノ角ゴ Pro W3" pitchFamily="1" charset="-128"/>
                </a:rPr>
                <a:t>KOBİGEL - KOBİ GELİŞİM DESTEK PROGRAMI |</a:t>
              </a:r>
            </a:p>
          </p:txBody>
        </p:sp>
      </p:grpSp>
      <p:sp>
        <p:nvSpPr>
          <p:cNvPr id="43" name="3 Metin kutusu"/>
          <p:cNvSpPr txBox="1"/>
          <p:nvPr/>
        </p:nvSpPr>
        <p:spPr>
          <a:xfrm>
            <a:off x="6009593" y="32048"/>
            <a:ext cx="3447350" cy="590887"/>
          </a:xfrm>
          <a:prstGeom prst="rect">
            <a:avLst/>
          </a:prstGeom>
          <a:noFill/>
        </p:spPr>
        <p:txBody>
          <a:bodyPr wrap="square" lIns="109685" tIns="54842" rIns="109685" bIns="54842" rtlCol="0">
            <a:spAutoFit/>
          </a:bodyPr>
          <a:lstStyle/>
          <a:p>
            <a:pPr defTabSz="1097280" fontAlgn="base">
              <a:spcBef>
                <a:spcPct val="0"/>
              </a:spcBef>
              <a:spcAft>
                <a:spcPct val="0"/>
              </a:spcAft>
            </a:pPr>
            <a:r>
              <a:rPr lang="tr-TR" sz="1560" b="1" dirty="0">
                <a:solidFill>
                  <a:srgbClr val="FF0000"/>
                </a:solidFill>
                <a:latin typeface="Calibri" pitchFamily="34" charset="0"/>
                <a:ea typeface="ヒラギノ角ゴ Pro W3" pitchFamily="1" charset="-128"/>
              </a:rPr>
              <a:t>İmalat Sanayi Sektöründe Dijitalleşme Proje Teklif Çağrısı</a:t>
            </a:r>
          </a:p>
        </p:txBody>
      </p:sp>
      <p:sp>
        <p:nvSpPr>
          <p:cNvPr id="44" name="Dikdörtgen 43"/>
          <p:cNvSpPr/>
          <p:nvPr/>
        </p:nvSpPr>
        <p:spPr>
          <a:xfrm>
            <a:off x="1257063" y="722128"/>
            <a:ext cx="161827" cy="207018"/>
          </a:xfrm>
          <a:prstGeom prst="rect">
            <a:avLst/>
          </a:prstGeom>
          <a:solidFill>
            <a:srgbClr val="52AADF">
              <a:alpha val="90000"/>
            </a:srgbClr>
          </a:solidFill>
          <a:ln w="25400" cap="flat" cmpd="sng" algn="ctr">
            <a:noFill/>
            <a:prstDash val="solid"/>
          </a:ln>
          <a:effectLst/>
        </p:spPr>
      </p:sp>
    </p:spTree>
    <p:extLst>
      <p:ext uri="{BB962C8B-B14F-4D97-AF65-F5344CB8AC3E}">
        <p14:creationId xmlns:p14="http://schemas.microsoft.com/office/powerpoint/2010/main" val="1097396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Metin kutusu 16"/>
          <p:cNvSpPr txBox="1"/>
          <p:nvPr/>
        </p:nvSpPr>
        <p:spPr>
          <a:xfrm>
            <a:off x="2128298" y="750302"/>
            <a:ext cx="4813282" cy="1590065"/>
          </a:xfrm>
          <a:prstGeom prst="rect">
            <a:avLst/>
          </a:prstGeom>
          <a:noFill/>
        </p:spPr>
        <p:txBody>
          <a:bodyPr wrap="square" lIns="85853" tIns="42926" rIns="85853" bIns="42926" rtlCol="0">
            <a:noAutofit/>
          </a:bodyPr>
          <a:lstStyle/>
          <a:p>
            <a:pPr defTabSz="1097280" fontAlgn="base">
              <a:spcBef>
                <a:spcPct val="0"/>
              </a:spcBef>
              <a:spcAft>
                <a:spcPct val="0"/>
              </a:spcAft>
              <a:buClr>
                <a:srgbClr val="52AADF"/>
              </a:buClr>
              <a:buSzPct val="125000"/>
            </a:pPr>
            <a:r>
              <a:rPr lang="tr-TR" sz="2640" b="1" u="sng" dirty="0">
                <a:solidFill>
                  <a:srgbClr val="3366FF"/>
                </a:solidFill>
                <a:latin typeface="Calibri" pitchFamily="34" charset="0"/>
                <a:ea typeface="ヒラギノ角ゴ Pro W3" pitchFamily="1" charset="-128"/>
              </a:rPr>
              <a:t>Çağrı 2020.01: </a:t>
            </a:r>
            <a:r>
              <a:rPr lang="tr-TR" sz="2640" dirty="0">
                <a:solidFill>
                  <a:srgbClr val="154E5F"/>
                </a:solidFill>
                <a:latin typeface="Calibri" pitchFamily="34" charset="0"/>
                <a:ea typeface="ヒラギノ角ゴ Pro W3" pitchFamily="1" charset="-128"/>
              </a:rPr>
              <a:t>İmalat sanayi sektöründe dijitalleşme sürecine katkı sağlayabilecek </a:t>
            </a:r>
            <a:r>
              <a:rPr lang="tr-TR" sz="2640" dirty="0">
                <a:solidFill>
                  <a:srgbClr val="FF0000"/>
                </a:solidFill>
                <a:latin typeface="Calibri" pitchFamily="34" charset="0"/>
                <a:ea typeface="ヒラギノ角ゴ Pro W3" pitchFamily="1" charset="-128"/>
              </a:rPr>
              <a:t>yerli teknoloji geliştiricisi KOBİ’lerin desteklenmesi</a:t>
            </a:r>
          </a:p>
          <a:p>
            <a:pPr defTabSz="1097280" fontAlgn="base">
              <a:spcBef>
                <a:spcPct val="0"/>
              </a:spcBef>
              <a:spcAft>
                <a:spcPct val="0"/>
              </a:spcAft>
              <a:buClr>
                <a:srgbClr val="52AADF"/>
              </a:buClr>
              <a:buSzPct val="125000"/>
            </a:pPr>
            <a:endParaRPr lang="tr-TR" sz="2640" dirty="0">
              <a:solidFill>
                <a:srgbClr val="154E5F"/>
              </a:solidFill>
              <a:latin typeface="Calibri" pitchFamily="34" charset="0"/>
              <a:ea typeface="ヒラギノ角ゴ Pro W3" pitchFamily="1" charset="-128"/>
            </a:endParaRPr>
          </a:p>
        </p:txBody>
      </p:sp>
      <p:sp>
        <p:nvSpPr>
          <p:cNvPr id="33" name="Köşeli Çift Ayraç 32"/>
          <p:cNvSpPr/>
          <p:nvPr/>
        </p:nvSpPr>
        <p:spPr>
          <a:xfrm>
            <a:off x="1516313" y="836712"/>
            <a:ext cx="461356" cy="550210"/>
          </a:xfrm>
          <a:prstGeom prst="chevron">
            <a:avLst>
              <a:gd name="adj" fmla="val 40174"/>
            </a:avLst>
          </a:prstGeom>
          <a:ln w="57150"/>
        </p:spPr>
        <p:style>
          <a:lnRef idx="2">
            <a:schemeClr val="accent1"/>
          </a:lnRef>
          <a:fillRef idx="1">
            <a:schemeClr val="lt1"/>
          </a:fillRef>
          <a:effectRef idx="0">
            <a:schemeClr val="accent1"/>
          </a:effectRef>
          <a:fontRef idx="minor">
            <a:schemeClr val="dk1"/>
          </a:fontRef>
        </p:style>
        <p:txBody>
          <a:bodyPr lIns="85853" tIns="42926" rIns="85853" bIns="42926" rtlCol="0" anchor="ctr"/>
          <a:lstStyle/>
          <a:p>
            <a:pPr algn="ctr" defTabSz="1097280" fontAlgn="base">
              <a:spcBef>
                <a:spcPct val="0"/>
              </a:spcBef>
              <a:spcAft>
                <a:spcPct val="0"/>
              </a:spcAft>
            </a:pPr>
            <a:endParaRPr lang="tr-TR" sz="2160">
              <a:noFill/>
              <a:latin typeface="Frutiger 45 Light"/>
            </a:endParaRPr>
          </a:p>
        </p:txBody>
      </p:sp>
      <p:sp>
        <p:nvSpPr>
          <p:cNvPr id="10" name="Köşeli Çift Ayraç 9"/>
          <p:cNvSpPr/>
          <p:nvPr/>
        </p:nvSpPr>
        <p:spPr>
          <a:xfrm>
            <a:off x="1487063" y="2824133"/>
            <a:ext cx="461356" cy="550210"/>
          </a:xfrm>
          <a:prstGeom prst="chevron">
            <a:avLst>
              <a:gd name="adj" fmla="val 40174"/>
            </a:avLst>
          </a:prstGeom>
          <a:ln w="57150"/>
        </p:spPr>
        <p:style>
          <a:lnRef idx="2">
            <a:schemeClr val="accent1"/>
          </a:lnRef>
          <a:fillRef idx="1">
            <a:schemeClr val="lt1"/>
          </a:fillRef>
          <a:effectRef idx="0">
            <a:schemeClr val="accent1"/>
          </a:effectRef>
          <a:fontRef idx="minor">
            <a:schemeClr val="dk1"/>
          </a:fontRef>
        </p:style>
        <p:txBody>
          <a:bodyPr lIns="85853" tIns="42926" rIns="85853" bIns="42926" rtlCol="0" anchor="ctr"/>
          <a:lstStyle/>
          <a:p>
            <a:pPr algn="ctr" defTabSz="1097280" fontAlgn="base">
              <a:spcBef>
                <a:spcPct val="0"/>
              </a:spcBef>
              <a:spcAft>
                <a:spcPct val="0"/>
              </a:spcAft>
            </a:pPr>
            <a:endParaRPr lang="tr-TR" sz="2160">
              <a:noFill/>
              <a:latin typeface="Frutiger 45 Light"/>
            </a:endParaRPr>
          </a:p>
        </p:txBody>
      </p:sp>
      <p:sp>
        <p:nvSpPr>
          <p:cNvPr id="13" name="Metin kutusu 12"/>
          <p:cNvSpPr txBox="1"/>
          <p:nvPr/>
        </p:nvSpPr>
        <p:spPr>
          <a:xfrm>
            <a:off x="2041890" y="2824137"/>
            <a:ext cx="4648332" cy="2330891"/>
          </a:xfrm>
          <a:prstGeom prst="rect">
            <a:avLst/>
          </a:prstGeom>
          <a:noFill/>
        </p:spPr>
        <p:txBody>
          <a:bodyPr wrap="square" lIns="85853" tIns="42926" rIns="85853" bIns="42926" rtlCol="0">
            <a:noAutofit/>
          </a:bodyPr>
          <a:lstStyle/>
          <a:p>
            <a:pPr defTabSz="1097280" fontAlgn="base">
              <a:spcBef>
                <a:spcPct val="0"/>
              </a:spcBef>
              <a:spcAft>
                <a:spcPct val="0"/>
              </a:spcAft>
              <a:buClr>
                <a:srgbClr val="52AADF"/>
              </a:buClr>
              <a:buSzPct val="125000"/>
            </a:pPr>
            <a:r>
              <a:rPr lang="tr-TR" sz="2640" b="1" u="sng" dirty="0">
                <a:solidFill>
                  <a:srgbClr val="3366FF"/>
                </a:solidFill>
                <a:latin typeface="Calibri" pitchFamily="34" charset="0"/>
                <a:ea typeface="ヒラギノ角ゴ Pro W3" pitchFamily="1" charset="-128"/>
              </a:rPr>
              <a:t>Çağrı 2020.02: </a:t>
            </a:r>
            <a:r>
              <a:rPr lang="tr-TR" sz="2640" dirty="0">
                <a:solidFill>
                  <a:srgbClr val="154E5F"/>
                </a:solidFill>
                <a:latin typeface="Calibri" pitchFamily="34" charset="0"/>
                <a:ea typeface="ヒラギノ角ゴ Pro W3" pitchFamily="1" charset="-128"/>
              </a:rPr>
              <a:t>İmalat sanayi sektöründe faaliyet gösteren </a:t>
            </a:r>
            <a:r>
              <a:rPr lang="tr-TR" sz="2640" dirty="0">
                <a:solidFill>
                  <a:srgbClr val="FF0000"/>
                </a:solidFill>
                <a:latin typeface="Calibri" pitchFamily="34" charset="0"/>
                <a:ea typeface="ヒラギノ角ゴ Pro W3" pitchFamily="1" charset="-128"/>
              </a:rPr>
              <a:t>KOBİ’lerin üretim ve ilişkili iş süreçlerinde dijital teknolojilerden yararlanma düzeyinin arttırılması</a:t>
            </a:r>
          </a:p>
          <a:p>
            <a:pPr marL="171409" indent="-171409" defTabSz="1097280" fontAlgn="base">
              <a:spcBef>
                <a:spcPct val="0"/>
              </a:spcBef>
              <a:spcAft>
                <a:spcPct val="0"/>
              </a:spcAft>
              <a:buClr>
                <a:srgbClr val="52AADF"/>
              </a:buClr>
              <a:buSzPct val="125000"/>
              <a:buFont typeface="Calibri" panose="020F0502020204030204" pitchFamily="34" charset="0"/>
              <a:buChar char="•"/>
            </a:pPr>
            <a:endParaRPr lang="tr-TR" sz="2640" dirty="0">
              <a:solidFill>
                <a:srgbClr val="154E5F"/>
              </a:solidFill>
              <a:latin typeface="Calibri" pitchFamily="34" charset="0"/>
              <a:ea typeface="ヒラギノ角ゴ Pro W3" pitchFamily="1" charset="-128"/>
            </a:endParaRPr>
          </a:p>
        </p:txBody>
      </p:sp>
      <p:grpSp>
        <p:nvGrpSpPr>
          <p:cNvPr id="2" name="Grup 1"/>
          <p:cNvGrpSpPr/>
          <p:nvPr/>
        </p:nvGrpSpPr>
        <p:grpSpPr>
          <a:xfrm>
            <a:off x="1966190" y="17479"/>
            <a:ext cx="8259714" cy="611777"/>
            <a:chOff x="1501775" y="17412"/>
            <a:chExt cx="9144000" cy="609511"/>
          </a:xfrm>
        </p:grpSpPr>
        <p:sp>
          <p:nvSpPr>
            <p:cNvPr id="22" name="Dikdörtgen 21"/>
            <p:cNvSpPr/>
            <p:nvPr/>
          </p:nvSpPr>
          <p:spPr>
            <a:xfrm>
              <a:off x="1501775" y="581373"/>
              <a:ext cx="9144000" cy="45550"/>
            </a:xfrm>
            <a:prstGeom prst="rect">
              <a:avLst/>
            </a:prstGeom>
            <a:solidFill>
              <a:srgbClr val="336699">
                <a:alpha val="89000"/>
              </a:srgbClr>
            </a:solidFill>
            <a:ln w="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9716" tIns="54857" rIns="109716" bIns="54857" anchor="ctr"/>
            <a:lstStyle/>
            <a:p>
              <a:pPr algn="ctr" defTabSz="1097280" fontAlgn="base">
                <a:spcBef>
                  <a:spcPct val="0"/>
                </a:spcBef>
                <a:spcAft>
                  <a:spcPct val="0"/>
                </a:spcAft>
                <a:defRPr/>
              </a:pPr>
              <a:endParaRPr lang="tr-TR" sz="2160" dirty="0">
                <a:solidFill>
                  <a:prstClr val="white"/>
                </a:solidFill>
                <a:latin typeface="Frutiger 45 Light"/>
              </a:endParaRPr>
            </a:p>
          </p:txBody>
        </p:sp>
        <p:pic>
          <p:nvPicPr>
            <p:cNvPr id="15" name="Picture 3"/>
            <p:cNvPicPr>
              <a:picLocks noChangeAspect="1" noChangeArrowheads="1"/>
            </p:cNvPicPr>
            <p:nvPr/>
          </p:nvPicPr>
          <p:blipFill>
            <a:blip r:embed="rId3" cstate="print"/>
            <a:srcRect/>
            <a:stretch>
              <a:fillRect/>
            </a:stretch>
          </p:blipFill>
          <p:spPr bwMode="auto">
            <a:xfrm>
              <a:off x="9746184" y="44461"/>
              <a:ext cx="720080" cy="507913"/>
            </a:xfrm>
            <a:prstGeom prst="rect">
              <a:avLst/>
            </a:prstGeom>
            <a:noFill/>
            <a:ln w="9525">
              <a:noFill/>
              <a:miter lim="800000"/>
              <a:headEnd/>
              <a:tailEnd/>
            </a:ln>
          </p:spPr>
        </p:pic>
        <p:grpSp>
          <p:nvGrpSpPr>
            <p:cNvPr id="19" name="Grup 18"/>
            <p:cNvGrpSpPr/>
            <p:nvPr/>
          </p:nvGrpSpPr>
          <p:grpSpPr>
            <a:xfrm>
              <a:off x="1773512" y="17412"/>
              <a:ext cx="8021025" cy="584858"/>
              <a:chOff x="271736" y="17410"/>
              <a:chExt cx="8021025" cy="584858"/>
            </a:xfrm>
          </p:grpSpPr>
          <p:sp>
            <p:nvSpPr>
              <p:cNvPr id="20" name="3 Metin kutusu"/>
              <p:cNvSpPr txBox="1"/>
              <p:nvPr/>
            </p:nvSpPr>
            <p:spPr>
              <a:xfrm>
                <a:off x="271736" y="17410"/>
                <a:ext cx="7632848" cy="331168"/>
              </a:xfrm>
              <a:prstGeom prst="rect">
                <a:avLst/>
              </a:prstGeom>
              <a:noFill/>
            </p:spPr>
            <p:txBody>
              <a:bodyPr wrap="square" rtlCol="0">
                <a:spAutoFit/>
              </a:bodyPr>
              <a:lstStyle/>
              <a:p>
                <a:pPr defTabSz="1097280" fontAlgn="base">
                  <a:spcBef>
                    <a:spcPct val="0"/>
                  </a:spcBef>
                  <a:spcAft>
                    <a:spcPct val="0"/>
                  </a:spcAft>
                </a:pPr>
                <a:r>
                  <a:rPr lang="tr-TR" sz="1560" b="1" dirty="0">
                    <a:solidFill>
                      <a:srgbClr val="3366FF"/>
                    </a:solidFill>
                    <a:latin typeface="Calibri" pitchFamily="34" charset="0"/>
                    <a:ea typeface="ヒラギノ角ゴ Pro W3" pitchFamily="1" charset="-128"/>
                  </a:rPr>
                  <a:t>KOBİGEL - KOBİ GELİŞİM DESTEK PROGRAMI |</a:t>
                </a:r>
              </a:p>
            </p:txBody>
          </p:sp>
          <p:sp>
            <p:nvSpPr>
              <p:cNvPr id="21" name="3 Metin kutusu"/>
              <p:cNvSpPr txBox="1"/>
              <p:nvPr/>
            </p:nvSpPr>
            <p:spPr>
              <a:xfrm>
                <a:off x="4476337" y="31924"/>
                <a:ext cx="3816424" cy="570344"/>
              </a:xfrm>
              <a:prstGeom prst="rect">
                <a:avLst/>
              </a:prstGeom>
              <a:noFill/>
            </p:spPr>
            <p:txBody>
              <a:bodyPr wrap="square" rtlCol="0">
                <a:spAutoFit/>
              </a:bodyPr>
              <a:lstStyle/>
              <a:p>
                <a:pPr defTabSz="1097280" fontAlgn="base">
                  <a:spcBef>
                    <a:spcPct val="0"/>
                  </a:spcBef>
                  <a:spcAft>
                    <a:spcPct val="0"/>
                  </a:spcAft>
                </a:pPr>
                <a:r>
                  <a:rPr lang="tr-TR" sz="1560" b="1" dirty="0">
                    <a:solidFill>
                      <a:srgbClr val="FF0000"/>
                    </a:solidFill>
                    <a:latin typeface="Calibri" pitchFamily="34" charset="0"/>
                    <a:ea typeface="ヒラギノ角ゴ Pro W3" pitchFamily="1" charset="-128"/>
                  </a:rPr>
                  <a:t>İmalat Sanayi Sektöründe Dijitalleşme Proje Teklif Çağrısı</a:t>
                </a:r>
              </a:p>
            </p:txBody>
          </p:sp>
        </p:grpSp>
      </p:grpSp>
      <p:pic>
        <p:nvPicPr>
          <p:cNvPr id="18" name="Picture 2" descr="MindSphere by Siemens is an open operating system for IoT, allowing a customized platform for recording and analyzing large volumes of plantwide production data. Courtesy: Siemen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01756" y="3256516"/>
            <a:ext cx="3258948" cy="1916184"/>
          </a:xfrm>
          <a:prstGeom prst="rect">
            <a:avLst/>
          </a:prstGeom>
          <a:ln w="38100" cap="sq" cmpd="thickThin">
            <a:solidFill>
              <a:srgbClr val="0070C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24" name="Picture 2" descr="software engineers ile ilgili gÃ¶rsel sonucu"/>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7385"/>
          <a:stretch/>
        </p:blipFill>
        <p:spPr bwMode="auto">
          <a:xfrm>
            <a:off x="7201767" y="923151"/>
            <a:ext cx="3258949" cy="1871480"/>
          </a:xfrm>
          <a:prstGeom prst="rect">
            <a:avLst/>
          </a:prstGeom>
          <a:ln w="38100" cap="sq" cmpd="thickThin">
            <a:solidFill>
              <a:srgbClr val="0070C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23" name="2 Metin kutusu"/>
          <p:cNvSpPr txBox="1"/>
          <p:nvPr/>
        </p:nvSpPr>
        <p:spPr>
          <a:xfrm>
            <a:off x="2004441" y="5236003"/>
            <a:ext cx="8124496" cy="492955"/>
          </a:xfrm>
          <a:prstGeom prst="rect">
            <a:avLst/>
          </a:prstGeom>
          <a:noFill/>
        </p:spPr>
        <p:txBody>
          <a:bodyPr wrap="square" lIns="85853" tIns="42926" rIns="85853" bIns="42926" rtlCol="0">
            <a:spAutoFit/>
          </a:bodyPr>
          <a:lstStyle/>
          <a:p>
            <a:pPr defTabSz="1097280" fontAlgn="base">
              <a:spcBef>
                <a:spcPct val="0"/>
              </a:spcBef>
              <a:spcAft>
                <a:spcPct val="0"/>
              </a:spcAft>
            </a:pPr>
            <a:r>
              <a:rPr lang="tr-TR" sz="1320" b="1" dirty="0">
                <a:solidFill>
                  <a:prstClr val="black"/>
                </a:solidFill>
                <a:latin typeface="Calibri" pitchFamily="34" charset="0"/>
                <a:ea typeface="ヒラギノ角ゴ Pro W3" pitchFamily="1" charset="-128"/>
              </a:rPr>
              <a:t>Not: Bu çağrıların 2020 başvuruları kapandı. Sonraki yıllarda </a:t>
            </a:r>
            <a:r>
              <a:rPr lang="tr-TR" sz="1320" b="1" u="sng" dirty="0">
                <a:solidFill>
                  <a:prstClr val="black"/>
                </a:solidFill>
                <a:latin typeface="Calibri" pitchFamily="34" charset="0"/>
                <a:ea typeface="ヒラギノ角ゴ Pro W3" pitchFamily="1" charset="-128"/>
              </a:rPr>
              <a:t>bütçe tahsis edilebilirse </a:t>
            </a:r>
            <a:r>
              <a:rPr lang="tr-TR" sz="1320" b="1" dirty="0">
                <a:solidFill>
                  <a:prstClr val="black"/>
                </a:solidFill>
                <a:latin typeface="Calibri" pitchFamily="34" charset="0"/>
                <a:ea typeface="ヒラギノ角ゴ Pro W3" pitchFamily="1" charset="-128"/>
              </a:rPr>
              <a:t>tekrar edilmesi öngörülüyor. </a:t>
            </a:r>
          </a:p>
          <a:p>
            <a:pPr defTabSz="1097280" fontAlgn="base">
              <a:spcBef>
                <a:spcPct val="0"/>
              </a:spcBef>
              <a:spcAft>
                <a:spcPct val="0"/>
              </a:spcAft>
            </a:pPr>
            <a:r>
              <a:rPr lang="tr-TR" sz="1320" b="1" dirty="0">
                <a:solidFill>
                  <a:prstClr val="black"/>
                </a:solidFill>
                <a:latin typeface="Calibri" pitchFamily="34" charset="0"/>
                <a:ea typeface="ヒラギノ角ゴ Pro W3" pitchFamily="1" charset="-128"/>
              </a:rPr>
              <a:t>Proje teklif çağrıları metinlerine erişmek için:  </a:t>
            </a:r>
          </a:p>
        </p:txBody>
      </p:sp>
      <p:sp>
        <p:nvSpPr>
          <p:cNvPr id="26" name="Yuvarlatılmış Dikdörtgen 25"/>
          <p:cNvSpPr/>
          <p:nvPr/>
        </p:nvSpPr>
        <p:spPr>
          <a:xfrm>
            <a:off x="1457923" y="5741823"/>
            <a:ext cx="1814602" cy="266954"/>
          </a:xfrm>
          <a:prstGeom prst="roundRect">
            <a:avLst/>
          </a:prstGeom>
          <a:solidFill>
            <a:schemeClr val="bg1"/>
          </a:solidFill>
          <a:ln>
            <a:solidFill>
              <a:srgbClr val="00BAD9"/>
            </a:solidFill>
          </a:ln>
        </p:spPr>
        <p:style>
          <a:lnRef idx="2">
            <a:schemeClr val="accent1">
              <a:shade val="50000"/>
            </a:schemeClr>
          </a:lnRef>
          <a:fillRef idx="1">
            <a:schemeClr val="accent1"/>
          </a:fillRef>
          <a:effectRef idx="0">
            <a:schemeClr val="accent1"/>
          </a:effectRef>
          <a:fontRef idx="minor">
            <a:schemeClr val="lt1"/>
          </a:fontRef>
        </p:style>
        <p:txBody>
          <a:bodyPr lIns="85853" tIns="42926" rIns="85853" bIns="42926" rtlCol="0" anchor="ctr"/>
          <a:lstStyle/>
          <a:p>
            <a:pPr algn="ctr" defTabSz="1097280" fontAlgn="base"/>
            <a:r>
              <a:rPr lang="tr-TR" sz="1560" dirty="0">
                <a:solidFill>
                  <a:prstClr val="black"/>
                </a:solidFill>
                <a:latin typeface="Calibri" panose="020F0502020204030204" pitchFamily="34" charset="0"/>
                <a:cs typeface="Arial" panose="020B0604020202020204" pitchFamily="34" charset="0"/>
              </a:rPr>
              <a:t>www.kosgeb.gov.tr</a:t>
            </a:r>
          </a:p>
        </p:txBody>
      </p:sp>
      <p:sp>
        <p:nvSpPr>
          <p:cNvPr id="27" name="Yuvarlatılmış Dikdörtgen 26"/>
          <p:cNvSpPr/>
          <p:nvPr/>
        </p:nvSpPr>
        <p:spPr>
          <a:xfrm>
            <a:off x="3538783" y="6008775"/>
            <a:ext cx="1077476" cy="662722"/>
          </a:xfrm>
          <a:prstGeom prst="roundRect">
            <a:avLst/>
          </a:prstGeom>
          <a:solidFill>
            <a:schemeClr val="bg1"/>
          </a:solidFill>
          <a:ln>
            <a:solidFill>
              <a:srgbClr val="00BAD9"/>
            </a:solidFill>
          </a:ln>
        </p:spPr>
        <p:style>
          <a:lnRef idx="2">
            <a:schemeClr val="accent1">
              <a:shade val="50000"/>
            </a:schemeClr>
          </a:lnRef>
          <a:fillRef idx="1">
            <a:schemeClr val="accent1"/>
          </a:fillRef>
          <a:effectRef idx="0">
            <a:schemeClr val="accent1"/>
          </a:effectRef>
          <a:fontRef idx="minor">
            <a:schemeClr val="lt1"/>
          </a:fontRef>
        </p:style>
        <p:txBody>
          <a:bodyPr lIns="85853" tIns="42926" rIns="85853" bIns="42926" rtlCol="0" anchor="ctr"/>
          <a:lstStyle/>
          <a:p>
            <a:pPr algn="ctr" defTabSz="1097280" fontAlgn="base"/>
            <a:r>
              <a:rPr lang="tr-TR" sz="1560" dirty="0">
                <a:solidFill>
                  <a:prstClr val="black"/>
                </a:solidFill>
                <a:latin typeface="Calibri" panose="020F0502020204030204" pitchFamily="34" charset="0"/>
                <a:cs typeface="Arial" panose="020B0604020202020204" pitchFamily="34" charset="0"/>
              </a:rPr>
              <a:t>Destekler Menüsü</a:t>
            </a:r>
          </a:p>
        </p:txBody>
      </p:sp>
      <p:sp>
        <p:nvSpPr>
          <p:cNvPr id="28" name="Yuvarlatılmış Dikdörtgen 27"/>
          <p:cNvSpPr/>
          <p:nvPr/>
        </p:nvSpPr>
        <p:spPr>
          <a:xfrm>
            <a:off x="4981127" y="6018686"/>
            <a:ext cx="2929476" cy="662722"/>
          </a:xfrm>
          <a:prstGeom prst="roundRect">
            <a:avLst/>
          </a:prstGeom>
          <a:solidFill>
            <a:schemeClr val="bg1"/>
          </a:solidFill>
          <a:ln>
            <a:solidFill>
              <a:srgbClr val="00BAD9"/>
            </a:solidFill>
          </a:ln>
        </p:spPr>
        <p:style>
          <a:lnRef idx="2">
            <a:schemeClr val="accent1">
              <a:shade val="50000"/>
            </a:schemeClr>
          </a:lnRef>
          <a:fillRef idx="1">
            <a:schemeClr val="accent1"/>
          </a:fillRef>
          <a:effectRef idx="0">
            <a:schemeClr val="accent1"/>
          </a:effectRef>
          <a:fontRef idx="minor">
            <a:schemeClr val="lt1"/>
          </a:fontRef>
        </p:style>
        <p:txBody>
          <a:bodyPr lIns="85853" tIns="42926" rIns="85853" bIns="42926" rtlCol="0" anchor="ctr"/>
          <a:lstStyle/>
          <a:p>
            <a:pPr algn="ctr" defTabSz="1097280" fontAlgn="base"/>
            <a:r>
              <a:rPr lang="tr-TR" sz="1560" dirty="0">
                <a:solidFill>
                  <a:prstClr val="black"/>
                </a:solidFill>
                <a:latin typeface="Calibri" panose="020F0502020204030204" pitchFamily="34" charset="0"/>
                <a:cs typeface="Arial" panose="020B0604020202020204" pitchFamily="34" charset="0"/>
              </a:rPr>
              <a:t>İşletme Geliştirme, Büyüme ve Uluslararasılaşma Destekleri Sekmesi</a:t>
            </a:r>
          </a:p>
        </p:txBody>
      </p:sp>
      <p:sp>
        <p:nvSpPr>
          <p:cNvPr id="29" name="Yuvarlatılmış Dikdörtgen 28"/>
          <p:cNvSpPr/>
          <p:nvPr/>
        </p:nvSpPr>
        <p:spPr>
          <a:xfrm>
            <a:off x="8243031" y="6008775"/>
            <a:ext cx="1077476" cy="662722"/>
          </a:xfrm>
          <a:prstGeom prst="roundRect">
            <a:avLst/>
          </a:prstGeom>
          <a:solidFill>
            <a:schemeClr val="bg1"/>
          </a:solidFill>
          <a:ln>
            <a:solidFill>
              <a:srgbClr val="00BAD9"/>
            </a:solidFill>
          </a:ln>
        </p:spPr>
        <p:style>
          <a:lnRef idx="2">
            <a:schemeClr val="accent1">
              <a:shade val="50000"/>
            </a:schemeClr>
          </a:lnRef>
          <a:fillRef idx="1">
            <a:schemeClr val="accent1"/>
          </a:fillRef>
          <a:effectRef idx="0">
            <a:schemeClr val="accent1"/>
          </a:effectRef>
          <a:fontRef idx="minor">
            <a:schemeClr val="lt1"/>
          </a:fontRef>
        </p:style>
        <p:txBody>
          <a:bodyPr lIns="85853" tIns="42926" rIns="85853" bIns="42926" rtlCol="0" anchor="ctr"/>
          <a:lstStyle/>
          <a:p>
            <a:pPr algn="ctr" defTabSz="1097280" fontAlgn="base"/>
            <a:r>
              <a:rPr lang="tr-TR" sz="1560" dirty="0">
                <a:solidFill>
                  <a:prstClr val="black"/>
                </a:solidFill>
                <a:latin typeface="Calibri" panose="020F0502020204030204" pitchFamily="34" charset="0"/>
                <a:cs typeface="Arial" panose="020B0604020202020204" pitchFamily="34" charset="0"/>
              </a:rPr>
              <a:t>KOBİGEL</a:t>
            </a:r>
          </a:p>
          <a:p>
            <a:pPr algn="ctr" defTabSz="1097280" fontAlgn="base"/>
            <a:r>
              <a:rPr lang="tr-TR" sz="1560" dirty="0">
                <a:solidFill>
                  <a:prstClr val="black"/>
                </a:solidFill>
                <a:latin typeface="Calibri" panose="020F0502020204030204" pitchFamily="34" charset="0"/>
                <a:cs typeface="Arial" panose="020B0604020202020204" pitchFamily="34" charset="0"/>
              </a:rPr>
              <a:t>Menüsü</a:t>
            </a:r>
          </a:p>
        </p:txBody>
      </p:sp>
      <p:sp>
        <p:nvSpPr>
          <p:cNvPr id="30" name="Yuvarlatılmış Dikdörtgen 29"/>
          <p:cNvSpPr/>
          <p:nvPr/>
        </p:nvSpPr>
        <p:spPr>
          <a:xfrm>
            <a:off x="9632295" y="5996534"/>
            <a:ext cx="1302643" cy="662722"/>
          </a:xfrm>
          <a:prstGeom prst="roundRect">
            <a:avLst/>
          </a:prstGeom>
          <a:solidFill>
            <a:schemeClr val="bg1"/>
          </a:solidFill>
          <a:ln>
            <a:solidFill>
              <a:srgbClr val="00BAD9"/>
            </a:solidFill>
          </a:ln>
        </p:spPr>
        <p:style>
          <a:lnRef idx="2">
            <a:schemeClr val="accent1">
              <a:shade val="50000"/>
            </a:schemeClr>
          </a:lnRef>
          <a:fillRef idx="1">
            <a:schemeClr val="accent1"/>
          </a:fillRef>
          <a:effectRef idx="0">
            <a:schemeClr val="accent1"/>
          </a:effectRef>
          <a:fontRef idx="minor">
            <a:schemeClr val="lt1"/>
          </a:fontRef>
        </p:style>
        <p:txBody>
          <a:bodyPr lIns="85853" tIns="42926" rIns="85853" bIns="42926" rtlCol="0" anchor="ctr"/>
          <a:lstStyle/>
          <a:p>
            <a:pPr algn="ctr" defTabSz="1097280" fontAlgn="base"/>
            <a:r>
              <a:rPr lang="tr-TR" sz="1560" dirty="0">
                <a:solidFill>
                  <a:prstClr val="black"/>
                </a:solidFill>
                <a:latin typeface="Calibri" panose="020F0502020204030204" pitchFamily="34" charset="0"/>
                <a:cs typeface="Arial" panose="020B0604020202020204" pitchFamily="34" charset="0"/>
              </a:rPr>
              <a:t>Yürürlükteki Çağrılar</a:t>
            </a:r>
          </a:p>
        </p:txBody>
      </p:sp>
      <p:sp>
        <p:nvSpPr>
          <p:cNvPr id="31" name="Köşeli Çift Ayraç 30"/>
          <p:cNvSpPr/>
          <p:nvPr/>
        </p:nvSpPr>
        <p:spPr>
          <a:xfrm>
            <a:off x="4752497" y="5928442"/>
            <a:ext cx="168523" cy="159702"/>
          </a:xfrm>
          <a:prstGeom prst="chevron">
            <a:avLst>
              <a:gd name="adj" fmla="val 40174"/>
            </a:avLst>
          </a:prstGeom>
          <a:ln w="57150"/>
        </p:spPr>
        <p:style>
          <a:lnRef idx="2">
            <a:schemeClr val="accent1"/>
          </a:lnRef>
          <a:fillRef idx="1">
            <a:schemeClr val="lt1"/>
          </a:fillRef>
          <a:effectRef idx="0">
            <a:schemeClr val="accent1"/>
          </a:effectRef>
          <a:fontRef idx="minor">
            <a:schemeClr val="dk1"/>
          </a:fontRef>
        </p:style>
        <p:txBody>
          <a:bodyPr lIns="85853" tIns="42926" rIns="85853" bIns="42926" rtlCol="0" anchor="ctr"/>
          <a:lstStyle/>
          <a:p>
            <a:pPr algn="ctr" defTabSz="1097280" fontAlgn="base">
              <a:spcBef>
                <a:spcPct val="0"/>
              </a:spcBef>
              <a:spcAft>
                <a:spcPct val="0"/>
              </a:spcAft>
            </a:pPr>
            <a:endParaRPr lang="tr-TR" sz="2160">
              <a:noFill/>
              <a:latin typeface="Frutiger 45 Light"/>
            </a:endParaRPr>
          </a:p>
        </p:txBody>
      </p:sp>
      <p:sp>
        <p:nvSpPr>
          <p:cNvPr id="32" name="Köşeli Çift Ayraç 31"/>
          <p:cNvSpPr/>
          <p:nvPr/>
        </p:nvSpPr>
        <p:spPr>
          <a:xfrm>
            <a:off x="8026639" y="5943592"/>
            <a:ext cx="168523" cy="159702"/>
          </a:xfrm>
          <a:prstGeom prst="chevron">
            <a:avLst>
              <a:gd name="adj" fmla="val 40174"/>
            </a:avLst>
          </a:prstGeom>
          <a:ln w="57150"/>
        </p:spPr>
        <p:style>
          <a:lnRef idx="2">
            <a:schemeClr val="accent1"/>
          </a:lnRef>
          <a:fillRef idx="1">
            <a:schemeClr val="lt1"/>
          </a:fillRef>
          <a:effectRef idx="0">
            <a:schemeClr val="accent1"/>
          </a:effectRef>
          <a:fontRef idx="minor">
            <a:schemeClr val="dk1"/>
          </a:fontRef>
        </p:style>
        <p:txBody>
          <a:bodyPr lIns="85853" tIns="42926" rIns="85853" bIns="42926" rtlCol="0" anchor="ctr"/>
          <a:lstStyle/>
          <a:p>
            <a:pPr algn="ctr" defTabSz="1097280" fontAlgn="base">
              <a:spcBef>
                <a:spcPct val="0"/>
              </a:spcBef>
              <a:spcAft>
                <a:spcPct val="0"/>
              </a:spcAft>
            </a:pPr>
            <a:endParaRPr lang="tr-TR" sz="2160">
              <a:noFill/>
              <a:latin typeface="Frutiger 45 Light"/>
            </a:endParaRPr>
          </a:p>
        </p:txBody>
      </p:sp>
      <p:sp>
        <p:nvSpPr>
          <p:cNvPr id="34" name="Köşeli Çift Ayraç 33"/>
          <p:cNvSpPr/>
          <p:nvPr/>
        </p:nvSpPr>
        <p:spPr>
          <a:xfrm>
            <a:off x="9396985" y="5943592"/>
            <a:ext cx="168523" cy="159702"/>
          </a:xfrm>
          <a:prstGeom prst="chevron">
            <a:avLst>
              <a:gd name="adj" fmla="val 40174"/>
            </a:avLst>
          </a:prstGeom>
          <a:ln w="57150"/>
        </p:spPr>
        <p:style>
          <a:lnRef idx="2">
            <a:schemeClr val="accent1"/>
          </a:lnRef>
          <a:fillRef idx="1">
            <a:schemeClr val="lt1"/>
          </a:fillRef>
          <a:effectRef idx="0">
            <a:schemeClr val="accent1"/>
          </a:effectRef>
          <a:fontRef idx="minor">
            <a:schemeClr val="dk1"/>
          </a:fontRef>
        </p:style>
        <p:txBody>
          <a:bodyPr lIns="85853" tIns="42926" rIns="85853" bIns="42926" rtlCol="0" anchor="ctr"/>
          <a:lstStyle/>
          <a:p>
            <a:pPr algn="ctr" defTabSz="1097280" fontAlgn="base">
              <a:spcBef>
                <a:spcPct val="0"/>
              </a:spcBef>
              <a:spcAft>
                <a:spcPct val="0"/>
              </a:spcAft>
            </a:pPr>
            <a:endParaRPr lang="tr-TR" sz="2160">
              <a:noFill/>
              <a:latin typeface="Frutiger 45 Light"/>
            </a:endParaRPr>
          </a:p>
        </p:txBody>
      </p:sp>
      <p:cxnSp>
        <p:nvCxnSpPr>
          <p:cNvPr id="35" name="Dirsek Bağlayıcısı 34"/>
          <p:cNvCxnSpPr>
            <a:endCxn id="27" idx="0"/>
          </p:cNvCxnSpPr>
          <p:nvPr/>
        </p:nvCxnSpPr>
        <p:spPr>
          <a:xfrm>
            <a:off x="3330908" y="5831155"/>
            <a:ext cx="746579" cy="177719"/>
          </a:xfrm>
          <a:prstGeom prst="bentConnector2">
            <a:avLst/>
          </a:prstGeom>
          <a:ln w="38100">
            <a:tailEnd type="triangle"/>
          </a:ln>
        </p:spPr>
        <p:style>
          <a:lnRef idx="2">
            <a:schemeClr val="accent1"/>
          </a:lnRef>
          <a:fillRef idx="1">
            <a:schemeClr val="lt1"/>
          </a:fillRef>
          <a:effectRef idx="0">
            <a:schemeClr val="accent1"/>
          </a:effectRef>
          <a:fontRef idx="minor">
            <a:schemeClr val="dk1"/>
          </a:fontRef>
        </p:style>
      </p:cxnSp>
      <p:sp>
        <p:nvSpPr>
          <p:cNvPr id="36" name="Slayt Numarası Yer Tutucusu 1"/>
          <p:cNvSpPr>
            <a:spLocks noGrp="1"/>
          </p:cNvSpPr>
          <p:nvPr>
            <p:ph type="sldNum" sz="quarter" idx="12"/>
          </p:nvPr>
        </p:nvSpPr>
        <p:spPr/>
        <p:txBody>
          <a:bodyPr/>
          <a:lstStyle/>
          <a:p>
            <a:pPr defTabSz="1097280">
              <a:defRPr/>
            </a:pPr>
            <a:fld id="{FF16F97C-866D-4F85-A1F6-DDF39F62CB6A}" type="slidenum">
              <a:rPr lang="en-CA">
                <a:solidFill>
                  <a:prstClr val="black"/>
                </a:solidFill>
                <a:latin typeface="Calibri" panose="020F0502020204030204" pitchFamily="34" charset="0"/>
                <a:ea typeface="ヒラギノ角ゴ Pro W3" pitchFamily="1" charset="-128"/>
              </a:rPr>
              <a:pPr defTabSz="1097280">
                <a:defRPr/>
              </a:pPr>
              <a:t>67</a:t>
            </a:fld>
            <a:endParaRPr lang="en-CA" dirty="0">
              <a:solidFill>
                <a:prstClr val="black"/>
              </a:solidFill>
              <a:latin typeface="Calibri" panose="020F0502020204030204" pitchFamily="34" charset="0"/>
              <a:ea typeface="ヒラギノ角ゴ Pro W3" pitchFamily="1" charset="-128"/>
            </a:endParaRPr>
          </a:p>
        </p:txBody>
      </p:sp>
    </p:spTree>
    <p:extLst>
      <p:ext uri="{BB962C8B-B14F-4D97-AF65-F5344CB8AC3E}">
        <p14:creationId xmlns:p14="http://schemas.microsoft.com/office/powerpoint/2010/main" val="33304709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o 35"/>
          <p:cNvGraphicFramePr>
            <a:graphicFrameLocks noGrp="1"/>
          </p:cNvGraphicFramePr>
          <p:nvPr>
            <p:extLst/>
          </p:nvPr>
        </p:nvGraphicFramePr>
        <p:xfrm>
          <a:off x="1347763" y="606553"/>
          <a:ext cx="7219922" cy="519746"/>
        </p:xfrm>
        <a:graphic>
          <a:graphicData uri="http://schemas.openxmlformats.org/drawingml/2006/table">
            <a:tbl>
              <a:tblPr firstRow="1" bandRow="1">
                <a:tableStyleId>{5C22544A-7EE6-4342-B048-85BDC9FD1C3A}</a:tableStyleId>
              </a:tblPr>
              <a:tblGrid>
                <a:gridCol w="7219922">
                  <a:extLst>
                    <a:ext uri="{9D8B030D-6E8A-4147-A177-3AD203B41FA5}">
                      <a16:colId xmlns:a16="http://schemas.microsoft.com/office/drawing/2014/main" val="20000"/>
                    </a:ext>
                  </a:extLst>
                </a:gridCol>
              </a:tblGrid>
              <a:tr h="519746">
                <a:tc>
                  <a:txBody>
                    <a:bodyPr/>
                    <a:lstStyle/>
                    <a:p>
                      <a:pPr algn="l" rtl="0" fontAlgn="base">
                        <a:spcBef>
                          <a:spcPct val="0"/>
                        </a:spcBef>
                        <a:spcAft>
                          <a:spcPct val="0"/>
                        </a:spcAft>
                        <a:buClr>
                          <a:srgbClr val="52AADF"/>
                        </a:buClr>
                      </a:pPr>
                      <a:r>
                        <a:rPr lang="tr-TR" sz="2600" b="1" kern="1200" dirty="0">
                          <a:solidFill>
                            <a:srgbClr val="FF0000"/>
                          </a:solidFill>
                          <a:latin typeface="Calibri" pitchFamily="34" charset="0"/>
                          <a:ea typeface="ヒラギノ角ゴ Pro W3" pitchFamily="1" charset="-128"/>
                          <a:cs typeface="+mn-cs"/>
                        </a:rPr>
                        <a:t>Uygun proje konuları</a:t>
                      </a:r>
                    </a:p>
                  </a:txBody>
                  <a:tcPr marL="82597" marR="8259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24" name="Grup 23"/>
          <p:cNvGrpSpPr/>
          <p:nvPr/>
        </p:nvGrpSpPr>
        <p:grpSpPr>
          <a:xfrm>
            <a:off x="5965921" y="6096958"/>
            <a:ext cx="2498036" cy="511096"/>
            <a:chOff x="208182" y="1123674"/>
            <a:chExt cx="2765476" cy="509203"/>
          </a:xfrm>
        </p:grpSpPr>
        <p:sp>
          <p:nvSpPr>
            <p:cNvPr id="26" name="Dikdörtgen 25"/>
            <p:cNvSpPr/>
            <p:nvPr/>
          </p:nvSpPr>
          <p:spPr>
            <a:xfrm>
              <a:off x="208182" y="1123674"/>
              <a:ext cx="2765476" cy="50920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7" name="Dikdörtgen 26"/>
            <p:cNvSpPr/>
            <p:nvPr/>
          </p:nvSpPr>
          <p:spPr>
            <a:xfrm>
              <a:off x="208182" y="1123674"/>
              <a:ext cx="2765476" cy="50920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53619" tIns="153619" rIns="153619" bIns="153619" numCol="1" spcCol="1270" anchor="ctr" anchorCtr="0">
              <a:noAutofit/>
            </a:bodyPr>
            <a:lstStyle/>
            <a:p>
              <a:pPr defTabSz="751303" fontAlgn="base">
                <a:lnSpc>
                  <a:spcPct val="90000"/>
                </a:lnSpc>
                <a:spcBef>
                  <a:spcPct val="0"/>
                </a:spcBef>
                <a:spcAft>
                  <a:spcPct val="35000"/>
                </a:spcAft>
              </a:pPr>
              <a:endParaRPr lang="tr-TR" sz="2160">
                <a:solidFill>
                  <a:prstClr val="black">
                    <a:hueOff val="0"/>
                    <a:satOff val="0"/>
                    <a:lumOff val="0"/>
                    <a:alphaOff val="0"/>
                  </a:prstClr>
                </a:solidFill>
                <a:latin typeface="Frutiger 45 Light"/>
              </a:endParaRPr>
            </a:p>
          </p:txBody>
        </p:sp>
      </p:grpSp>
      <p:graphicFrame>
        <p:nvGraphicFramePr>
          <p:cNvPr id="29" name="Tablo 28"/>
          <p:cNvGraphicFramePr>
            <a:graphicFrameLocks noGrp="1"/>
          </p:cNvGraphicFramePr>
          <p:nvPr>
            <p:extLst/>
          </p:nvPr>
        </p:nvGraphicFramePr>
        <p:xfrm>
          <a:off x="1217674" y="1182350"/>
          <a:ext cx="10149312" cy="3324680"/>
        </p:xfrm>
        <a:graphic>
          <a:graphicData uri="http://schemas.openxmlformats.org/drawingml/2006/table">
            <a:tbl>
              <a:tblPr firstRow="1" bandRow="1">
                <a:tableStyleId>{5C22544A-7EE6-4342-B048-85BDC9FD1C3A}</a:tableStyleId>
              </a:tblPr>
              <a:tblGrid>
                <a:gridCol w="455310">
                  <a:extLst>
                    <a:ext uri="{9D8B030D-6E8A-4147-A177-3AD203B41FA5}">
                      <a16:colId xmlns:a16="http://schemas.microsoft.com/office/drawing/2014/main" val="20001"/>
                    </a:ext>
                  </a:extLst>
                </a:gridCol>
                <a:gridCol w="9694002">
                  <a:extLst>
                    <a:ext uri="{9D8B030D-6E8A-4147-A177-3AD203B41FA5}">
                      <a16:colId xmlns:a16="http://schemas.microsoft.com/office/drawing/2014/main" val="20002"/>
                    </a:ext>
                  </a:extLst>
                </a:gridCol>
              </a:tblGrid>
              <a:tr h="433654">
                <a:tc>
                  <a:txBody>
                    <a:bodyPr/>
                    <a:lstStyle/>
                    <a:p>
                      <a:r>
                        <a:rPr lang="tr-TR" sz="2000" kern="1200" dirty="0">
                          <a:solidFill>
                            <a:schemeClr val="bg1"/>
                          </a:solidFill>
                          <a:latin typeface="Calibri" panose="020F0502020204030204" pitchFamily="34" charset="0"/>
                          <a:ea typeface="+mn-ea"/>
                          <a:cs typeface="+mn-cs"/>
                        </a:rPr>
                        <a:t>1</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2000" b="0" kern="1200" dirty="0">
                          <a:solidFill>
                            <a:srgbClr val="154E5F"/>
                          </a:solidFill>
                          <a:latin typeface="Calibri" panose="020F0502020204030204" pitchFamily="34" charset="0"/>
                          <a:ea typeface="+mn-ea"/>
                          <a:cs typeface="+mn-cs"/>
                        </a:rPr>
                        <a:t>Büyük Verinin Analitik Yöntemlerle İşlenmesi ve İmalat Sanayinde Kullanımı</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extLst>
                  <a:ext uri="{0D108BD9-81ED-4DB2-BD59-A6C34878D82A}">
                    <a16:rowId xmlns:a16="http://schemas.microsoft.com/office/drawing/2014/main" val="10000"/>
                  </a:ext>
                </a:extLst>
              </a:tr>
              <a:tr h="412670">
                <a:tc>
                  <a:txBody>
                    <a:bodyPr/>
                    <a:lstStyle/>
                    <a:p>
                      <a:pPr marL="0" algn="l" defTabSz="914400" rtl="0" eaLnBrk="1" latinLnBrk="0" hangingPunct="1"/>
                      <a:r>
                        <a:rPr lang="tr-TR" sz="2000" b="1" kern="1200" dirty="0">
                          <a:solidFill>
                            <a:schemeClr val="bg1"/>
                          </a:solidFill>
                          <a:latin typeface="Calibri" panose="020F0502020204030204" pitchFamily="34" charset="0"/>
                          <a:ea typeface="+mn-ea"/>
                          <a:cs typeface="+mn-cs"/>
                        </a:rPr>
                        <a:t>2</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a:txBody>
                    <a:bodyPr/>
                    <a:lstStyle/>
                    <a:p>
                      <a:pPr marL="0" algn="l" defTabSz="914400" rtl="0" eaLnBrk="1" latinLnBrk="0" hangingPunct="1"/>
                      <a:r>
                        <a:rPr lang="tr-TR" sz="2000" kern="1200" dirty="0">
                          <a:solidFill>
                            <a:srgbClr val="154E5F"/>
                          </a:solidFill>
                          <a:latin typeface="Calibri" panose="020F0502020204030204" pitchFamily="34" charset="0"/>
                          <a:ea typeface="+mn-ea"/>
                          <a:cs typeface="+mn-cs"/>
                        </a:rPr>
                        <a:t>İmalat Sanayinde Nesnelerin İnterneti</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extLst>
                  <a:ext uri="{0D108BD9-81ED-4DB2-BD59-A6C34878D82A}">
                    <a16:rowId xmlns:a16="http://schemas.microsoft.com/office/drawing/2014/main" val="10001"/>
                  </a:ext>
                </a:extLst>
              </a:tr>
              <a:tr h="412670">
                <a:tc>
                  <a:txBody>
                    <a:bodyPr/>
                    <a:lstStyle/>
                    <a:p>
                      <a:pPr marL="0" algn="l" defTabSz="914400" rtl="0" eaLnBrk="1" latinLnBrk="0" hangingPunct="1"/>
                      <a:r>
                        <a:rPr lang="tr-TR" sz="2000" b="1" kern="1200" dirty="0">
                          <a:solidFill>
                            <a:schemeClr val="bg1"/>
                          </a:solidFill>
                          <a:latin typeface="Calibri" panose="020F0502020204030204" pitchFamily="34" charset="0"/>
                          <a:ea typeface="+mn-ea"/>
                          <a:cs typeface="+mn-cs"/>
                        </a:rPr>
                        <a:t>3</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2000" kern="1200" dirty="0">
                          <a:solidFill>
                            <a:srgbClr val="154E5F"/>
                          </a:solidFill>
                          <a:latin typeface="Calibri" panose="020F0502020204030204" pitchFamily="34" charset="0"/>
                          <a:ea typeface="+mn-ea"/>
                          <a:cs typeface="+mn-cs"/>
                        </a:rPr>
                        <a:t>İmalat Sanayinde Endüstriyel Robot Teknolojileri </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extLst>
                  <a:ext uri="{0D108BD9-81ED-4DB2-BD59-A6C34878D82A}">
                    <a16:rowId xmlns:a16="http://schemas.microsoft.com/office/drawing/2014/main" val="10002"/>
                  </a:ext>
                </a:extLst>
              </a:tr>
              <a:tr h="412670">
                <a:tc>
                  <a:txBody>
                    <a:bodyPr/>
                    <a:lstStyle/>
                    <a:p>
                      <a:pPr marL="0" algn="l" defTabSz="914400" rtl="0" eaLnBrk="1" latinLnBrk="0" hangingPunct="1"/>
                      <a:r>
                        <a:rPr lang="tr-TR" sz="2000" b="1" kern="1200" dirty="0">
                          <a:solidFill>
                            <a:schemeClr val="bg1"/>
                          </a:solidFill>
                          <a:latin typeface="Calibri" panose="020F0502020204030204" pitchFamily="34" charset="0"/>
                          <a:ea typeface="+mn-ea"/>
                          <a:cs typeface="+mn-cs"/>
                        </a:rPr>
                        <a:t>4</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2000" kern="1200" dirty="0">
                          <a:solidFill>
                            <a:srgbClr val="154E5F"/>
                          </a:solidFill>
                          <a:latin typeface="Calibri" panose="020F0502020204030204" pitchFamily="34" charset="0"/>
                          <a:ea typeface="+mn-ea"/>
                          <a:cs typeface="+mn-cs"/>
                        </a:rPr>
                        <a:t>İmalat Sanayinde Akıllı </a:t>
                      </a:r>
                      <a:r>
                        <a:rPr lang="tr-TR" sz="2000" kern="1200" dirty="0" err="1">
                          <a:solidFill>
                            <a:srgbClr val="154E5F"/>
                          </a:solidFill>
                          <a:latin typeface="Calibri" panose="020F0502020204030204" pitchFamily="34" charset="0"/>
                          <a:ea typeface="+mn-ea"/>
                          <a:cs typeface="+mn-cs"/>
                        </a:rPr>
                        <a:t>Sensör</a:t>
                      </a:r>
                      <a:r>
                        <a:rPr lang="tr-TR" sz="2000" kern="1200" dirty="0">
                          <a:solidFill>
                            <a:srgbClr val="154E5F"/>
                          </a:solidFill>
                          <a:latin typeface="Calibri" panose="020F0502020204030204" pitchFamily="34" charset="0"/>
                          <a:ea typeface="+mn-ea"/>
                          <a:cs typeface="+mn-cs"/>
                        </a:rPr>
                        <a:t> Teknolojileri</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extLst>
                  <a:ext uri="{0D108BD9-81ED-4DB2-BD59-A6C34878D82A}">
                    <a16:rowId xmlns:a16="http://schemas.microsoft.com/office/drawing/2014/main" val="10003"/>
                  </a:ext>
                </a:extLst>
              </a:tr>
              <a:tr h="412670">
                <a:tc>
                  <a:txBody>
                    <a:bodyPr/>
                    <a:lstStyle/>
                    <a:p>
                      <a:pPr marL="0" algn="l" defTabSz="914400" rtl="0" eaLnBrk="1" latinLnBrk="0" hangingPunct="1"/>
                      <a:r>
                        <a:rPr lang="tr-TR" sz="2000" b="1" kern="1200" dirty="0">
                          <a:solidFill>
                            <a:schemeClr val="bg1"/>
                          </a:solidFill>
                          <a:latin typeface="Calibri" panose="020F0502020204030204" pitchFamily="34" charset="0"/>
                          <a:ea typeface="+mn-ea"/>
                          <a:cs typeface="+mn-cs"/>
                        </a:rPr>
                        <a:t>5</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2000" kern="1200" dirty="0">
                          <a:solidFill>
                            <a:srgbClr val="154E5F"/>
                          </a:solidFill>
                          <a:latin typeface="Calibri" panose="020F0502020204030204" pitchFamily="34" charset="0"/>
                          <a:ea typeface="+mn-ea"/>
                          <a:cs typeface="+mn-cs"/>
                        </a:rPr>
                        <a:t>Yapay Zekaya Dayalı Siber Fiziksel Akıllı Fabrika Sistem ve Bileşenleri</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extLst>
                  <a:ext uri="{0D108BD9-81ED-4DB2-BD59-A6C34878D82A}">
                    <a16:rowId xmlns:a16="http://schemas.microsoft.com/office/drawing/2014/main" val="10005"/>
                  </a:ext>
                </a:extLst>
              </a:tr>
              <a:tr h="412670">
                <a:tc>
                  <a:txBody>
                    <a:bodyPr/>
                    <a:lstStyle/>
                    <a:p>
                      <a:pPr marL="0" algn="l" defTabSz="914400" rtl="0" eaLnBrk="1" latinLnBrk="0" hangingPunct="1"/>
                      <a:r>
                        <a:rPr lang="tr-TR" sz="2000" b="1" kern="1200" dirty="0">
                          <a:solidFill>
                            <a:schemeClr val="bg1"/>
                          </a:solidFill>
                          <a:latin typeface="Calibri" panose="020F0502020204030204" pitchFamily="34" charset="0"/>
                          <a:ea typeface="+mn-ea"/>
                          <a:cs typeface="+mn-cs"/>
                        </a:rPr>
                        <a:t>6</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2000" kern="1200" dirty="0">
                          <a:solidFill>
                            <a:srgbClr val="154E5F"/>
                          </a:solidFill>
                          <a:latin typeface="Calibri" panose="020F0502020204030204" pitchFamily="34" charset="0"/>
                          <a:ea typeface="+mn-ea"/>
                          <a:cs typeface="+mn-cs"/>
                        </a:rPr>
                        <a:t>İmalat Sanayinde Siber Güvenlik </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extLst>
                  <a:ext uri="{0D108BD9-81ED-4DB2-BD59-A6C34878D82A}">
                    <a16:rowId xmlns:a16="http://schemas.microsoft.com/office/drawing/2014/main" val="10006"/>
                  </a:ext>
                </a:extLst>
              </a:tr>
              <a:tr h="412670">
                <a:tc>
                  <a:txBody>
                    <a:bodyPr/>
                    <a:lstStyle/>
                    <a:p>
                      <a:pPr marL="0" algn="l" defTabSz="914400" rtl="0" eaLnBrk="1" latinLnBrk="0" hangingPunct="1"/>
                      <a:r>
                        <a:rPr lang="tr-TR" sz="2000" b="1" kern="1200" dirty="0">
                          <a:solidFill>
                            <a:schemeClr val="bg1"/>
                          </a:solidFill>
                          <a:latin typeface="Calibri" panose="020F0502020204030204" pitchFamily="34" charset="0"/>
                          <a:ea typeface="+mn-ea"/>
                          <a:cs typeface="+mn-cs"/>
                        </a:rPr>
                        <a:t>7</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2000" kern="1200" dirty="0">
                          <a:solidFill>
                            <a:srgbClr val="154E5F"/>
                          </a:solidFill>
                          <a:latin typeface="Calibri" panose="020F0502020204030204" pitchFamily="34" charset="0"/>
                          <a:ea typeface="+mn-ea"/>
                          <a:cs typeface="+mn-cs"/>
                        </a:rPr>
                        <a:t>İmalat Sanayinde Akıllı ve Esnek Otomasyon Sistemleri</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extLst>
                  <a:ext uri="{0D108BD9-81ED-4DB2-BD59-A6C34878D82A}">
                    <a16:rowId xmlns:a16="http://schemas.microsoft.com/office/drawing/2014/main" val="10007"/>
                  </a:ext>
                </a:extLst>
              </a:tr>
              <a:tr h="415006">
                <a:tc>
                  <a:txBody>
                    <a:bodyPr/>
                    <a:lstStyle/>
                    <a:p>
                      <a:pPr marL="0" algn="l" defTabSz="914400" rtl="0" eaLnBrk="1" latinLnBrk="0" hangingPunct="1"/>
                      <a:r>
                        <a:rPr lang="tr-TR" sz="2000" b="1" kern="1200" dirty="0">
                          <a:solidFill>
                            <a:schemeClr val="bg1"/>
                          </a:solidFill>
                          <a:latin typeface="Calibri" panose="020F0502020204030204" pitchFamily="34" charset="0"/>
                          <a:ea typeface="+mn-ea"/>
                          <a:cs typeface="+mn-cs"/>
                        </a:rPr>
                        <a:t>8</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2000" kern="1200" dirty="0">
                          <a:solidFill>
                            <a:srgbClr val="154E5F"/>
                          </a:solidFill>
                          <a:latin typeface="Calibri" panose="020F0502020204030204" pitchFamily="34" charset="0"/>
                          <a:ea typeface="+mn-ea"/>
                          <a:cs typeface="+mn-cs"/>
                        </a:rPr>
                        <a:t>İmalat Sanayinde Artırılmış Gerçeklik / Sanal Gerçeklik Teknolojileri</a:t>
                      </a:r>
                    </a:p>
                  </a:txBody>
                  <a:tcPr marL="82597" marR="82597"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15" name="Dikdörtgen 14"/>
          <p:cNvSpPr/>
          <p:nvPr/>
        </p:nvSpPr>
        <p:spPr>
          <a:xfrm>
            <a:off x="1217674" y="751137"/>
            <a:ext cx="161827" cy="207018"/>
          </a:xfrm>
          <a:prstGeom prst="rect">
            <a:avLst/>
          </a:prstGeom>
          <a:solidFill>
            <a:schemeClr val="accent1">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grpSp>
        <p:nvGrpSpPr>
          <p:cNvPr id="14" name="Grup 13"/>
          <p:cNvGrpSpPr/>
          <p:nvPr/>
        </p:nvGrpSpPr>
        <p:grpSpPr>
          <a:xfrm>
            <a:off x="1966159" y="17479"/>
            <a:ext cx="8259714" cy="611777"/>
            <a:chOff x="1501775" y="17412"/>
            <a:chExt cx="9144000" cy="609511"/>
          </a:xfrm>
        </p:grpSpPr>
        <p:sp>
          <p:nvSpPr>
            <p:cNvPr id="16" name="Dikdörtgen 15"/>
            <p:cNvSpPr/>
            <p:nvPr/>
          </p:nvSpPr>
          <p:spPr>
            <a:xfrm>
              <a:off x="1501775" y="581373"/>
              <a:ext cx="9144000" cy="45550"/>
            </a:xfrm>
            <a:prstGeom prst="rect">
              <a:avLst/>
            </a:prstGeom>
            <a:solidFill>
              <a:srgbClr val="336699">
                <a:alpha val="89000"/>
              </a:srgbClr>
            </a:solidFill>
            <a:ln w="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9716" tIns="54857" rIns="109716" bIns="54857" anchor="ctr"/>
            <a:lstStyle/>
            <a:p>
              <a:pPr algn="ctr" defTabSz="1097280" fontAlgn="base">
                <a:spcBef>
                  <a:spcPct val="0"/>
                </a:spcBef>
                <a:spcAft>
                  <a:spcPct val="0"/>
                </a:spcAft>
                <a:defRPr/>
              </a:pPr>
              <a:endParaRPr lang="tr-TR" sz="2160" dirty="0">
                <a:solidFill>
                  <a:prstClr val="white"/>
                </a:solidFill>
                <a:latin typeface="Frutiger 45 Light"/>
              </a:endParaRPr>
            </a:p>
          </p:txBody>
        </p:sp>
        <p:pic>
          <p:nvPicPr>
            <p:cNvPr id="17" name="Picture 3"/>
            <p:cNvPicPr>
              <a:picLocks noChangeAspect="1" noChangeArrowheads="1"/>
            </p:cNvPicPr>
            <p:nvPr/>
          </p:nvPicPr>
          <p:blipFill>
            <a:blip r:embed="rId3" cstate="print"/>
            <a:srcRect/>
            <a:stretch>
              <a:fillRect/>
            </a:stretch>
          </p:blipFill>
          <p:spPr bwMode="auto">
            <a:xfrm>
              <a:off x="9746184" y="44461"/>
              <a:ext cx="720080" cy="507913"/>
            </a:xfrm>
            <a:prstGeom prst="rect">
              <a:avLst/>
            </a:prstGeom>
            <a:noFill/>
            <a:ln w="9525">
              <a:noFill/>
              <a:miter lim="800000"/>
              <a:headEnd/>
              <a:tailEnd/>
            </a:ln>
          </p:spPr>
        </p:pic>
        <p:sp>
          <p:nvSpPr>
            <p:cNvPr id="20" name="3 Metin kutusu"/>
            <p:cNvSpPr txBox="1"/>
            <p:nvPr/>
          </p:nvSpPr>
          <p:spPr>
            <a:xfrm>
              <a:off x="1773513" y="17412"/>
              <a:ext cx="7632849" cy="331168"/>
            </a:xfrm>
            <a:prstGeom prst="rect">
              <a:avLst/>
            </a:prstGeom>
            <a:noFill/>
          </p:spPr>
          <p:txBody>
            <a:bodyPr wrap="square" rtlCol="0">
              <a:spAutoFit/>
            </a:bodyPr>
            <a:lstStyle/>
            <a:p>
              <a:pPr defTabSz="1097280" fontAlgn="base">
                <a:spcBef>
                  <a:spcPct val="0"/>
                </a:spcBef>
                <a:spcAft>
                  <a:spcPct val="0"/>
                </a:spcAft>
              </a:pPr>
              <a:r>
                <a:rPr lang="tr-TR" sz="1560" b="1" dirty="0">
                  <a:solidFill>
                    <a:srgbClr val="3366FF"/>
                  </a:solidFill>
                  <a:latin typeface="Calibri" pitchFamily="34" charset="0"/>
                  <a:ea typeface="ヒラギノ角ゴ Pro W3" pitchFamily="1" charset="-128"/>
                </a:rPr>
                <a:t>KOBİGEL - KOBİ GELİŞİM DESTEK PROGRAMI |</a:t>
              </a:r>
            </a:p>
          </p:txBody>
        </p:sp>
      </p:grpSp>
      <p:sp>
        <p:nvSpPr>
          <p:cNvPr id="38" name="Metin kutusu 37"/>
          <p:cNvSpPr txBox="1"/>
          <p:nvPr/>
        </p:nvSpPr>
        <p:spPr>
          <a:xfrm>
            <a:off x="1152629" y="4552325"/>
            <a:ext cx="10214357" cy="1874290"/>
          </a:xfrm>
          <a:prstGeom prst="rect">
            <a:avLst/>
          </a:prstGeom>
          <a:noFill/>
        </p:spPr>
        <p:txBody>
          <a:bodyPr wrap="square" lIns="85864" tIns="42931" rIns="85864" bIns="42931" rtlCol="0">
            <a:noAutofit/>
          </a:bodyPr>
          <a:lstStyle/>
          <a:p>
            <a:pPr algn="just" defTabSz="1097280" fontAlgn="base">
              <a:buClr>
                <a:srgbClr val="52AADF"/>
              </a:buClr>
              <a:buSzPct val="125000"/>
            </a:pPr>
            <a:r>
              <a:rPr lang="tr-TR" sz="2040" b="1" dirty="0">
                <a:solidFill>
                  <a:srgbClr val="FF0000"/>
                </a:solidFill>
                <a:latin typeface="Calibri" pitchFamily="34" charset="0"/>
                <a:ea typeface="ヒラギノ角ゴ Pro W3" pitchFamily="1" charset="-128"/>
              </a:rPr>
              <a:t>Çağrı 2020.01: </a:t>
            </a:r>
            <a:r>
              <a:rPr lang="tr-TR" sz="2040" dirty="0">
                <a:solidFill>
                  <a:srgbClr val="3366FF"/>
                </a:solidFill>
                <a:latin typeface="Calibri" pitchFamily="34" charset="0"/>
                <a:ea typeface="ヒラギノ角ゴ Pro W3" pitchFamily="1" charset="-128"/>
              </a:rPr>
              <a:t>Teknoloji tedarikçisi KOBİ</a:t>
            </a:r>
            <a:r>
              <a:rPr lang="tr-TR" sz="2040" dirty="0">
                <a:solidFill>
                  <a:prstClr val="black"/>
                </a:solidFill>
                <a:latin typeface="Calibri" pitchFamily="34" charset="0"/>
                <a:ea typeface="ヒラギノ角ゴ Pro W3" pitchFamily="1" charset="-128"/>
              </a:rPr>
              <a:t>’ler; imalat sanayi sektörüyle ilişkili 8 akıllı dijital teknolojiden en az birini içeren </a:t>
            </a:r>
            <a:r>
              <a:rPr lang="tr-TR" sz="2040" dirty="0">
                <a:solidFill>
                  <a:srgbClr val="3366FF"/>
                </a:solidFill>
                <a:latin typeface="Calibri" pitchFamily="34" charset="0"/>
                <a:ea typeface="ヒラギノ角ゴ Pro W3" pitchFamily="1" charset="-128"/>
              </a:rPr>
              <a:t>ürün / yazılımlarında katma değer arttırıcı iyileştirmeler yapmak</a:t>
            </a:r>
            <a:r>
              <a:rPr lang="tr-TR" sz="2040" dirty="0">
                <a:solidFill>
                  <a:prstClr val="black"/>
                </a:solidFill>
                <a:latin typeface="Calibri" pitchFamily="34" charset="0"/>
                <a:ea typeface="ヒラギノ角ゴ Pro W3" pitchFamily="1" charset="-128"/>
              </a:rPr>
              <a:t> ve/veya </a:t>
            </a:r>
            <a:r>
              <a:rPr lang="tr-TR" sz="2040" dirty="0">
                <a:solidFill>
                  <a:srgbClr val="3366FF"/>
                </a:solidFill>
                <a:latin typeface="Calibri" pitchFamily="34" charset="0"/>
                <a:ea typeface="ヒラギノ角ゴ Pro W3" pitchFamily="1" charset="-128"/>
              </a:rPr>
              <a:t>geliştirdikleri</a:t>
            </a:r>
            <a:r>
              <a:rPr lang="tr-TR" sz="2040" dirty="0">
                <a:solidFill>
                  <a:prstClr val="black"/>
                </a:solidFill>
                <a:latin typeface="Calibri" pitchFamily="34" charset="0"/>
                <a:ea typeface="ヒラギノ角ゴ Pro W3" pitchFamily="1" charset="-128"/>
              </a:rPr>
              <a:t> </a:t>
            </a:r>
            <a:r>
              <a:rPr lang="tr-TR" sz="2040" dirty="0">
                <a:solidFill>
                  <a:srgbClr val="3366FF"/>
                </a:solidFill>
                <a:latin typeface="Calibri" pitchFamily="34" charset="0"/>
                <a:ea typeface="ヒラギノ角ゴ Pro W3" pitchFamily="1" charset="-128"/>
              </a:rPr>
              <a:t>ürün / yazılımlarını ticarileştirmek</a:t>
            </a:r>
            <a:r>
              <a:rPr lang="tr-TR" sz="2040" dirty="0">
                <a:solidFill>
                  <a:prstClr val="black"/>
                </a:solidFill>
                <a:latin typeface="Calibri" pitchFamily="34" charset="0"/>
                <a:ea typeface="ヒラギノ角ゴ Pro W3" pitchFamily="1" charset="-128"/>
              </a:rPr>
              <a:t> için proje sunabilmektedir.</a:t>
            </a:r>
          </a:p>
          <a:p>
            <a:pPr algn="just" defTabSz="1097280" fontAlgn="base">
              <a:buClr>
                <a:srgbClr val="52AADF"/>
              </a:buClr>
              <a:buSzPct val="125000"/>
            </a:pPr>
            <a:endParaRPr lang="tr-TR" sz="960" dirty="0">
              <a:solidFill>
                <a:prstClr val="black"/>
              </a:solidFill>
              <a:latin typeface="Calibri" pitchFamily="34" charset="0"/>
              <a:ea typeface="ヒラギノ角ゴ Pro W3" pitchFamily="1" charset="-128"/>
            </a:endParaRPr>
          </a:p>
          <a:p>
            <a:pPr algn="just" defTabSz="1097280" fontAlgn="base">
              <a:buClr>
                <a:srgbClr val="52AADF"/>
              </a:buClr>
              <a:buSzPct val="125000"/>
            </a:pPr>
            <a:r>
              <a:rPr lang="tr-TR" sz="2040" b="1" dirty="0">
                <a:solidFill>
                  <a:srgbClr val="FF0000"/>
                </a:solidFill>
                <a:latin typeface="Calibri" pitchFamily="34" charset="0"/>
                <a:ea typeface="ヒラギノ角ゴ Pro W3" pitchFamily="1" charset="-128"/>
              </a:rPr>
              <a:t>Çağrı 2020.02: </a:t>
            </a:r>
            <a:r>
              <a:rPr lang="tr-TR" sz="2040" dirty="0">
                <a:solidFill>
                  <a:srgbClr val="3366FF"/>
                </a:solidFill>
                <a:latin typeface="Calibri" pitchFamily="34" charset="0"/>
                <a:ea typeface="ヒラギノ角ゴ Pro W3" pitchFamily="1" charset="-128"/>
              </a:rPr>
              <a:t>İmalat sanayi sektöründeki KOBİ</a:t>
            </a:r>
            <a:r>
              <a:rPr lang="tr-TR" sz="2040" dirty="0">
                <a:solidFill>
                  <a:prstClr val="black"/>
                </a:solidFill>
                <a:latin typeface="Calibri" pitchFamily="34" charset="0"/>
                <a:ea typeface="ヒラギノ角ゴ Pro W3" pitchFamily="1" charset="-128"/>
              </a:rPr>
              <a:t>’ler, imalat sanayi sektörüyle ilişkili 8 akıllı dijital teknolojiden en az birini </a:t>
            </a:r>
            <a:r>
              <a:rPr lang="tr-TR" sz="2040" dirty="0">
                <a:solidFill>
                  <a:srgbClr val="3366FF"/>
                </a:solidFill>
                <a:latin typeface="Calibri" pitchFamily="34" charset="0"/>
                <a:ea typeface="ヒラギノ角ゴ Pro W3" pitchFamily="1" charset="-128"/>
              </a:rPr>
              <a:t>üretim ve ilişkili iş süreçlerine adapte etmek </a:t>
            </a:r>
            <a:r>
              <a:rPr lang="tr-TR" sz="2040" dirty="0">
                <a:solidFill>
                  <a:prstClr val="black"/>
                </a:solidFill>
                <a:latin typeface="Calibri" pitchFamily="34" charset="0"/>
                <a:ea typeface="ヒラギノ角ゴ Pro W3" pitchFamily="1" charset="-128"/>
              </a:rPr>
              <a:t>için proje sunabilmektedir.</a:t>
            </a:r>
          </a:p>
        </p:txBody>
      </p:sp>
      <p:grpSp>
        <p:nvGrpSpPr>
          <p:cNvPr id="21" name="Grup 20"/>
          <p:cNvGrpSpPr/>
          <p:nvPr/>
        </p:nvGrpSpPr>
        <p:grpSpPr>
          <a:xfrm>
            <a:off x="1966190" y="17479"/>
            <a:ext cx="8259714" cy="611777"/>
            <a:chOff x="1501775" y="17412"/>
            <a:chExt cx="9144000" cy="609511"/>
          </a:xfrm>
        </p:grpSpPr>
        <p:sp>
          <p:nvSpPr>
            <p:cNvPr id="23" name="Dikdörtgen 22"/>
            <p:cNvSpPr/>
            <p:nvPr/>
          </p:nvSpPr>
          <p:spPr>
            <a:xfrm>
              <a:off x="1501775" y="581373"/>
              <a:ext cx="9144000" cy="45550"/>
            </a:xfrm>
            <a:prstGeom prst="rect">
              <a:avLst/>
            </a:prstGeom>
            <a:solidFill>
              <a:srgbClr val="336699">
                <a:alpha val="89000"/>
              </a:srgbClr>
            </a:solidFill>
            <a:ln w="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9716" tIns="54857" rIns="109716" bIns="54857" anchor="ctr"/>
            <a:lstStyle/>
            <a:p>
              <a:pPr algn="ctr" defTabSz="1097280" fontAlgn="base">
                <a:spcBef>
                  <a:spcPct val="0"/>
                </a:spcBef>
                <a:spcAft>
                  <a:spcPct val="0"/>
                </a:spcAft>
                <a:defRPr/>
              </a:pPr>
              <a:endParaRPr lang="tr-TR" sz="2160" dirty="0">
                <a:solidFill>
                  <a:prstClr val="white"/>
                </a:solidFill>
                <a:latin typeface="Frutiger 45 Light"/>
              </a:endParaRPr>
            </a:p>
          </p:txBody>
        </p:sp>
        <p:pic>
          <p:nvPicPr>
            <p:cNvPr id="25" name="Picture 3"/>
            <p:cNvPicPr>
              <a:picLocks noChangeAspect="1" noChangeArrowheads="1"/>
            </p:cNvPicPr>
            <p:nvPr/>
          </p:nvPicPr>
          <p:blipFill>
            <a:blip r:embed="rId3" cstate="print"/>
            <a:srcRect/>
            <a:stretch>
              <a:fillRect/>
            </a:stretch>
          </p:blipFill>
          <p:spPr bwMode="auto">
            <a:xfrm>
              <a:off x="9746184" y="44461"/>
              <a:ext cx="720080" cy="507913"/>
            </a:xfrm>
            <a:prstGeom prst="rect">
              <a:avLst/>
            </a:prstGeom>
            <a:noFill/>
            <a:ln w="9525">
              <a:noFill/>
              <a:miter lim="800000"/>
              <a:headEnd/>
              <a:tailEnd/>
            </a:ln>
          </p:spPr>
        </p:pic>
        <p:sp>
          <p:nvSpPr>
            <p:cNvPr id="28" name="3 Metin kutusu"/>
            <p:cNvSpPr txBox="1"/>
            <p:nvPr/>
          </p:nvSpPr>
          <p:spPr>
            <a:xfrm>
              <a:off x="1773513" y="17412"/>
              <a:ext cx="7632849" cy="331168"/>
            </a:xfrm>
            <a:prstGeom prst="rect">
              <a:avLst/>
            </a:prstGeom>
            <a:noFill/>
          </p:spPr>
          <p:txBody>
            <a:bodyPr wrap="square" rtlCol="0">
              <a:spAutoFit/>
            </a:bodyPr>
            <a:lstStyle/>
            <a:p>
              <a:pPr defTabSz="1097280" fontAlgn="base">
                <a:spcBef>
                  <a:spcPct val="0"/>
                </a:spcBef>
                <a:spcAft>
                  <a:spcPct val="0"/>
                </a:spcAft>
              </a:pPr>
              <a:r>
                <a:rPr lang="tr-TR" sz="1560" b="1" dirty="0">
                  <a:solidFill>
                    <a:srgbClr val="3366FF"/>
                  </a:solidFill>
                  <a:latin typeface="Calibri" pitchFamily="34" charset="0"/>
                  <a:ea typeface="ヒラギノ角ゴ Pro W3" pitchFamily="1" charset="-128"/>
                </a:rPr>
                <a:t>KOBİGEL - KOBİ GELİŞİM DESTEK PROGRAMI |</a:t>
              </a:r>
            </a:p>
          </p:txBody>
        </p:sp>
      </p:grpSp>
      <p:sp>
        <p:nvSpPr>
          <p:cNvPr id="30" name="3 Metin kutusu"/>
          <p:cNvSpPr txBox="1"/>
          <p:nvPr/>
        </p:nvSpPr>
        <p:spPr>
          <a:xfrm>
            <a:off x="6009593" y="32048"/>
            <a:ext cx="3447350" cy="590887"/>
          </a:xfrm>
          <a:prstGeom prst="rect">
            <a:avLst/>
          </a:prstGeom>
          <a:noFill/>
        </p:spPr>
        <p:txBody>
          <a:bodyPr wrap="square" lIns="109685" tIns="54842" rIns="109685" bIns="54842" rtlCol="0">
            <a:spAutoFit/>
          </a:bodyPr>
          <a:lstStyle/>
          <a:p>
            <a:pPr defTabSz="1097280" fontAlgn="base">
              <a:spcBef>
                <a:spcPct val="0"/>
              </a:spcBef>
              <a:spcAft>
                <a:spcPct val="0"/>
              </a:spcAft>
            </a:pPr>
            <a:r>
              <a:rPr lang="tr-TR" sz="1560" b="1" dirty="0">
                <a:solidFill>
                  <a:srgbClr val="FF0000"/>
                </a:solidFill>
                <a:latin typeface="Calibri" pitchFamily="34" charset="0"/>
                <a:ea typeface="ヒラギノ角ゴ Pro W3" pitchFamily="1" charset="-128"/>
              </a:rPr>
              <a:t>İmalat Sanayi Sektöründe Dijitalleşme Proje Teklif Çağrısı</a:t>
            </a:r>
          </a:p>
        </p:txBody>
      </p:sp>
      <p:sp>
        <p:nvSpPr>
          <p:cNvPr id="31" name="Slayt Numarası Yer Tutucusu 1"/>
          <p:cNvSpPr>
            <a:spLocks noGrp="1"/>
          </p:cNvSpPr>
          <p:nvPr>
            <p:ph type="sldNum" sz="quarter" idx="12"/>
          </p:nvPr>
        </p:nvSpPr>
        <p:spPr/>
        <p:txBody>
          <a:bodyPr/>
          <a:lstStyle/>
          <a:p>
            <a:pPr defTabSz="1097280">
              <a:defRPr/>
            </a:pPr>
            <a:fld id="{FF16F97C-866D-4F85-A1F6-DDF39F62CB6A}" type="slidenum">
              <a:rPr lang="en-CA">
                <a:solidFill>
                  <a:prstClr val="black"/>
                </a:solidFill>
                <a:latin typeface="Calibri" panose="020F0502020204030204" pitchFamily="34" charset="0"/>
                <a:ea typeface="ヒラギノ角ゴ Pro W3" pitchFamily="1" charset="-128"/>
              </a:rPr>
              <a:pPr defTabSz="1097280">
                <a:defRPr/>
              </a:pPr>
              <a:t>68</a:t>
            </a:fld>
            <a:endParaRPr lang="en-CA" dirty="0">
              <a:solidFill>
                <a:prstClr val="black"/>
              </a:solidFill>
              <a:latin typeface="Calibri" panose="020F0502020204030204" pitchFamily="34" charset="0"/>
              <a:ea typeface="ヒラギノ角ゴ Pro W3" pitchFamily="1" charset="-128"/>
            </a:endParaRPr>
          </a:p>
        </p:txBody>
      </p:sp>
    </p:spTree>
    <p:extLst>
      <p:ext uri="{BB962C8B-B14F-4D97-AF65-F5344CB8AC3E}">
        <p14:creationId xmlns:p14="http://schemas.microsoft.com/office/powerpoint/2010/main" val="42335507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1 Başlık"/>
          <p:cNvSpPr>
            <a:spLocks noGrp="1"/>
          </p:cNvSpPr>
          <p:nvPr>
            <p:ph type="ctrTitle"/>
          </p:nvPr>
        </p:nvSpPr>
        <p:spPr>
          <a:xfrm>
            <a:off x="2195353" y="2130430"/>
            <a:ext cx="7801294" cy="1470025"/>
          </a:xfrm>
        </p:spPr>
        <p:txBody>
          <a:bodyPr/>
          <a:lstStyle/>
          <a:p>
            <a:pPr eaLnBrk="1" hangingPunct="1"/>
            <a:r>
              <a:rPr lang="tr-TR" dirty="0" smtClean="0"/>
              <a:t> </a:t>
            </a:r>
          </a:p>
        </p:txBody>
      </p:sp>
      <p:sp>
        <p:nvSpPr>
          <p:cNvPr id="18436" name="6 Metin kutusu"/>
          <p:cNvSpPr txBox="1">
            <a:spLocks noChangeArrowheads="1"/>
          </p:cNvSpPr>
          <p:nvPr/>
        </p:nvSpPr>
        <p:spPr bwMode="auto">
          <a:xfrm>
            <a:off x="2662830" y="2032506"/>
            <a:ext cx="7866014" cy="5251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810" b="1" i="0" u="none" strike="noStrike" kern="1200" cap="none" spc="0" normalizeH="0" baseline="0" noProof="0" dirty="0">
                <a:ln>
                  <a:noFill/>
                </a:ln>
                <a:solidFill>
                  <a:srgbClr val="FFFFFF"/>
                </a:solidFill>
                <a:effectLst/>
                <a:uLnTx/>
                <a:uFillTx/>
                <a:latin typeface="Roboto Light"/>
                <a:ea typeface="+mn-ea"/>
                <a:cs typeface="+mn-cs"/>
              </a:rPr>
              <a:t>KOSGEB GİRİŞİMCİLİK DESTEKLERİ</a:t>
            </a:r>
          </a:p>
        </p:txBody>
      </p:sp>
      <p:sp>
        <p:nvSpPr>
          <p:cNvPr id="18437" name="7 Metin kutusu"/>
          <p:cNvSpPr txBox="1">
            <a:spLocks noChangeArrowheads="1"/>
          </p:cNvSpPr>
          <p:nvPr/>
        </p:nvSpPr>
        <p:spPr bwMode="auto">
          <a:xfrm>
            <a:off x="3890732" y="3422649"/>
            <a:ext cx="6794264" cy="338554"/>
          </a:xfrm>
          <a:prstGeom prst="rect">
            <a:avLst/>
          </a:prstGeom>
          <a:noFill/>
          <a:ln w="9525">
            <a:noFill/>
            <a:miter lim="800000"/>
            <a:headEnd/>
            <a:tailEnd/>
          </a:ln>
        </p:spPr>
        <p:txBody>
          <a:bodyP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606" b="1" i="0" u="none" strike="noStrike" kern="1200" cap="none" spc="0" normalizeH="0" baseline="0" noProof="0" dirty="0">
                <a:ln>
                  <a:noFill/>
                </a:ln>
                <a:solidFill>
                  <a:srgbClr val="FFFFFF"/>
                </a:solidFill>
                <a:effectLst/>
                <a:uLnTx/>
                <a:uFillTx/>
                <a:latin typeface="Arial" charset="0"/>
                <a:ea typeface="+mn-ea"/>
                <a:cs typeface="Arial" charset="0"/>
              </a:rPr>
              <a:t> Eylül 2020</a:t>
            </a:r>
          </a:p>
        </p:txBody>
      </p:sp>
      <p:pic>
        <p:nvPicPr>
          <p:cNvPr id="8" name="Resim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8717548" cy="4741817"/>
          </a:xfrm>
          <a:prstGeom prst="rect">
            <a:avLst/>
          </a:prstGeom>
        </p:spPr>
      </p:pic>
      <p:sp>
        <p:nvSpPr>
          <p:cNvPr id="6" name="Dikdörtgen 5"/>
          <p:cNvSpPr/>
          <p:nvPr/>
        </p:nvSpPr>
        <p:spPr>
          <a:xfrm>
            <a:off x="3147934" y="3309614"/>
            <a:ext cx="9044066" cy="3650105"/>
          </a:xfrm>
          <a:prstGeom prst="rect">
            <a:avLst/>
          </a:prstGeom>
          <a:solidFill>
            <a:schemeClr val="tx2">
              <a:lumMod val="50000"/>
              <a:alpha val="9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4400" b="0" i="0" u="none" strike="noStrike" kern="1200" cap="none" spc="0" normalizeH="0" baseline="0" noProof="0" dirty="0" smtClean="0">
                <a:ln>
                  <a:noFill/>
                </a:ln>
                <a:solidFill>
                  <a:prstClr val="white"/>
                </a:solidFill>
                <a:effectLst/>
                <a:uLnTx/>
                <a:uFillTx/>
                <a:latin typeface="Roboto Black"/>
                <a:ea typeface="+mn-ea"/>
                <a:cs typeface="+mn-cs"/>
              </a:rPr>
              <a:t>İŞBİRLİĞİ DESTEK PROGRAMI</a:t>
            </a:r>
            <a:endParaRPr kumimoji="0" lang="en-US" sz="4400" b="0" i="0" u="none" strike="noStrike" kern="1200" cap="none" spc="0" normalizeH="0" baseline="0" noProof="0" dirty="0">
              <a:ln>
                <a:noFill/>
              </a:ln>
              <a:solidFill>
                <a:prstClr val="white"/>
              </a:solidFill>
              <a:effectLst/>
              <a:uLnTx/>
              <a:uFillTx/>
              <a:latin typeface="Roboto Black"/>
              <a:ea typeface="+mn-ea"/>
              <a:cs typeface="+mn-cs"/>
            </a:endParaRPr>
          </a:p>
        </p:txBody>
      </p:sp>
    </p:spTree>
    <p:extLst>
      <p:ext uri="{BB962C8B-B14F-4D97-AF65-F5344CB8AC3E}">
        <p14:creationId xmlns:p14="http://schemas.microsoft.com/office/powerpoint/2010/main" val="1063200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8717548" cy="4741817"/>
          </a:xfrm>
          <a:prstGeom prst="rect">
            <a:avLst/>
          </a:prstGeom>
        </p:spPr>
      </p:pic>
      <p:sp>
        <p:nvSpPr>
          <p:cNvPr id="4" name="Dikdörtgen 3"/>
          <p:cNvSpPr/>
          <p:nvPr/>
        </p:nvSpPr>
        <p:spPr>
          <a:xfrm>
            <a:off x="3147935" y="3207895"/>
            <a:ext cx="9044066" cy="3650105"/>
          </a:xfrm>
          <a:prstGeom prst="rect">
            <a:avLst/>
          </a:prstGeom>
          <a:solidFill>
            <a:schemeClr val="tx2">
              <a:lumMod val="50000"/>
              <a:alpha val="9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7" name="Picture 3"/>
          <p:cNvPicPr>
            <a:picLocks noChangeAspect="1" noChangeArrowheads="1"/>
          </p:cNvPicPr>
          <p:nvPr/>
        </p:nvPicPr>
        <p:blipFill>
          <a:blip r:embed="rId4" cstate="print"/>
          <a:srcRect/>
          <a:stretch>
            <a:fillRect/>
          </a:stretch>
        </p:blipFill>
        <p:spPr bwMode="auto">
          <a:xfrm>
            <a:off x="10938190" y="332996"/>
            <a:ext cx="960106" cy="677217"/>
          </a:xfrm>
          <a:prstGeom prst="rect">
            <a:avLst/>
          </a:prstGeom>
          <a:noFill/>
          <a:ln w="9525">
            <a:noFill/>
            <a:miter lim="800000"/>
            <a:headEnd/>
            <a:tailEnd/>
          </a:ln>
        </p:spPr>
      </p:pic>
      <p:sp>
        <p:nvSpPr>
          <p:cNvPr id="6" name="Slayt Numarası Yer Tutucusu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Dikdörtgen 4"/>
          <p:cNvSpPr/>
          <p:nvPr/>
        </p:nvSpPr>
        <p:spPr>
          <a:xfrm>
            <a:off x="4766874" y="4050188"/>
            <a:ext cx="6396170" cy="21698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45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AR-GE</a:t>
            </a:r>
            <a:r>
              <a:rPr kumimoji="0" lang="tr-TR" sz="45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ÜR-GE</a:t>
            </a:r>
            <a:r>
              <a:rPr kumimoji="0" lang="sv-SE" sz="45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VE İNOVASYON DESTEK PROGRAMI</a:t>
            </a:r>
          </a:p>
        </p:txBody>
      </p:sp>
    </p:spTree>
    <p:extLst>
      <p:ext uri="{BB962C8B-B14F-4D97-AF65-F5344CB8AC3E}">
        <p14:creationId xmlns:p14="http://schemas.microsoft.com/office/powerpoint/2010/main" val="2725028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2"/>
          </p:nvPr>
        </p:nvSpPr>
        <p:spPr>
          <a:xfrm>
            <a:off x="8704272" y="6041318"/>
            <a:ext cx="2560320" cy="365125"/>
          </a:xfrm>
        </p:spPr>
        <p:txBody>
          <a:bodyPr/>
          <a:lstStyle/>
          <a:p>
            <a:pPr defTabSz="1097280" fontAlgn="base">
              <a:spcBef>
                <a:spcPct val="0"/>
              </a:spcBef>
              <a:spcAft>
                <a:spcPct val="0"/>
              </a:spcAft>
              <a:defRPr/>
            </a:pPr>
            <a:fld id="{FF16F97C-866D-4F85-A1F6-DDF39F62CB6A}" type="slidenum">
              <a:rPr lang="en-CA">
                <a:solidFill>
                  <a:prstClr val="black">
                    <a:tint val="75000"/>
                  </a:prstClr>
                </a:solidFill>
                <a:latin typeface="Calibri" pitchFamily="34" charset="0"/>
                <a:ea typeface="ヒラギノ角ゴ Pro W3" pitchFamily="1" charset="-128"/>
              </a:rPr>
              <a:pPr defTabSz="1097280" fontAlgn="base">
                <a:spcBef>
                  <a:spcPct val="0"/>
                </a:spcBef>
                <a:spcAft>
                  <a:spcPct val="0"/>
                </a:spcAft>
                <a:defRPr/>
              </a:pPr>
              <a:t>70</a:t>
            </a:fld>
            <a:endParaRPr lang="en-CA" dirty="0">
              <a:solidFill>
                <a:prstClr val="black">
                  <a:tint val="75000"/>
                </a:prstClr>
              </a:solidFill>
              <a:latin typeface="Calibri" pitchFamily="34" charset="0"/>
              <a:ea typeface="ヒラギノ角ゴ Pro W3" pitchFamily="1" charset="-128"/>
            </a:endParaRPr>
          </a:p>
        </p:txBody>
      </p:sp>
      <p:sp>
        <p:nvSpPr>
          <p:cNvPr id="36" name="Yuvarlatılmış Dikdörtgen 35"/>
          <p:cNvSpPr/>
          <p:nvPr/>
        </p:nvSpPr>
        <p:spPr>
          <a:xfrm>
            <a:off x="900705" y="3568461"/>
            <a:ext cx="4406890" cy="3258844"/>
          </a:xfrm>
          <a:prstGeom prst="roundRect">
            <a:avLst/>
          </a:prstGeom>
          <a:ln/>
        </p:spPr>
        <p:style>
          <a:lnRef idx="1">
            <a:schemeClr val="accent1"/>
          </a:lnRef>
          <a:fillRef idx="2">
            <a:schemeClr val="accent1"/>
          </a:fillRef>
          <a:effectRef idx="1">
            <a:schemeClr val="accent1"/>
          </a:effectRef>
          <a:fontRef idx="minor">
            <a:schemeClr val="dk1"/>
          </a:fontRef>
        </p:style>
        <p:txBody>
          <a:bodyPr lIns="118146" tIns="59072" rIns="118146" bIns="59072" rtlCol="0" anchor="ctr"/>
          <a:lstStyle/>
          <a:p>
            <a:pPr defTabSz="1097150"/>
            <a:endParaRPr lang="tr-TR" sz="1560" dirty="0">
              <a:solidFill>
                <a:prstClr val="black"/>
              </a:solidFill>
              <a:latin typeface="Calibri"/>
            </a:endParaRPr>
          </a:p>
        </p:txBody>
      </p:sp>
      <p:sp>
        <p:nvSpPr>
          <p:cNvPr id="37" name="Yuvarlatılmış Dikdörtgen 36"/>
          <p:cNvSpPr/>
          <p:nvPr/>
        </p:nvSpPr>
        <p:spPr>
          <a:xfrm>
            <a:off x="5479357" y="2987286"/>
            <a:ext cx="5719901" cy="3873484"/>
          </a:xfrm>
          <a:prstGeom prst="roundRect">
            <a:avLst/>
          </a:prstGeom>
          <a:ln/>
        </p:spPr>
        <p:style>
          <a:lnRef idx="1">
            <a:schemeClr val="accent1"/>
          </a:lnRef>
          <a:fillRef idx="2">
            <a:schemeClr val="accent1"/>
          </a:fillRef>
          <a:effectRef idx="1">
            <a:schemeClr val="accent1"/>
          </a:effectRef>
          <a:fontRef idx="minor">
            <a:schemeClr val="dk1"/>
          </a:fontRef>
        </p:style>
        <p:txBody>
          <a:bodyPr lIns="118146" tIns="59072" rIns="118146" bIns="59072" rtlCol="0" anchor="ctr"/>
          <a:lstStyle/>
          <a:p>
            <a:pPr algn="ctr" defTabSz="1097150"/>
            <a:endParaRPr lang="tr-TR" sz="2160" b="1" dirty="0">
              <a:solidFill>
                <a:prstClr val="black"/>
              </a:solidFill>
              <a:latin typeface="Calibri"/>
            </a:endParaRPr>
          </a:p>
          <a:p>
            <a:pPr algn="ctr" defTabSz="1097150"/>
            <a:endParaRPr lang="tr-TR" sz="2160" b="1" dirty="0">
              <a:solidFill>
                <a:prstClr val="black"/>
              </a:solidFill>
              <a:latin typeface="Calibri"/>
            </a:endParaRPr>
          </a:p>
          <a:p>
            <a:pPr defTabSz="1097150"/>
            <a:endParaRPr lang="tr-TR" sz="1560" dirty="0">
              <a:solidFill>
                <a:prstClr val="black"/>
              </a:solidFill>
              <a:latin typeface="Calibri"/>
            </a:endParaRPr>
          </a:p>
        </p:txBody>
      </p:sp>
      <p:sp>
        <p:nvSpPr>
          <p:cNvPr id="43" name="Yuvarlatılmış Dikdörtgen 42"/>
          <p:cNvSpPr/>
          <p:nvPr/>
        </p:nvSpPr>
        <p:spPr>
          <a:xfrm>
            <a:off x="844367" y="1260762"/>
            <a:ext cx="4428298" cy="2235241"/>
          </a:xfrm>
          <a:prstGeom prst="roundRect">
            <a:avLst/>
          </a:prstGeom>
          <a:ln/>
        </p:spPr>
        <p:style>
          <a:lnRef idx="1">
            <a:schemeClr val="accent1"/>
          </a:lnRef>
          <a:fillRef idx="2">
            <a:schemeClr val="accent1"/>
          </a:fillRef>
          <a:effectRef idx="1">
            <a:schemeClr val="accent1"/>
          </a:effectRef>
          <a:fontRef idx="minor">
            <a:schemeClr val="dk1"/>
          </a:fontRef>
        </p:style>
        <p:txBody>
          <a:bodyPr lIns="118146" tIns="59072" rIns="118146" bIns="59072" rtlCol="0" anchor="ctr"/>
          <a:lstStyle/>
          <a:p>
            <a:pPr defTabSz="1097150"/>
            <a:r>
              <a:rPr lang="tr-TR" sz="1560" dirty="0">
                <a:solidFill>
                  <a:prstClr val="black"/>
                </a:solidFill>
                <a:latin typeface="Calibri"/>
              </a:rPr>
              <a:t> </a:t>
            </a:r>
          </a:p>
        </p:txBody>
      </p:sp>
      <p:sp>
        <p:nvSpPr>
          <p:cNvPr id="44" name="Yuvarlatılmış Dikdörtgen 43"/>
          <p:cNvSpPr/>
          <p:nvPr/>
        </p:nvSpPr>
        <p:spPr>
          <a:xfrm>
            <a:off x="5586663" y="162935"/>
            <a:ext cx="5479150" cy="2425123"/>
          </a:xfrm>
          <a:prstGeom prst="roundRect">
            <a:avLst/>
          </a:prstGeom>
          <a:ln/>
        </p:spPr>
        <p:style>
          <a:lnRef idx="1">
            <a:schemeClr val="accent1"/>
          </a:lnRef>
          <a:fillRef idx="2">
            <a:schemeClr val="accent1"/>
          </a:fillRef>
          <a:effectRef idx="1">
            <a:schemeClr val="accent1"/>
          </a:effectRef>
          <a:fontRef idx="minor">
            <a:schemeClr val="dk1"/>
          </a:fontRef>
        </p:style>
        <p:txBody>
          <a:bodyPr lIns="118146" tIns="59072" rIns="118146" bIns="59072" rtlCol="0" anchor="ctr"/>
          <a:lstStyle/>
          <a:p>
            <a:pPr algn="ctr" defTabSz="1097150"/>
            <a:r>
              <a:rPr lang="tr-TR" sz="2160" b="1" dirty="0">
                <a:solidFill>
                  <a:srgbClr val="FF3300"/>
                </a:solidFill>
                <a:latin typeface="Calibri"/>
              </a:rPr>
              <a:t>   </a:t>
            </a:r>
          </a:p>
        </p:txBody>
      </p:sp>
      <p:sp>
        <p:nvSpPr>
          <p:cNvPr id="46" name="Metin kutusu 45"/>
          <p:cNvSpPr txBox="1"/>
          <p:nvPr/>
        </p:nvSpPr>
        <p:spPr>
          <a:xfrm>
            <a:off x="1442960" y="1373900"/>
            <a:ext cx="3345444" cy="451696"/>
          </a:xfrm>
          <a:prstGeom prst="rect">
            <a:avLst/>
          </a:prstGeom>
        </p:spPr>
        <p:style>
          <a:lnRef idx="2">
            <a:schemeClr val="accent1"/>
          </a:lnRef>
          <a:fillRef idx="1">
            <a:schemeClr val="lt1"/>
          </a:fillRef>
          <a:effectRef idx="0">
            <a:schemeClr val="accent1"/>
          </a:effectRef>
          <a:fontRef idx="minor">
            <a:schemeClr val="dk1"/>
          </a:fontRef>
        </p:style>
        <p:txBody>
          <a:bodyPr wrap="square" lIns="118146" tIns="59072" rIns="118146" bIns="59072" rtlCol="0">
            <a:spAutoFit/>
          </a:bodyPr>
          <a:lstStyle/>
          <a:p>
            <a:pPr defTabSz="1097150"/>
            <a:r>
              <a:rPr lang="tr-TR" sz="2160" b="1" dirty="0">
                <a:solidFill>
                  <a:srgbClr val="00B0F0"/>
                </a:solidFill>
                <a:latin typeface="Calibri"/>
              </a:rPr>
              <a:t>      Amacı ve Kapsamı</a:t>
            </a:r>
          </a:p>
        </p:txBody>
      </p:sp>
      <p:sp>
        <p:nvSpPr>
          <p:cNvPr id="48" name="Metin kutusu 47"/>
          <p:cNvSpPr txBox="1"/>
          <p:nvPr/>
        </p:nvSpPr>
        <p:spPr>
          <a:xfrm>
            <a:off x="6371642" y="248815"/>
            <a:ext cx="3829774" cy="451696"/>
          </a:xfrm>
          <a:prstGeom prst="rect">
            <a:avLst/>
          </a:prstGeom>
        </p:spPr>
        <p:style>
          <a:lnRef idx="2">
            <a:schemeClr val="accent2"/>
          </a:lnRef>
          <a:fillRef idx="1">
            <a:schemeClr val="lt1"/>
          </a:fillRef>
          <a:effectRef idx="0">
            <a:schemeClr val="accent2"/>
          </a:effectRef>
          <a:fontRef idx="minor">
            <a:schemeClr val="dk1"/>
          </a:fontRef>
        </p:style>
        <p:txBody>
          <a:bodyPr wrap="square" lIns="118146" tIns="59072" rIns="118146" bIns="59072" rtlCol="0">
            <a:spAutoFit/>
          </a:bodyPr>
          <a:lstStyle/>
          <a:p>
            <a:pPr defTabSz="1097150"/>
            <a:r>
              <a:rPr lang="tr-TR" sz="2160" b="1" dirty="0">
                <a:solidFill>
                  <a:srgbClr val="FF3300"/>
                </a:solidFill>
                <a:latin typeface="Calibri"/>
              </a:rPr>
              <a:t>        Destek Kalemleri</a:t>
            </a:r>
          </a:p>
        </p:txBody>
      </p:sp>
      <p:sp>
        <p:nvSpPr>
          <p:cNvPr id="52" name="Metin kutusu 51"/>
          <p:cNvSpPr txBox="1"/>
          <p:nvPr/>
        </p:nvSpPr>
        <p:spPr>
          <a:xfrm>
            <a:off x="6499996" y="2745970"/>
            <a:ext cx="3657256" cy="451696"/>
          </a:xfrm>
          <a:prstGeom prst="rect">
            <a:avLst/>
          </a:prstGeom>
          <a:ln>
            <a:solidFill>
              <a:srgbClr val="0CA446"/>
            </a:solidFill>
          </a:ln>
        </p:spPr>
        <p:style>
          <a:lnRef idx="2">
            <a:schemeClr val="accent3"/>
          </a:lnRef>
          <a:fillRef idx="1">
            <a:schemeClr val="lt1"/>
          </a:fillRef>
          <a:effectRef idx="0">
            <a:schemeClr val="accent3"/>
          </a:effectRef>
          <a:fontRef idx="minor">
            <a:schemeClr val="dk1"/>
          </a:fontRef>
        </p:style>
        <p:txBody>
          <a:bodyPr wrap="square" lIns="118146" tIns="59072" rIns="118146" bIns="59072" rtlCol="0">
            <a:spAutoFit/>
          </a:bodyPr>
          <a:lstStyle/>
          <a:p>
            <a:pPr algn="ctr" defTabSz="1097150"/>
            <a:r>
              <a:rPr lang="tr-TR" sz="2160" b="1" dirty="0">
                <a:solidFill>
                  <a:srgbClr val="00B050"/>
                </a:solidFill>
                <a:latin typeface="Calibri"/>
              </a:rPr>
              <a:t>    Destek Özellikleri</a:t>
            </a:r>
          </a:p>
        </p:txBody>
      </p:sp>
      <p:sp>
        <p:nvSpPr>
          <p:cNvPr id="53" name="Metin kutusu 52"/>
          <p:cNvSpPr txBox="1"/>
          <p:nvPr/>
        </p:nvSpPr>
        <p:spPr>
          <a:xfrm>
            <a:off x="1442961" y="3688229"/>
            <a:ext cx="3467533" cy="451696"/>
          </a:xfrm>
          <a:prstGeom prst="rect">
            <a:avLst/>
          </a:prstGeom>
          <a:ln>
            <a:solidFill>
              <a:srgbClr val="D1621D"/>
            </a:solidFill>
          </a:ln>
        </p:spPr>
        <p:style>
          <a:lnRef idx="2">
            <a:schemeClr val="accent6"/>
          </a:lnRef>
          <a:fillRef idx="1">
            <a:schemeClr val="lt1"/>
          </a:fillRef>
          <a:effectRef idx="0">
            <a:schemeClr val="accent6"/>
          </a:effectRef>
          <a:fontRef idx="minor">
            <a:schemeClr val="dk1"/>
          </a:fontRef>
        </p:style>
        <p:txBody>
          <a:bodyPr wrap="square" lIns="118146" tIns="59072" rIns="118146" bIns="59072" rtlCol="0">
            <a:spAutoFit/>
          </a:bodyPr>
          <a:lstStyle/>
          <a:p>
            <a:pPr defTabSz="1097150"/>
            <a:r>
              <a:rPr lang="tr-TR" sz="2160" b="1" dirty="0">
                <a:solidFill>
                  <a:srgbClr val="F79646">
                    <a:lumMod val="75000"/>
                  </a:srgbClr>
                </a:solidFill>
                <a:latin typeface="Calibri"/>
              </a:rPr>
              <a:t>      </a:t>
            </a:r>
            <a:r>
              <a:rPr lang="tr-TR" sz="2160" b="1" dirty="0">
                <a:solidFill>
                  <a:srgbClr val="D1621D"/>
                </a:solidFill>
                <a:latin typeface="Calibri"/>
              </a:rPr>
              <a:t>Kimler Başvurabilir?</a:t>
            </a:r>
          </a:p>
        </p:txBody>
      </p:sp>
      <p:sp>
        <p:nvSpPr>
          <p:cNvPr id="59" name="Metin kutusu 58"/>
          <p:cNvSpPr txBox="1"/>
          <p:nvPr/>
        </p:nvSpPr>
        <p:spPr>
          <a:xfrm>
            <a:off x="1061503" y="1898070"/>
            <a:ext cx="4106905" cy="1670492"/>
          </a:xfrm>
          <a:prstGeom prst="rect">
            <a:avLst/>
          </a:prstGeom>
          <a:noFill/>
        </p:spPr>
        <p:txBody>
          <a:bodyPr wrap="square" lIns="118146" tIns="59072" rIns="118146" bIns="59072" rtlCol="0">
            <a:spAutoFit/>
          </a:bodyPr>
          <a:lstStyle/>
          <a:p>
            <a:pPr algn="just" defTabSz="1097150"/>
            <a:r>
              <a:rPr lang="tr-TR" sz="1680" dirty="0">
                <a:solidFill>
                  <a:prstClr val="black"/>
                </a:solidFill>
                <a:latin typeface="Calibri"/>
                <a:ea typeface="ヒラギノ角ゴ Pro W3" pitchFamily="1" charset="-128"/>
              </a:rPr>
              <a:t>Küçük ve orta ölçekli işletmelerin birbirleriyle veya büyük işletmelerle ortak çalışma kültürünün geliştirilmesine ve karşılıklı fayda ve rekabet avantajı sağlayıcı nitelikteki işbirlikleri tesis etmelerine katkı sağlamak.</a:t>
            </a:r>
          </a:p>
        </p:txBody>
      </p:sp>
      <p:sp>
        <p:nvSpPr>
          <p:cNvPr id="60" name="Metin kutusu 59"/>
          <p:cNvSpPr txBox="1"/>
          <p:nvPr/>
        </p:nvSpPr>
        <p:spPr>
          <a:xfrm>
            <a:off x="5750362" y="736886"/>
            <a:ext cx="4614752" cy="1670492"/>
          </a:xfrm>
          <a:prstGeom prst="rect">
            <a:avLst/>
          </a:prstGeom>
          <a:noFill/>
        </p:spPr>
        <p:txBody>
          <a:bodyPr wrap="square" lIns="118146" tIns="59072" rIns="118146" bIns="59072" rtlCol="0">
            <a:spAutoFit/>
          </a:bodyPr>
          <a:lstStyle/>
          <a:p>
            <a:pPr defTabSz="1097150"/>
            <a:r>
              <a:rPr lang="tr-TR" sz="1680" dirty="0">
                <a:solidFill>
                  <a:srgbClr val="FF0000"/>
                </a:solidFill>
                <a:latin typeface="Calibri"/>
                <a:ea typeface="ヒラギノ角ゴ Pro W3" pitchFamily="1" charset="-128"/>
              </a:rPr>
              <a:t>a) </a:t>
            </a:r>
            <a:r>
              <a:rPr lang="tr-TR" sz="1680" dirty="0">
                <a:solidFill>
                  <a:prstClr val="black"/>
                </a:solidFill>
                <a:latin typeface="Calibri"/>
                <a:ea typeface="ヒラギノ角ゴ Pro W3" pitchFamily="1" charset="-128"/>
              </a:rPr>
              <a:t>Personel, </a:t>
            </a:r>
          </a:p>
          <a:p>
            <a:pPr defTabSz="1097150"/>
            <a:r>
              <a:rPr lang="tr-TR" sz="1680" dirty="0">
                <a:solidFill>
                  <a:srgbClr val="FF0000"/>
                </a:solidFill>
                <a:latin typeface="Calibri"/>
                <a:ea typeface="ヒラギノ角ゴ Pro W3" pitchFamily="1" charset="-128"/>
              </a:rPr>
              <a:t>b) </a:t>
            </a:r>
            <a:r>
              <a:rPr lang="tr-TR" sz="1680" dirty="0">
                <a:solidFill>
                  <a:prstClr val="black"/>
                </a:solidFill>
                <a:latin typeface="Calibri"/>
                <a:ea typeface="ヒラギノ角ゴ Pro W3" pitchFamily="1" charset="-128"/>
              </a:rPr>
              <a:t>Makine, teçhizat ve kalıp,</a:t>
            </a:r>
          </a:p>
          <a:p>
            <a:pPr defTabSz="1097150"/>
            <a:r>
              <a:rPr lang="tr-TR" sz="1680" dirty="0">
                <a:solidFill>
                  <a:srgbClr val="FF0000"/>
                </a:solidFill>
                <a:latin typeface="Calibri"/>
                <a:ea typeface="ヒラギノ角ゴ Pro W3" pitchFamily="1" charset="-128"/>
              </a:rPr>
              <a:t>c) </a:t>
            </a:r>
            <a:r>
              <a:rPr lang="tr-TR" sz="1680" dirty="0">
                <a:solidFill>
                  <a:prstClr val="black"/>
                </a:solidFill>
                <a:latin typeface="Calibri"/>
                <a:ea typeface="ヒラギノ角ゴ Pro W3" pitchFamily="1" charset="-128"/>
              </a:rPr>
              <a:t>Hammadde ve malzeme,</a:t>
            </a:r>
          </a:p>
          <a:p>
            <a:pPr defTabSz="1097150"/>
            <a:r>
              <a:rPr lang="tr-TR" sz="1680" dirty="0">
                <a:solidFill>
                  <a:srgbClr val="FF0000"/>
                </a:solidFill>
                <a:latin typeface="Calibri"/>
                <a:ea typeface="ヒラギノ角ゴ Pro W3" pitchFamily="1" charset="-128"/>
              </a:rPr>
              <a:t>ç) </a:t>
            </a:r>
            <a:r>
              <a:rPr lang="tr-TR" sz="1680" dirty="0">
                <a:solidFill>
                  <a:prstClr val="black"/>
                </a:solidFill>
                <a:latin typeface="Calibri"/>
                <a:ea typeface="ヒラギノ角ゴ Pro W3" pitchFamily="1" charset="-128"/>
              </a:rPr>
              <a:t>Yazılım, </a:t>
            </a:r>
          </a:p>
          <a:p>
            <a:pPr defTabSz="1097150"/>
            <a:r>
              <a:rPr lang="tr-TR" sz="1680" dirty="0">
                <a:solidFill>
                  <a:srgbClr val="FF0000"/>
                </a:solidFill>
                <a:latin typeface="Calibri"/>
                <a:ea typeface="ヒラギノ角ゴ Pro W3" pitchFamily="1" charset="-128"/>
              </a:rPr>
              <a:t>d) </a:t>
            </a:r>
            <a:r>
              <a:rPr lang="tr-TR" sz="1680" dirty="0">
                <a:solidFill>
                  <a:prstClr val="black"/>
                </a:solidFill>
                <a:latin typeface="Calibri"/>
                <a:ea typeface="ヒラギノ角ゴ Pro W3" pitchFamily="1" charset="-128"/>
              </a:rPr>
              <a:t>Hizmet alımı, </a:t>
            </a:r>
          </a:p>
          <a:p>
            <a:pPr defTabSz="1097150"/>
            <a:r>
              <a:rPr lang="tr-TR" sz="1680" dirty="0">
                <a:solidFill>
                  <a:srgbClr val="FF0000"/>
                </a:solidFill>
                <a:latin typeface="Calibri"/>
                <a:ea typeface="ヒラギノ角ゴ Pro W3" pitchFamily="1" charset="-128"/>
              </a:rPr>
              <a:t>e) </a:t>
            </a:r>
            <a:r>
              <a:rPr lang="tr-TR" sz="1680" dirty="0">
                <a:solidFill>
                  <a:prstClr val="black"/>
                </a:solidFill>
                <a:latin typeface="Calibri"/>
                <a:ea typeface="ヒラギノ角ゴ Pro W3" pitchFamily="1" charset="-128"/>
              </a:rPr>
              <a:t>Diğer giderler (projeyle ilgili)</a:t>
            </a:r>
          </a:p>
        </p:txBody>
      </p:sp>
      <p:sp>
        <p:nvSpPr>
          <p:cNvPr id="31" name="Metin kutusu 30"/>
          <p:cNvSpPr txBox="1"/>
          <p:nvPr/>
        </p:nvSpPr>
        <p:spPr>
          <a:xfrm>
            <a:off x="5653233" y="3333133"/>
            <a:ext cx="5412580" cy="3291448"/>
          </a:xfrm>
          <a:prstGeom prst="rect">
            <a:avLst/>
          </a:prstGeom>
          <a:noFill/>
        </p:spPr>
        <p:txBody>
          <a:bodyPr wrap="square" lIns="118146" tIns="59072" rIns="118146" bIns="59072" rtlCol="0">
            <a:spAutoFit/>
          </a:bodyPr>
          <a:lstStyle/>
          <a:p>
            <a:pPr algn="just" defTabSz="1097150">
              <a:spcAft>
                <a:spcPts val="360"/>
              </a:spcAft>
            </a:pPr>
            <a:r>
              <a:rPr lang="tr-TR" sz="1440" b="1" u="sng" dirty="0">
                <a:solidFill>
                  <a:srgbClr val="00B050"/>
                </a:solidFill>
                <a:latin typeface="Calibri"/>
                <a:ea typeface="ヒラギノ角ゴ Pro W3" pitchFamily="1" charset="-128"/>
              </a:rPr>
              <a:t>Destek Miktarı:</a:t>
            </a:r>
            <a:r>
              <a:rPr lang="tr-TR" sz="1440" b="1" dirty="0">
                <a:solidFill>
                  <a:prstClr val="black"/>
                </a:solidFill>
                <a:latin typeface="Calibri"/>
                <a:ea typeface="ヒラギノ角ゴ Pro W3" pitchFamily="1" charset="-128"/>
              </a:rPr>
              <a:t>            </a:t>
            </a:r>
          </a:p>
          <a:p>
            <a:pPr algn="just" defTabSz="1097150">
              <a:spcAft>
                <a:spcPts val="360"/>
              </a:spcAft>
            </a:pPr>
            <a:r>
              <a:rPr lang="tr-TR" sz="1440" b="1" dirty="0">
                <a:solidFill>
                  <a:prstClr val="black"/>
                </a:solidFill>
                <a:latin typeface="Calibri"/>
                <a:ea typeface="ヒラギノ角ゴ Pro W3" pitchFamily="1" charset="-128"/>
              </a:rPr>
              <a:t>                    </a:t>
            </a:r>
            <a:r>
              <a:rPr lang="tr-TR" sz="1440" b="1" dirty="0">
                <a:solidFill>
                  <a:srgbClr val="00B050"/>
                </a:solidFill>
                <a:latin typeface="Calibri"/>
                <a:ea typeface="ヒラギノ角ゴ Pro W3" pitchFamily="1" charset="-128"/>
              </a:rPr>
              <a:t>İşletici Kuruluş Modeli:</a:t>
            </a:r>
          </a:p>
          <a:p>
            <a:pPr algn="just" defTabSz="1097150">
              <a:spcAft>
                <a:spcPts val="360"/>
              </a:spcAft>
            </a:pPr>
            <a:r>
              <a:rPr lang="tr-TR" sz="1440" b="1" dirty="0">
                <a:solidFill>
                  <a:prstClr val="black"/>
                </a:solidFill>
                <a:latin typeface="Calibri"/>
                <a:ea typeface="ヒラギノ角ゴ Pro W3" pitchFamily="1" charset="-128"/>
              </a:rPr>
              <a:t>                    5.000.000 TL </a:t>
            </a:r>
          </a:p>
          <a:p>
            <a:pPr algn="just" defTabSz="1097150">
              <a:spcAft>
                <a:spcPts val="360"/>
              </a:spcAft>
            </a:pPr>
            <a:r>
              <a:rPr lang="tr-TR" sz="1440" b="1" dirty="0">
                <a:solidFill>
                  <a:prstClr val="black"/>
                </a:solidFill>
                <a:latin typeface="Calibri"/>
                <a:ea typeface="ヒラギノ角ゴ Pro W3" pitchFamily="1" charset="-128"/>
              </a:rPr>
              <a:t>                    </a:t>
            </a:r>
            <a:r>
              <a:rPr lang="tr-TR" sz="1440" b="1" dirty="0">
                <a:solidFill>
                  <a:srgbClr val="00B050"/>
                </a:solidFill>
                <a:latin typeface="Calibri"/>
                <a:ea typeface="ヒラギノ角ゴ Pro W3" pitchFamily="1" charset="-128"/>
              </a:rPr>
              <a:t>Proje Ortaklığı  Modeli:</a:t>
            </a:r>
          </a:p>
          <a:p>
            <a:pPr algn="just" defTabSz="1097150">
              <a:spcAft>
                <a:spcPts val="360"/>
              </a:spcAft>
            </a:pPr>
            <a:r>
              <a:rPr lang="tr-TR" sz="1440" dirty="0">
                <a:solidFill>
                  <a:prstClr val="black"/>
                </a:solidFill>
                <a:latin typeface="Calibri"/>
                <a:ea typeface="ヒラギノ角ゴ Pro W3" pitchFamily="1" charset="-128"/>
              </a:rPr>
              <a:t>                    Orta Yüksek-Yüksek Teknoloji Alanları: </a:t>
            </a:r>
            <a:r>
              <a:rPr lang="tr-TR" sz="1440" b="1" dirty="0">
                <a:solidFill>
                  <a:prstClr val="black"/>
                </a:solidFill>
                <a:latin typeface="Calibri"/>
                <a:ea typeface="ヒラギノ角ゴ Pro W3" pitchFamily="1" charset="-128"/>
              </a:rPr>
              <a:t>10.000.000 TL   </a:t>
            </a:r>
          </a:p>
          <a:p>
            <a:pPr algn="just" defTabSz="1097150">
              <a:spcAft>
                <a:spcPts val="360"/>
              </a:spcAft>
            </a:pPr>
            <a:r>
              <a:rPr lang="tr-TR" sz="1440" dirty="0">
                <a:solidFill>
                  <a:prstClr val="black"/>
                </a:solidFill>
                <a:latin typeface="Calibri"/>
                <a:ea typeface="ヒラギノ角ゴ Pro W3" pitchFamily="1" charset="-128"/>
              </a:rPr>
              <a:t>                    Diğer Teknoloji Alanları: </a:t>
            </a:r>
            <a:r>
              <a:rPr lang="tr-TR" sz="1440" b="1" dirty="0">
                <a:solidFill>
                  <a:prstClr val="black"/>
                </a:solidFill>
                <a:latin typeface="Calibri"/>
                <a:ea typeface="ヒラギノ角ゴ Pro W3" pitchFamily="1" charset="-128"/>
              </a:rPr>
              <a:t>5.000.000 TL </a:t>
            </a:r>
          </a:p>
          <a:p>
            <a:pPr defTabSz="1097150">
              <a:spcAft>
                <a:spcPts val="360"/>
              </a:spcAft>
            </a:pPr>
            <a:r>
              <a:rPr lang="tr-TR" sz="1440" b="1" dirty="0">
                <a:solidFill>
                  <a:srgbClr val="0AA649"/>
                </a:solidFill>
                <a:latin typeface="Calibri"/>
                <a:ea typeface="ヒラギノ角ゴ Pro W3" pitchFamily="1" charset="-128"/>
              </a:rPr>
              <a:t>Destek Oranı:               </a:t>
            </a:r>
            <a:r>
              <a:rPr lang="de-DE" sz="1440" dirty="0">
                <a:solidFill>
                  <a:prstClr val="black"/>
                </a:solidFill>
                <a:latin typeface="Calibri"/>
                <a:ea typeface="ヒラギノ角ゴ Pro W3" pitchFamily="1" charset="-128"/>
              </a:rPr>
              <a:t>%60 </a:t>
            </a:r>
            <a:endParaRPr lang="tr-TR" sz="1440" dirty="0">
              <a:solidFill>
                <a:prstClr val="black"/>
              </a:solidFill>
              <a:latin typeface="Calibri"/>
              <a:ea typeface="ヒラギノ角ゴ Pro W3" pitchFamily="1" charset="-128"/>
            </a:endParaRPr>
          </a:p>
          <a:p>
            <a:pPr defTabSz="1097150">
              <a:spcAft>
                <a:spcPts val="360"/>
              </a:spcAft>
            </a:pPr>
            <a:r>
              <a:rPr lang="tr-TR" sz="1440" b="1" dirty="0">
                <a:solidFill>
                  <a:srgbClr val="0CA446"/>
                </a:solidFill>
                <a:latin typeface="Calibri"/>
                <a:ea typeface="ヒラギノ角ゴ Pro W3" pitchFamily="1" charset="-128"/>
              </a:rPr>
              <a:t>Destek Türü:                 </a:t>
            </a:r>
            <a:r>
              <a:rPr lang="tr-TR" sz="1440" dirty="0">
                <a:solidFill>
                  <a:prstClr val="black"/>
                </a:solidFill>
                <a:latin typeface="Calibri"/>
                <a:ea typeface="ヒラギノ角ゴ Pro W3" pitchFamily="1" charset="-128"/>
              </a:rPr>
              <a:t>Geri Ödemesiz (%30)+ Geri Ödemeli (%70)</a:t>
            </a:r>
          </a:p>
          <a:p>
            <a:pPr defTabSz="1097150">
              <a:spcAft>
                <a:spcPts val="360"/>
              </a:spcAft>
            </a:pPr>
            <a:r>
              <a:rPr lang="tr-TR" sz="1440" b="1" dirty="0">
                <a:solidFill>
                  <a:srgbClr val="0AA649"/>
                </a:solidFill>
                <a:latin typeface="Calibri"/>
                <a:ea typeface="ヒラギノ角ゴ Pro W3" pitchFamily="1" charset="-128"/>
              </a:rPr>
              <a:t>Başvuru Dönemi:         </a:t>
            </a:r>
            <a:r>
              <a:rPr lang="tr-TR" sz="1440" dirty="0">
                <a:solidFill>
                  <a:prstClr val="black"/>
                </a:solidFill>
                <a:latin typeface="Calibri"/>
                <a:ea typeface="ヒラギノ角ゴ Pro W3" pitchFamily="1" charset="-128"/>
              </a:rPr>
              <a:t>Sürekli</a:t>
            </a:r>
          </a:p>
          <a:p>
            <a:pPr defTabSz="1097150">
              <a:spcAft>
                <a:spcPts val="360"/>
              </a:spcAft>
            </a:pPr>
            <a:r>
              <a:rPr lang="es-ES" sz="1440" b="1" dirty="0">
                <a:solidFill>
                  <a:srgbClr val="0AA649"/>
                </a:solidFill>
                <a:latin typeface="Calibri"/>
                <a:ea typeface="ヒラギノ角ゴ Pro W3" pitchFamily="1" charset="-128"/>
              </a:rPr>
              <a:t>Destek Süresi: </a:t>
            </a:r>
            <a:r>
              <a:rPr lang="tr-TR" sz="1440" b="1" dirty="0">
                <a:solidFill>
                  <a:srgbClr val="0AA649"/>
                </a:solidFill>
                <a:latin typeface="Calibri"/>
                <a:ea typeface="ヒラギノ角ゴ Pro W3" pitchFamily="1" charset="-128"/>
              </a:rPr>
              <a:t>             </a:t>
            </a:r>
            <a:r>
              <a:rPr lang="es-ES" sz="1440" dirty="0">
                <a:solidFill>
                  <a:prstClr val="black"/>
                </a:solidFill>
                <a:latin typeface="Calibri"/>
                <a:ea typeface="ヒラギノ角ゴ Pro W3" pitchFamily="1" charset="-128"/>
              </a:rPr>
              <a:t>En az </a:t>
            </a:r>
            <a:r>
              <a:rPr lang="tr-TR" sz="1440" dirty="0">
                <a:solidFill>
                  <a:prstClr val="black"/>
                </a:solidFill>
                <a:latin typeface="Calibri"/>
                <a:ea typeface="ヒラギノ角ゴ Pro W3" pitchFamily="1" charset="-128"/>
              </a:rPr>
              <a:t>12 Ay</a:t>
            </a:r>
            <a:r>
              <a:rPr lang="es-ES" sz="1440" dirty="0">
                <a:solidFill>
                  <a:prstClr val="black"/>
                </a:solidFill>
                <a:latin typeface="Calibri"/>
                <a:ea typeface="ヒラギノ角ゴ Pro W3" pitchFamily="1" charset="-128"/>
              </a:rPr>
              <a:t>, </a:t>
            </a:r>
            <a:r>
              <a:rPr lang="tr-TR" sz="1440" dirty="0">
                <a:solidFill>
                  <a:prstClr val="black"/>
                </a:solidFill>
                <a:latin typeface="Calibri"/>
                <a:ea typeface="ヒラギノ角ゴ Pro W3" pitchFamily="1" charset="-128"/>
              </a:rPr>
              <a:t>E</a:t>
            </a:r>
            <a:r>
              <a:rPr lang="es-ES" sz="1440" dirty="0">
                <a:solidFill>
                  <a:prstClr val="black"/>
                </a:solidFill>
                <a:latin typeface="Calibri"/>
                <a:ea typeface="ヒラギノ角ゴ Pro W3" pitchFamily="1" charset="-128"/>
              </a:rPr>
              <a:t>n fazla </a:t>
            </a:r>
            <a:r>
              <a:rPr lang="tr-TR" sz="1440" dirty="0">
                <a:solidFill>
                  <a:prstClr val="black"/>
                </a:solidFill>
                <a:latin typeface="Calibri"/>
                <a:ea typeface="ヒラギノ角ゴ Pro W3" pitchFamily="1" charset="-128"/>
              </a:rPr>
              <a:t>36 Ay </a:t>
            </a:r>
          </a:p>
          <a:p>
            <a:pPr defTabSz="1097150">
              <a:spcAft>
                <a:spcPts val="360"/>
              </a:spcAft>
            </a:pPr>
            <a:r>
              <a:rPr lang="tr-TR" sz="1440" b="1" dirty="0">
                <a:solidFill>
                  <a:srgbClr val="0AA649"/>
                </a:solidFill>
                <a:latin typeface="Calibri"/>
                <a:ea typeface="ヒラギノ角ゴ Pro W3" pitchFamily="1" charset="-128"/>
                <a:cs typeface="Times New Roman" panose="02020603050405020304" pitchFamily="18" charset="0"/>
              </a:rPr>
              <a:t>Erken Ödeme Oranı:</a:t>
            </a:r>
            <a:r>
              <a:rPr lang="tr-TR" sz="1440" dirty="0">
                <a:solidFill>
                  <a:prstClr val="black"/>
                </a:solidFill>
                <a:latin typeface="Times New Roman" panose="02020603050405020304" pitchFamily="18" charset="0"/>
                <a:ea typeface="ヒラギノ角ゴ Pro W3" pitchFamily="1" charset="-128"/>
                <a:cs typeface="Times New Roman" panose="02020603050405020304" pitchFamily="18" charset="0"/>
              </a:rPr>
              <a:t>   </a:t>
            </a:r>
            <a:r>
              <a:rPr lang="tr-TR" sz="1440" dirty="0">
                <a:solidFill>
                  <a:prstClr val="black"/>
                </a:solidFill>
                <a:latin typeface="Calibri"/>
                <a:ea typeface="ヒラギノ角ゴ Pro W3" pitchFamily="1" charset="-128"/>
                <a:cs typeface="Times New Roman" panose="02020603050405020304" pitchFamily="18" charset="0"/>
              </a:rPr>
              <a:t>Tahmini </a:t>
            </a:r>
            <a:r>
              <a:rPr lang="tr-TR" sz="1440" dirty="0">
                <a:solidFill>
                  <a:prstClr val="black"/>
                </a:solidFill>
                <a:latin typeface="Calibri"/>
                <a:ea typeface="ヒラギノ角ゴ Pro W3" pitchFamily="1" charset="-128"/>
              </a:rPr>
              <a:t>Geri Ödemeli Destek Tutarının 	              %50’sine kadar</a:t>
            </a:r>
          </a:p>
        </p:txBody>
      </p:sp>
      <p:sp>
        <p:nvSpPr>
          <p:cNvPr id="28" name="Yuvarlatılmış Dikdörtgen 27"/>
          <p:cNvSpPr/>
          <p:nvPr/>
        </p:nvSpPr>
        <p:spPr>
          <a:xfrm>
            <a:off x="1152256" y="430958"/>
            <a:ext cx="3812508" cy="757345"/>
          </a:xfrm>
          <a:prstGeom prst="roundRect">
            <a:avLst/>
          </a:prstGeom>
        </p:spPr>
        <p:style>
          <a:lnRef idx="1">
            <a:schemeClr val="dk1"/>
          </a:lnRef>
          <a:fillRef idx="2">
            <a:schemeClr val="dk1"/>
          </a:fillRef>
          <a:effectRef idx="1">
            <a:schemeClr val="dk1"/>
          </a:effectRef>
          <a:fontRef idx="minor">
            <a:schemeClr val="dk1"/>
          </a:fontRef>
        </p:style>
        <p:txBody>
          <a:bodyPr lIns="118146" tIns="59072" rIns="118146" bIns="59072" rtlCol="0" anchor="ctr"/>
          <a:lstStyle/>
          <a:p>
            <a:pPr algn="ctr" defTabSz="1097150"/>
            <a:r>
              <a:rPr lang="tr-TR" sz="1680" b="1" u="sng" dirty="0">
                <a:solidFill>
                  <a:prstClr val="black"/>
                </a:solidFill>
                <a:latin typeface="Calibri"/>
              </a:rPr>
              <a:t>Destek Alanı</a:t>
            </a:r>
          </a:p>
          <a:p>
            <a:pPr algn="ctr" defTabSz="1097150"/>
            <a:r>
              <a:rPr lang="tr-TR" sz="1680" b="1" dirty="0">
                <a:solidFill>
                  <a:prstClr val="black"/>
                </a:solidFill>
                <a:latin typeface="Calibri"/>
              </a:rPr>
              <a:t>Büyüme</a:t>
            </a:r>
          </a:p>
          <a:p>
            <a:pPr algn="ctr" defTabSz="1097150"/>
            <a:r>
              <a:rPr lang="tr-TR" sz="1680" dirty="0">
                <a:solidFill>
                  <a:prstClr val="black"/>
                </a:solidFill>
                <a:latin typeface="Calibri"/>
                <a:hlinkClick r:id="" action="ppaction://noaction"/>
              </a:rPr>
              <a:t>(Yatırım/Kapasite Artırımı)</a:t>
            </a:r>
            <a:endParaRPr lang="tr-TR" sz="1680" dirty="0">
              <a:solidFill>
                <a:prstClr val="black"/>
              </a:solidFill>
              <a:latin typeface="Calibri"/>
            </a:endParaRPr>
          </a:p>
        </p:txBody>
      </p:sp>
      <p:sp>
        <p:nvSpPr>
          <p:cNvPr id="17" name="Metin kutusu 16"/>
          <p:cNvSpPr txBox="1"/>
          <p:nvPr/>
        </p:nvSpPr>
        <p:spPr>
          <a:xfrm>
            <a:off x="844367" y="4242086"/>
            <a:ext cx="4353055" cy="2483022"/>
          </a:xfrm>
          <a:prstGeom prst="rect">
            <a:avLst/>
          </a:prstGeom>
          <a:noFill/>
        </p:spPr>
        <p:txBody>
          <a:bodyPr wrap="square" lIns="118146" tIns="59072" rIns="118146" bIns="59072" rtlCol="0">
            <a:spAutoFit/>
          </a:bodyPr>
          <a:lstStyle/>
          <a:p>
            <a:pPr marL="369205" indent="-369205" algn="just" defTabSz="1097150">
              <a:buFont typeface="Wingdings" pitchFamily="2" charset="2"/>
              <a:buChar char="ü"/>
            </a:pPr>
            <a:r>
              <a:rPr lang="tr-TR" sz="1320" dirty="0">
                <a:solidFill>
                  <a:prstClr val="black"/>
                </a:solidFill>
                <a:latin typeface="Calibri"/>
                <a:ea typeface="ヒラギノ角ゴ Pro W3" pitchFamily="1" charset="-128"/>
              </a:rPr>
              <a:t>KOBİ*</a:t>
            </a:r>
          </a:p>
          <a:p>
            <a:pPr algn="just" defTabSz="1097150"/>
            <a:r>
              <a:rPr lang="tr-TR" sz="1320" dirty="0">
                <a:solidFill>
                  <a:prstClr val="black"/>
                </a:solidFill>
                <a:latin typeface="Calibri"/>
                <a:ea typeface="ヒラギノ角ゴ Pro W3" pitchFamily="1" charset="-128"/>
              </a:rPr>
              <a:t>	Yüksek Teknoloji Alanında : En Az 2</a:t>
            </a:r>
          </a:p>
          <a:p>
            <a:pPr algn="just" defTabSz="1097150"/>
            <a:r>
              <a:rPr lang="tr-TR" sz="1320" dirty="0">
                <a:solidFill>
                  <a:prstClr val="black"/>
                </a:solidFill>
                <a:latin typeface="Calibri"/>
                <a:ea typeface="ヒラギノ角ゴ Pro W3" pitchFamily="1" charset="-128"/>
              </a:rPr>
              <a:t>	Orta-ileri Teknoloji Alanında : En Az 3</a:t>
            </a:r>
          </a:p>
          <a:p>
            <a:pPr algn="just" defTabSz="1097150"/>
            <a:r>
              <a:rPr lang="tr-TR" sz="1320" dirty="0">
                <a:solidFill>
                  <a:prstClr val="black"/>
                </a:solidFill>
                <a:latin typeface="Calibri"/>
                <a:ea typeface="ヒラギノ角ゴ Pro W3" pitchFamily="1" charset="-128"/>
              </a:rPr>
              <a:t>	Diğer Teknoloji Alanında: En Az 5 </a:t>
            </a:r>
          </a:p>
          <a:p>
            <a:pPr algn="just" defTabSz="1097150"/>
            <a:r>
              <a:rPr lang="tr-TR" sz="1080" i="1" dirty="0">
                <a:solidFill>
                  <a:prstClr val="black"/>
                </a:solidFill>
                <a:latin typeface="Calibri"/>
                <a:ea typeface="ヒラギノ角ゴ Pro W3" pitchFamily="1" charset="-128"/>
              </a:rPr>
              <a:t>* Büyük işletme ile işbirliği yapılması durumunda 1(bir) KOBİ yeterlidir.</a:t>
            </a:r>
            <a:r>
              <a:rPr lang="tr-TR" sz="1080" dirty="0">
                <a:solidFill>
                  <a:prstClr val="black"/>
                </a:solidFill>
                <a:latin typeface="Calibri"/>
                <a:ea typeface="ヒラギノ角ゴ Pro W3" pitchFamily="1" charset="-128"/>
              </a:rPr>
              <a:t>	</a:t>
            </a:r>
          </a:p>
          <a:p>
            <a:pPr algn="just" defTabSz="1097150"/>
            <a:r>
              <a:rPr lang="tr-TR" sz="1320" dirty="0">
                <a:solidFill>
                  <a:prstClr val="white">
                    <a:lumMod val="10000"/>
                  </a:prstClr>
                </a:solidFill>
                <a:latin typeface="Calibri" pitchFamily="34" charset="0"/>
                <a:ea typeface="ヒラギノ角ゴ Pro W3" pitchFamily="1" charset="-128"/>
              </a:rPr>
              <a:t>İşbirliği amacı ile bir araya gelen işletmelerin ön başvuru tarihinden en az 1 (bir) yıl önce kurulmuş olması ve son mali yılda bilanço esasına göre defter tutmuş olması gerekir. Ancak, büyük işletme ile işbirliği yapılması veya proje ortağı işletmelerin İŞGEM/TEKMER bünyesinde faaliyet göstermesi durumunda bu hüküm uygulanmaz.</a:t>
            </a:r>
          </a:p>
        </p:txBody>
      </p:sp>
      <p:sp>
        <p:nvSpPr>
          <p:cNvPr id="18" name="TextBox 18">
            <a:extLst>
              <a:ext uri="{FF2B5EF4-FFF2-40B4-BE49-F238E27FC236}">
                <a16:creationId xmlns:a16="http://schemas.microsoft.com/office/drawing/2014/main" id="{CDB69DC1-FE61-4F64-AEE0-C856CB684FCD}"/>
              </a:ext>
            </a:extLst>
          </p:cNvPr>
          <p:cNvSpPr txBox="1"/>
          <p:nvPr/>
        </p:nvSpPr>
        <p:spPr>
          <a:xfrm>
            <a:off x="-1335225" y="-149626"/>
            <a:ext cx="9588524" cy="650958"/>
          </a:xfrm>
          <a:prstGeom prst="rect">
            <a:avLst/>
          </a:prstGeom>
          <a:noFill/>
        </p:spPr>
        <p:txBody>
          <a:bodyPr wrap="square" lIns="85861" tIns="42931" rIns="85861" bIns="42931" rtlCol="0">
            <a:spAutoFit/>
          </a:bodyPr>
          <a:lstStyle/>
          <a:p>
            <a:pPr algn="ctr" defTabSz="855451">
              <a:lnSpc>
                <a:spcPts val="4366"/>
              </a:lnSpc>
            </a:pPr>
            <a:r>
              <a:rPr lang="tr-TR" sz="2640" b="1" dirty="0">
                <a:solidFill>
                  <a:srgbClr val="00759E">
                    <a:lumMod val="60000"/>
                    <a:lumOff val="40000"/>
                  </a:srgbClr>
                </a:solidFill>
                <a:latin typeface="Calibri" pitchFamily="34" charset="0"/>
                <a:ea typeface="Roboto Black" panose="02000000000000000000" pitchFamily="2" charset="0"/>
              </a:rPr>
              <a:t>İşbirliği Destek Programı</a:t>
            </a:r>
          </a:p>
        </p:txBody>
      </p:sp>
    </p:spTree>
    <p:extLst>
      <p:ext uri="{BB962C8B-B14F-4D97-AF65-F5344CB8AC3E}">
        <p14:creationId xmlns:p14="http://schemas.microsoft.com/office/powerpoint/2010/main" val="1144955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855451"/>
            <a:fld id="{7C1868C5-B491-42BF-9F5C-46095BC3F40A}" type="slidenum">
              <a:rPr lang="tr-TR">
                <a:solidFill>
                  <a:srgbClr val="445469">
                    <a:tint val="75000"/>
                  </a:srgbClr>
                </a:solidFill>
                <a:latin typeface="Roboto Light"/>
                <a:ea typeface="ヒラギノ角ゴ Pro W3" pitchFamily="1" charset="-128"/>
              </a:rPr>
              <a:pPr defTabSz="855451"/>
              <a:t>71</a:t>
            </a:fld>
            <a:endParaRPr lang="tr-TR" dirty="0">
              <a:solidFill>
                <a:srgbClr val="445469">
                  <a:tint val="75000"/>
                </a:srgbClr>
              </a:solidFill>
              <a:latin typeface="Roboto Light"/>
              <a:ea typeface="ヒラギノ角ゴ Pro W3" pitchFamily="1" charset="-128"/>
            </a:endParaRPr>
          </a:p>
        </p:txBody>
      </p:sp>
      <p:graphicFrame>
        <p:nvGraphicFramePr>
          <p:cNvPr id="2" name="Diyagram 1"/>
          <p:cNvGraphicFramePr/>
          <p:nvPr>
            <p:extLst/>
          </p:nvPr>
        </p:nvGraphicFramePr>
        <p:xfrm>
          <a:off x="1185821" y="1257222"/>
          <a:ext cx="9897778"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18">
            <a:extLst>
              <a:ext uri="{FF2B5EF4-FFF2-40B4-BE49-F238E27FC236}">
                <a16:creationId xmlns:a16="http://schemas.microsoft.com/office/drawing/2014/main" id="{CDB69DC1-FE61-4F64-AEE0-C856CB684FCD}"/>
              </a:ext>
            </a:extLst>
          </p:cNvPr>
          <p:cNvSpPr txBox="1"/>
          <p:nvPr/>
        </p:nvSpPr>
        <p:spPr>
          <a:xfrm>
            <a:off x="1510483" y="321147"/>
            <a:ext cx="9588524" cy="650958"/>
          </a:xfrm>
          <a:prstGeom prst="rect">
            <a:avLst/>
          </a:prstGeom>
          <a:noFill/>
        </p:spPr>
        <p:txBody>
          <a:bodyPr wrap="square" lIns="85861" tIns="42931" rIns="85861" bIns="42931" rtlCol="0">
            <a:spAutoFit/>
          </a:bodyPr>
          <a:lstStyle/>
          <a:p>
            <a:pPr algn="ctr" defTabSz="855451">
              <a:lnSpc>
                <a:spcPts val="4366"/>
              </a:lnSpc>
            </a:pPr>
            <a:r>
              <a:rPr lang="tr-TR" sz="2640" b="1" dirty="0">
                <a:solidFill>
                  <a:srgbClr val="00759E">
                    <a:lumMod val="60000"/>
                    <a:lumOff val="40000"/>
                  </a:srgbClr>
                </a:solidFill>
                <a:latin typeface="Calibri" pitchFamily="34" charset="0"/>
                <a:ea typeface="Roboto Black" panose="02000000000000000000" pitchFamily="2" charset="0"/>
              </a:rPr>
              <a:t>İşbirliği Destek Programı İşbirliği Türleri</a:t>
            </a:r>
          </a:p>
        </p:txBody>
      </p:sp>
    </p:spTree>
    <p:extLst>
      <p:ext uri="{BB962C8B-B14F-4D97-AF65-F5344CB8AC3E}">
        <p14:creationId xmlns:p14="http://schemas.microsoft.com/office/powerpoint/2010/main" val="2864747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855451"/>
            <a:fld id="{7C1868C5-B491-42BF-9F5C-46095BC3F40A}" type="slidenum">
              <a:rPr lang="tr-TR">
                <a:solidFill>
                  <a:srgbClr val="445469">
                    <a:tint val="75000"/>
                  </a:srgbClr>
                </a:solidFill>
                <a:latin typeface="Roboto Light"/>
                <a:ea typeface="ヒラギノ角ゴ Pro W3" pitchFamily="1" charset="-128"/>
              </a:rPr>
              <a:pPr defTabSz="855451"/>
              <a:t>72</a:t>
            </a:fld>
            <a:endParaRPr lang="tr-TR" dirty="0">
              <a:solidFill>
                <a:srgbClr val="445469">
                  <a:tint val="75000"/>
                </a:srgbClr>
              </a:solidFill>
              <a:latin typeface="Roboto Light"/>
              <a:ea typeface="ヒラギノ角ゴ Pro W3" pitchFamily="1" charset="-128"/>
            </a:endParaRPr>
          </a:p>
        </p:txBody>
      </p:sp>
      <p:graphicFrame>
        <p:nvGraphicFramePr>
          <p:cNvPr id="9" name="Diyagram 8"/>
          <p:cNvGraphicFramePr/>
          <p:nvPr>
            <p:extLst/>
          </p:nvPr>
        </p:nvGraphicFramePr>
        <p:xfrm>
          <a:off x="2316221" y="1052060"/>
          <a:ext cx="8619522" cy="43707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 name="Grup 3"/>
          <p:cNvGrpSpPr/>
          <p:nvPr/>
        </p:nvGrpSpPr>
        <p:grpSpPr>
          <a:xfrm>
            <a:off x="2087849" y="5534324"/>
            <a:ext cx="8990183" cy="655200"/>
            <a:chOff x="31984" y="29443"/>
            <a:chExt cx="9989672" cy="655200"/>
          </a:xfrm>
          <a:scene3d>
            <a:camera prst="orthographicFront"/>
            <a:lightRig rig="chilly" dir="t"/>
          </a:scene3d>
        </p:grpSpPr>
        <p:sp>
          <p:nvSpPr>
            <p:cNvPr id="5" name="Yuvarlatılmış Dikdörtgen 4"/>
            <p:cNvSpPr/>
            <p:nvPr/>
          </p:nvSpPr>
          <p:spPr>
            <a:xfrm>
              <a:off x="31984" y="29443"/>
              <a:ext cx="9989672" cy="655200"/>
            </a:xfrm>
            <a:prstGeom prst="roundRect">
              <a:avLst/>
            </a:prstGeom>
            <a:solidFill>
              <a:srgbClr val="FF0000"/>
            </a:solidFill>
            <a:sp3d prstMaterial="translucentPowder">
              <a:bevelT w="127000" h="25400" prst="softRound"/>
            </a:sp3d>
          </p:spPr>
          <p:style>
            <a:lnRef idx="0">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Yuvarlatılmış Dikdörtgen 4"/>
            <p:cNvSpPr/>
            <p:nvPr/>
          </p:nvSpPr>
          <p:spPr>
            <a:xfrm>
              <a:off x="31984" y="93411"/>
              <a:ext cx="9925704" cy="59123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09321" tIns="109321" rIns="109321" bIns="109321" numCol="1" spcCol="1270" anchor="ctr" anchorCtr="0">
              <a:noAutofit/>
            </a:bodyPr>
            <a:lstStyle/>
            <a:p>
              <a:pPr defTabSz="998023">
                <a:lnSpc>
                  <a:spcPct val="90000"/>
                </a:lnSpc>
                <a:spcBef>
                  <a:spcPct val="0"/>
                </a:spcBef>
                <a:spcAft>
                  <a:spcPct val="35000"/>
                </a:spcAft>
              </a:pPr>
              <a:r>
                <a:rPr lang="tr-TR" sz="1320" b="1" dirty="0">
                  <a:solidFill>
                    <a:srgbClr val="F6F8F8">
                      <a:lumMod val="10000"/>
                    </a:srgbClr>
                  </a:solidFill>
                  <a:latin typeface="Calibri" pitchFamily="34" charset="0"/>
                </a:rPr>
                <a:t>İşbirliği amacı ile bir araya gelen işletmelerin ön başvuru tarihinden en az 1 (bir) yıl önce kurulmuş olması ve son mali yılda bilanço esasına göre defter tutmuş olması gerekir. Ancak, büyük işletme ile işbirliği yapılması veya proje ortağı işletmenin İŞGEM/TEKMER bünyesinde faaliyet göstermesi durumunda bu hüküm uygulanmaz.</a:t>
              </a:r>
            </a:p>
          </p:txBody>
        </p:sp>
      </p:grpSp>
      <p:grpSp>
        <p:nvGrpSpPr>
          <p:cNvPr id="7" name="Grup 6"/>
          <p:cNvGrpSpPr/>
          <p:nvPr/>
        </p:nvGrpSpPr>
        <p:grpSpPr>
          <a:xfrm>
            <a:off x="849871" y="2051535"/>
            <a:ext cx="1269907" cy="2130949"/>
            <a:chOff x="31984" y="-837462"/>
            <a:chExt cx="9989672" cy="1522105"/>
          </a:xfrm>
          <a:scene3d>
            <a:camera prst="orthographicFront"/>
            <a:lightRig rig="chilly" dir="t"/>
          </a:scene3d>
        </p:grpSpPr>
        <p:sp>
          <p:nvSpPr>
            <p:cNvPr id="8" name="Yuvarlatılmış Dikdörtgen 7"/>
            <p:cNvSpPr/>
            <p:nvPr/>
          </p:nvSpPr>
          <p:spPr>
            <a:xfrm>
              <a:off x="31984" y="-717654"/>
              <a:ext cx="9989672" cy="1234422"/>
            </a:xfrm>
            <a:prstGeom prst="roundRect">
              <a:avLst/>
            </a:prstGeom>
            <a:solidFill>
              <a:srgbClr val="A4E4B0"/>
            </a:solidFill>
            <a:sp3d prstMaterial="translucentPowder">
              <a:bevelT w="127000" h="25400" prst="softRound"/>
            </a:sp3d>
          </p:spPr>
          <p:style>
            <a:lnRef idx="0">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Yuvarlatılmış Dikdörtgen 4"/>
            <p:cNvSpPr/>
            <p:nvPr/>
          </p:nvSpPr>
          <p:spPr>
            <a:xfrm>
              <a:off x="31984" y="-837462"/>
              <a:ext cx="9925703" cy="152210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09321" tIns="109321" rIns="109321" bIns="109321" numCol="1" spcCol="1270" anchor="ctr" anchorCtr="0">
              <a:noAutofit/>
            </a:bodyPr>
            <a:lstStyle/>
            <a:p>
              <a:pPr defTabSz="998023">
                <a:lnSpc>
                  <a:spcPct val="90000"/>
                </a:lnSpc>
                <a:spcBef>
                  <a:spcPct val="0"/>
                </a:spcBef>
                <a:spcAft>
                  <a:spcPct val="35000"/>
                </a:spcAft>
              </a:pPr>
              <a:r>
                <a:rPr lang="tr-TR" sz="1320" dirty="0">
                  <a:solidFill>
                    <a:srgbClr val="F6F8F8">
                      <a:lumMod val="10000"/>
                    </a:srgbClr>
                  </a:solidFill>
                  <a:latin typeface="Calibri" pitchFamily="34" charset="0"/>
                </a:rPr>
                <a:t>İşletmeler mevcudiyetlerini koruyarak veya kendilerini feshederek işletici kuruluşa ortak olabilirler. </a:t>
              </a:r>
            </a:p>
          </p:txBody>
        </p:sp>
      </p:grpSp>
      <p:sp>
        <p:nvSpPr>
          <p:cNvPr id="11" name="Yuvarlatılmış Dikdörtgen 10"/>
          <p:cNvSpPr/>
          <p:nvPr/>
        </p:nvSpPr>
        <p:spPr>
          <a:xfrm>
            <a:off x="849901" y="4094932"/>
            <a:ext cx="1334310" cy="572495"/>
          </a:xfrm>
          <a:prstGeom prst="roundRect">
            <a:avLst/>
          </a:prstGeom>
          <a:solidFill>
            <a:srgbClr val="A4E4B0"/>
          </a:solidFill>
          <a:sp3d prstMaterial="translucentPowder">
            <a:bevelT w="127000" h="25400" prst="softRound"/>
          </a:sp3d>
        </p:spPr>
        <p:style>
          <a:lnRef idx="0">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85861" tIns="42931" rIns="85861" bIns="42931"/>
          <a:lstStyle/>
          <a:p>
            <a:pPr defTabSz="855451"/>
            <a:r>
              <a:rPr lang="tr-TR" sz="1320" dirty="0">
                <a:solidFill>
                  <a:srgbClr val="F6F8F8">
                    <a:lumMod val="10000"/>
                  </a:srgbClr>
                </a:solidFill>
                <a:latin typeface="Calibri" pitchFamily="34" charset="0"/>
              </a:rPr>
              <a:t>Büyük İşletme hisse oranı &lt; 25</a:t>
            </a:r>
            <a:endParaRPr lang="tr-TR" sz="1320" dirty="0">
              <a:solidFill>
                <a:srgbClr val="F6F8F8"/>
              </a:solidFill>
              <a:latin typeface="Roboto Light"/>
            </a:endParaRPr>
          </a:p>
        </p:txBody>
      </p:sp>
      <p:sp>
        <p:nvSpPr>
          <p:cNvPr id="12" name="Yuvarlatılmış Dikdörtgen 11"/>
          <p:cNvSpPr/>
          <p:nvPr/>
        </p:nvSpPr>
        <p:spPr>
          <a:xfrm>
            <a:off x="849901" y="4850307"/>
            <a:ext cx="1334310" cy="572495"/>
          </a:xfrm>
          <a:prstGeom prst="roundRect">
            <a:avLst/>
          </a:prstGeom>
          <a:solidFill>
            <a:srgbClr val="A4E4B0"/>
          </a:solidFill>
          <a:sp3d prstMaterial="translucentPowder">
            <a:bevelT w="127000" h="25400" prst="softRound"/>
          </a:sp3d>
        </p:spPr>
        <p:style>
          <a:lnRef idx="0">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85861" tIns="42931" rIns="85861" bIns="42931"/>
          <a:lstStyle/>
          <a:p>
            <a:pPr defTabSz="855451"/>
            <a:r>
              <a:rPr lang="tr-TR" sz="1320" dirty="0">
                <a:solidFill>
                  <a:srgbClr val="F6F8F8">
                    <a:lumMod val="10000"/>
                  </a:srgbClr>
                </a:solidFill>
                <a:latin typeface="Calibri" pitchFamily="34" charset="0"/>
              </a:rPr>
              <a:t>KOBİ  hisse oranı ≤ 50</a:t>
            </a:r>
            <a:endParaRPr lang="tr-TR" sz="1320" dirty="0">
              <a:solidFill>
                <a:srgbClr val="F6F8F8"/>
              </a:solidFill>
              <a:latin typeface="Roboto Light"/>
            </a:endParaRPr>
          </a:p>
        </p:txBody>
      </p:sp>
      <p:sp>
        <p:nvSpPr>
          <p:cNvPr id="13" name="TextBox 18">
            <a:extLst>
              <a:ext uri="{FF2B5EF4-FFF2-40B4-BE49-F238E27FC236}">
                <a16:creationId xmlns:a16="http://schemas.microsoft.com/office/drawing/2014/main" id="{CDB69DC1-FE61-4F64-AEE0-C856CB684FCD}"/>
              </a:ext>
            </a:extLst>
          </p:cNvPr>
          <p:cNvSpPr txBox="1"/>
          <p:nvPr/>
        </p:nvSpPr>
        <p:spPr>
          <a:xfrm>
            <a:off x="1495078" y="364976"/>
            <a:ext cx="9588524" cy="650958"/>
          </a:xfrm>
          <a:prstGeom prst="rect">
            <a:avLst/>
          </a:prstGeom>
          <a:noFill/>
        </p:spPr>
        <p:txBody>
          <a:bodyPr wrap="square" lIns="85861" tIns="42931" rIns="85861" bIns="42931" rtlCol="0">
            <a:spAutoFit/>
          </a:bodyPr>
          <a:lstStyle/>
          <a:p>
            <a:pPr algn="ctr" defTabSz="855451">
              <a:lnSpc>
                <a:spcPts val="4366"/>
              </a:lnSpc>
            </a:pPr>
            <a:r>
              <a:rPr lang="tr-TR" sz="3000" b="1" dirty="0">
                <a:solidFill>
                  <a:srgbClr val="00759E">
                    <a:lumMod val="60000"/>
                    <a:lumOff val="40000"/>
                  </a:srgbClr>
                </a:solidFill>
                <a:latin typeface="Calibri" pitchFamily="34" charset="0"/>
                <a:ea typeface="Roboto Black" panose="02000000000000000000" pitchFamily="2" charset="0"/>
              </a:rPr>
              <a:t>İşbirliği Destek Programı İşbirliği Ortaklık Modelleri</a:t>
            </a:r>
          </a:p>
        </p:txBody>
      </p:sp>
    </p:spTree>
    <p:extLst>
      <p:ext uri="{BB962C8B-B14F-4D97-AF65-F5344CB8AC3E}">
        <p14:creationId xmlns:p14="http://schemas.microsoft.com/office/powerpoint/2010/main" val="3660735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o 2"/>
          <p:cNvGraphicFramePr>
            <a:graphicFrameLocks noGrp="1"/>
          </p:cNvGraphicFramePr>
          <p:nvPr>
            <p:extLst/>
          </p:nvPr>
        </p:nvGraphicFramePr>
        <p:xfrm>
          <a:off x="997835" y="4465915"/>
          <a:ext cx="10196333" cy="2103134"/>
        </p:xfrm>
        <a:graphic>
          <a:graphicData uri="http://schemas.openxmlformats.org/drawingml/2006/table">
            <a:tbl>
              <a:tblPr firstRow="1" bandRow="1">
                <a:tableStyleId>{69CF1AB2-1976-4502-BF36-3FF5EA218861}</a:tableStyleId>
              </a:tblPr>
              <a:tblGrid>
                <a:gridCol w="4517887">
                  <a:extLst>
                    <a:ext uri="{9D8B030D-6E8A-4147-A177-3AD203B41FA5}">
                      <a16:colId xmlns:a16="http://schemas.microsoft.com/office/drawing/2014/main" val="20000"/>
                    </a:ext>
                  </a:extLst>
                </a:gridCol>
                <a:gridCol w="2839223">
                  <a:extLst>
                    <a:ext uri="{9D8B030D-6E8A-4147-A177-3AD203B41FA5}">
                      <a16:colId xmlns:a16="http://schemas.microsoft.com/office/drawing/2014/main" val="20001"/>
                    </a:ext>
                  </a:extLst>
                </a:gridCol>
                <a:gridCol w="2839223">
                  <a:extLst>
                    <a:ext uri="{9D8B030D-6E8A-4147-A177-3AD203B41FA5}">
                      <a16:colId xmlns:a16="http://schemas.microsoft.com/office/drawing/2014/main" val="20002"/>
                    </a:ext>
                  </a:extLst>
                </a:gridCol>
              </a:tblGrid>
              <a:tr h="457202">
                <a:tc>
                  <a:txBody>
                    <a:bodyPr/>
                    <a:lstStyle/>
                    <a:p>
                      <a:pPr algn="l"/>
                      <a:r>
                        <a:rPr lang="tr-TR" sz="1400" dirty="0" smtClean="0"/>
                        <a:t>Destek Kalemleri</a:t>
                      </a:r>
                      <a:endParaRPr lang="tr-TR" sz="1400" b="0" dirty="0" smtClean="0"/>
                    </a:p>
                  </a:txBody>
                  <a:tcPr marL="109728" marR="109728" marT="45721" marB="45721" anchor="ctr">
                    <a:solidFill>
                      <a:schemeClr val="accent1">
                        <a:lumMod val="60000"/>
                        <a:lumOff val="40000"/>
                      </a:schemeClr>
                    </a:solidFill>
                  </a:tcPr>
                </a:tc>
                <a:tc>
                  <a:txBody>
                    <a:bodyPr/>
                    <a:lstStyle/>
                    <a:p>
                      <a:pPr algn="ctr"/>
                      <a:r>
                        <a:rPr lang="tr-TR" sz="1200" dirty="0" smtClean="0"/>
                        <a:t>Geri Ödemesiz</a:t>
                      </a:r>
                      <a:r>
                        <a:rPr lang="tr-TR" sz="1200" baseline="0" dirty="0" smtClean="0"/>
                        <a:t> </a:t>
                      </a:r>
                    </a:p>
                    <a:p>
                      <a:pPr algn="ctr"/>
                      <a:r>
                        <a:rPr lang="tr-TR" sz="1200" dirty="0" smtClean="0"/>
                        <a:t>Destek Üst Limiti</a:t>
                      </a:r>
                      <a:endParaRPr lang="tr-TR" sz="1200" b="0" dirty="0"/>
                    </a:p>
                  </a:txBody>
                  <a:tcPr marL="109728" marR="109728" marT="45721" marB="45721" anchor="ctr">
                    <a:solidFill>
                      <a:schemeClr val="accent1">
                        <a:lumMod val="60000"/>
                        <a:lumOff val="40000"/>
                      </a:schemeClr>
                    </a:solidFill>
                  </a:tcPr>
                </a:tc>
                <a:tc>
                  <a:txBody>
                    <a:bodyPr/>
                    <a:lstStyle/>
                    <a:p>
                      <a:pPr algn="ctr"/>
                      <a:r>
                        <a:rPr lang="tr-TR" sz="1200" dirty="0" smtClean="0"/>
                        <a:t>Geri Ödemeli</a:t>
                      </a:r>
                      <a:r>
                        <a:rPr lang="tr-TR" sz="1200" baseline="0" dirty="0" smtClean="0"/>
                        <a:t> </a:t>
                      </a:r>
                    </a:p>
                    <a:p>
                      <a:pPr algn="ctr"/>
                      <a:r>
                        <a:rPr lang="tr-TR" sz="1200" dirty="0" smtClean="0"/>
                        <a:t>Destek Üst Limiti</a:t>
                      </a:r>
                      <a:endParaRPr lang="tr-TR" sz="1200" b="0" dirty="0"/>
                    </a:p>
                  </a:txBody>
                  <a:tcPr marL="109728" marR="109728" marT="45721" marB="45721" anchor="ctr">
                    <a:solidFill>
                      <a:schemeClr val="accent1">
                        <a:lumMod val="60000"/>
                        <a:lumOff val="40000"/>
                      </a:schemeClr>
                    </a:solidFill>
                  </a:tcPr>
                </a:tc>
                <a:extLst>
                  <a:ext uri="{0D108BD9-81ED-4DB2-BD59-A6C34878D82A}">
                    <a16:rowId xmlns:a16="http://schemas.microsoft.com/office/drawing/2014/main" val="10000"/>
                  </a:ext>
                </a:extLst>
              </a:tr>
              <a:tr h="2743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dirty="0" smtClean="0"/>
                        <a:t>Personel</a:t>
                      </a:r>
                    </a:p>
                  </a:txBody>
                  <a:tcPr marL="109728" marR="109728" marT="45721" marB="45721"/>
                </a:tc>
                <a:tc>
                  <a:txBody>
                    <a:bodyPr/>
                    <a:lstStyle/>
                    <a:p>
                      <a:pPr algn="ctr"/>
                      <a:r>
                        <a:rPr lang="tr-TR" sz="1200" dirty="0" smtClean="0"/>
                        <a:t>X</a:t>
                      </a:r>
                      <a:endParaRPr lang="tr-TR" sz="1200" dirty="0"/>
                    </a:p>
                  </a:txBody>
                  <a:tcPr marL="109728" marR="109728" marT="45721" marB="45721" anchor="ctr"/>
                </a:tc>
                <a:tc>
                  <a:txBody>
                    <a:bodyPr/>
                    <a:lstStyle/>
                    <a:p>
                      <a:pPr algn="ctr"/>
                      <a:r>
                        <a:rPr lang="tr-TR" sz="1200" dirty="0" smtClean="0"/>
                        <a:t>-</a:t>
                      </a:r>
                      <a:endParaRPr lang="tr-TR" sz="1200" dirty="0"/>
                    </a:p>
                  </a:txBody>
                  <a:tcPr marL="109728" marR="109728" marT="45721" marB="45721" anchor="ctr"/>
                </a:tc>
                <a:extLst>
                  <a:ext uri="{0D108BD9-81ED-4DB2-BD59-A6C34878D82A}">
                    <a16:rowId xmlns:a16="http://schemas.microsoft.com/office/drawing/2014/main" val="10001"/>
                  </a:ext>
                </a:extLst>
              </a:tr>
              <a:tr h="2743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dirty="0" smtClean="0"/>
                        <a:t>Makine – Teçhizat</a:t>
                      </a:r>
                      <a:r>
                        <a:rPr lang="tr-TR" sz="1200" baseline="0" dirty="0" smtClean="0"/>
                        <a:t> ve Kalıp</a:t>
                      </a:r>
                      <a:endParaRPr lang="tr-TR" sz="1200" dirty="0" smtClean="0"/>
                    </a:p>
                  </a:txBody>
                  <a:tcPr marL="109728" marR="109728" marT="45721" marB="45721"/>
                </a:tc>
                <a:tc gridSpan="2">
                  <a:txBody>
                    <a:bodyPr/>
                    <a:lstStyle/>
                    <a:p>
                      <a:pPr algn="ctr"/>
                      <a:r>
                        <a:rPr lang="tr-TR" sz="1200" b="0" dirty="0" smtClean="0"/>
                        <a:t>X</a:t>
                      </a:r>
                      <a:endParaRPr lang="tr-TR" sz="1200" b="0" dirty="0"/>
                    </a:p>
                  </a:txBody>
                  <a:tcPr marL="109728" marR="109728" marT="45721" marB="45721" anchor="ctr"/>
                </a:tc>
                <a:tc hMerge="1">
                  <a:txBody>
                    <a:bodyPr/>
                    <a:lstStyle/>
                    <a:p>
                      <a:pPr algn="l"/>
                      <a:endParaRPr lang="tr-TR" sz="1100" dirty="0"/>
                    </a:p>
                  </a:txBody>
                  <a:tcPr anchor="ctr"/>
                </a:tc>
                <a:extLst>
                  <a:ext uri="{0D108BD9-81ED-4DB2-BD59-A6C34878D82A}">
                    <a16:rowId xmlns:a16="http://schemas.microsoft.com/office/drawing/2014/main" val="10002"/>
                  </a:ext>
                </a:extLst>
              </a:tr>
              <a:tr h="2743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baseline="0" dirty="0" smtClean="0"/>
                        <a:t>Hammadde ve Malzeme</a:t>
                      </a:r>
                      <a:endParaRPr lang="tr-TR" sz="1200" dirty="0"/>
                    </a:p>
                  </a:txBody>
                  <a:tcPr marL="109728" marR="109728" marT="45721" marB="45721"/>
                </a:tc>
                <a:tc gridSpan="2">
                  <a:txBody>
                    <a:bodyPr/>
                    <a:lstStyle/>
                    <a:p>
                      <a:pPr algn="ctr"/>
                      <a:r>
                        <a:rPr lang="tr-TR" sz="1200" b="0" dirty="0" smtClean="0"/>
                        <a:t>X</a:t>
                      </a:r>
                      <a:endParaRPr lang="tr-TR" sz="1200" b="0" dirty="0"/>
                    </a:p>
                  </a:txBody>
                  <a:tcPr marL="109728" marR="109728" marT="45721" marB="45721" anchor="ctr"/>
                </a:tc>
                <a:tc hMerge="1">
                  <a:txBody>
                    <a:bodyPr/>
                    <a:lstStyle/>
                    <a:p>
                      <a:endParaRPr lang="tr-TR"/>
                    </a:p>
                  </a:txBody>
                  <a:tcPr/>
                </a:tc>
                <a:extLst>
                  <a:ext uri="{0D108BD9-81ED-4DB2-BD59-A6C34878D82A}">
                    <a16:rowId xmlns:a16="http://schemas.microsoft.com/office/drawing/2014/main" val="10003"/>
                  </a:ext>
                </a:extLst>
              </a:tr>
              <a:tr h="2743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baseline="0" dirty="0" smtClean="0"/>
                        <a:t>Yazılım</a:t>
                      </a:r>
                      <a:endParaRPr lang="tr-TR" sz="1200" dirty="0" smtClean="0"/>
                    </a:p>
                  </a:txBody>
                  <a:tcPr marL="109728" marR="109728" marT="45721" marB="45721"/>
                </a:tc>
                <a:tc gridSpan="2">
                  <a:txBody>
                    <a:bodyPr/>
                    <a:lstStyle/>
                    <a:p>
                      <a:pPr algn="ctr"/>
                      <a:r>
                        <a:rPr lang="tr-TR" sz="1200" b="0" dirty="0" smtClean="0"/>
                        <a:t>X</a:t>
                      </a:r>
                      <a:endParaRPr lang="tr-TR" sz="1200" b="0" dirty="0"/>
                    </a:p>
                  </a:txBody>
                  <a:tcPr marL="109728" marR="109728" marT="45721" marB="45721" anchor="ctr"/>
                </a:tc>
                <a:tc hMerge="1">
                  <a:txBody>
                    <a:bodyPr/>
                    <a:lstStyle/>
                    <a:p>
                      <a:endParaRPr lang="tr-TR"/>
                    </a:p>
                  </a:txBody>
                  <a:tcPr/>
                </a:tc>
                <a:extLst>
                  <a:ext uri="{0D108BD9-81ED-4DB2-BD59-A6C34878D82A}">
                    <a16:rowId xmlns:a16="http://schemas.microsoft.com/office/drawing/2014/main" val="10004"/>
                  </a:ext>
                </a:extLst>
              </a:tr>
              <a:tr h="2743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dirty="0" smtClean="0"/>
                        <a:t>Hizmet Alımı</a:t>
                      </a:r>
                    </a:p>
                  </a:txBody>
                  <a:tcPr marL="109728" marR="109728" marT="45721" marB="45721"/>
                </a:tc>
                <a:tc gridSpan="2">
                  <a:txBody>
                    <a:bodyPr/>
                    <a:lstStyle/>
                    <a:p>
                      <a:pPr marL="0" marR="0" indent="0" algn="ctr" defTabSz="914292" rtl="0" eaLnBrk="1" fontAlgn="auto" latinLnBrk="0" hangingPunct="1">
                        <a:lnSpc>
                          <a:spcPct val="100000"/>
                        </a:lnSpc>
                        <a:spcBef>
                          <a:spcPts val="0"/>
                        </a:spcBef>
                        <a:spcAft>
                          <a:spcPts val="0"/>
                        </a:spcAft>
                        <a:buClrTx/>
                        <a:buSzTx/>
                        <a:buFontTx/>
                        <a:buNone/>
                        <a:tabLst/>
                        <a:defRPr/>
                      </a:pPr>
                      <a:r>
                        <a:rPr lang="tr-TR" sz="1200" b="0" dirty="0" smtClean="0"/>
                        <a:t>X</a:t>
                      </a:r>
                    </a:p>
                  </a:txBody>
                  <a:tcPr marL="109728" marR="109728" marT="45721" marB="45721" anchor="ctr"/>
                </a:tc>
                <a:tc hMerge="1">
                  <a:txBody>
                    <a:bodyPr/>
                    <a:lstStyle/>
                    <a:p>
                      <a:pPr algn="ctr"/>
                      <a:endParaRPr lang="tr-TR" sz="1000" dirty="0"/>
                    </a:p>
                  </a:txBody>
                  <a:tcPr marT="38101" marB="38101" anchor="ctr"/>
                </a:tc>
                <a:extLst>
                  <a:ext uri="{0D108BD9-81ED-4DB2-BD59-A6C34878D82A}">
                    <a16:rowId xmlns:a16="http://schemas.microsoft.com/office/drawing/2014/main" val="10005"/>
                  </a:ext>
                </a:extLst>
              </a:tr>
              <a:tr h="274322">
                <a:tc>
                  <a:txBody>
                    <a:bodyPr/>
                    <a:lstStyle/>
                    <a:p>
                      <a:pPr marL="0" marR="0" indent="0" algn="l" defTabSz="914292" rtl="0" eaLnBrk="1" fontAlgn="auto" latinLnBrk="0" hangingPunct="1">
                        <a:lnSpc>
                          <a:spcPct val="100000"/>
                        </a:lnSpc>
                        <a:spcBef>
                          <a:spcPts val="0"/>
                        </a:spcBef>
                        <a:spcAft>
                          <a:spcPts val="0"/>
                        </a:spcAft>
                        <a:buClrTx/>
                        <a:buSzTx/>
                        <a:buFontTx/>
                        <a:buNone/>
                        <a:tabLst/>
                        <a:defRPr/>
                      </a:pPr>
                      <a:r>
                        <a:rPr lang="tr-TR" sz="1200" dirty="0" smtClean="0"/>
                        <a:t>Diğer </a:t>
                      </a:r>
                    </a:p>
                  </a:txBody>
                  <a:tcPr marL="109728" marR="109728" marT="45721" marB="45721"/>
                </a:tc>
                <a:tc gridSpan="2">
                  <a:txBody>
                    <a:bodyPr/>
                    <a:lstStyle/>
                    <a:p>
                      <a:pPr algn="ctr"/>
                      <a:r>
                        <a:rPr lang="tr-TR" sz="1200" b="0" dirty="0" smtClean="0"/>
                        <a:t>X</a:t>
                      </a:r>
                      <a:endParaRPr lang="tr-TR" sz="1200" b="0" dirty="0"/>
                    </a:p>
                  </a:txBody>
                  <a:tcPr marL="109728" marR="109728" marT="45721" marB="45721" anchor="ctr"/>
                </a:tc>
                <a:tc hMerge="1">
                  <a:txBody>
                    <a:bodyPr/>
                    <a:lstStyle/>
                    <a:p>
                      <a:endParaRPr lang="tr-TR"/>
                    </a:p>
                  </a:txBody>
                  <a:tcPr/>
                </a:tc>
                <a:extLst>
                  <a:ext uri="{0D108BD9-81ED-4DB2-BD59-A6C34878D82A}">
                    <a16:rowId xmlns:a16="http://schemas.microsoft.com/office/drawing/2014/main" val="10006"/>
                  </a:ext>
                </a:extLst>
              </a:tr>
            </a:tbl>
          </a:graphicData>
        </a:graphic>
      </p:graphicFrame>
      <p:graphicFrame>
        <p:nvGraphicFramePr>
          <p:cNvPr id="7" name="Tablo 6"/>
          <p:cNvGraphicFramePr>
            <a:graphicFrameLocks noGrp="1"/>
          </p:cNvGraphicFramePr>
          <p:nvPr>
            <p:extLst/>
          </p:nvPr>
        </p:nvGraphicFramePr>
        <p:xfrm>
          <a:off x="912765" y="476676"/>
          <a:ext cx="10194992" cy="3456250"/>
        </p:xfrm>
        <a:graphic>
          <a:graphicData uri="http://schemas.openxmlformats.org/drawingml/2006/table">
            <a:tbl>
              <a:tblPr firstRow="1" firstCol="1" bandRow="1">
                <a:tableStyleId>{BC89EF96-8CEA-46FF-86C4-4CE0E7609802}</a:tableStyleId>
              </a:tblPr>
              <a:tblGrid>
                <a:gridCol w="2036334">
                  <a:extLst>
                    <a:ext uri="{9D8B030D-6E8A-4147-A177-3AD203B41FA5}">
                      <a16:colId xmlns:a16="http://schemas.microsoft.com/office/drawing/2014/main" val="20000"/>
                    </a:ext>
                  </a:extLst>
                </a:gridCol>
                <a:gridCol w="937205">
                  <a:extLst>
                    <a:ext uri="{9D8B030D-6E8A-4147-A177-3AD203B41FA5}">
                      <a16:colId xmlns:a16="http://schemas.microsoft.com/office/drawing/2014/main" val="20001"/>
                    </a:ext>
                  </a:extLst>
                </a:gridCol>
                <a:gridCol w="1660028">
                  <a:extLst>
                    <a:ext uri="{9D8B030D-6E8A-4147-A177-3AD203B41FA5}">
                      <a16:colId xmlns:a16="http://schemas.microsoft.com/office/drawing/2014/main" val="20002"/>
                    </a:ext>
                  </a:extLst>
                </a:gridCol>
                <a:gridCol w="1534384">
                  <a:extLst>
                    <a:ext uri="{9D8B030D-6E8A-4147-A177-3AD203B41FA5}">
                      <a16:colId xmlns:a16="http://schemas.microsoft.com/office/drawing/2014/main" val="20003"/>
                    </a:ext>
                  </a:extLst>
                </a:gridCol>
                <a:gridCol w="1648210">
                  <a:extLst>
                    <a:ext uri="{9D8B030D-6E8A-4147-A177-3AD203B41FA5}">
                      <a16:colId xmlns:a16="http://schemas.microsoft.com/office/drawing/2014/main" val="20004"/>
                    </a:ext>
                  </a:extLst>
                </a:gridCol>
                <a:gridCol w="1274374">
                  <a:extLst>
                    <a:ext uri="{9D8B030D-6E8A-4147-A177-3AD203B41FA5}">
                      <a16:colId xmlns:a16="http://schemas.microsoft.com/office/drawing/2014/main" val="20005"/>
                    </a:ext>
                  </a:extLst>
                </a:gridCol>
                <a:gridCol w="1104457">
                  <a:extLst>
                    <a:ext uri="{9D8B030D-6E8A-4147-A177-3AD203B41FA5}">
                      <a16:colId xmlns:a16="http://schemas.microsoft.com/office/drawing/2014/main" val="20006"/>
                    </a:ext>
                  </a:extLst>
                </a:gridCol>
              </a:tblGrid>
              <a:tr h="242248">
                <a:tc gridSpan="6">
                  <a:txBody>
                    <a:bodyPr/>
                    <a:lstStyle/>
                    <a:p>
                      <a:pPr algn="ctr">
                        <a:spcAft>
                          <a:spcPts val="0"/>
                        </a:spcAft>
                      </a:pPr>
                      <a:r>
                        <a:rPr lang="en-GB" sz="1400" dirty="0">
                          <a:effectLst/>
                        </a:rPr>
                        <a:t>İŞLETİCİ KURULUŞ MODELİ</a:t>
                      </a:r>
                      <a:endParaRPr lang="tr-TR" sz="1400" b="1" dirty="0">
                        <a:effectLst/>
                        <a:latin typeface="Times New Roman"/>
                        <a:ea typeface="Times New Roman"/>
                      </a:endParaRPr>
                    </a:p>
                  </a:txBody>
                  <a:tcPr marL="47304" marR="47304" marT="0" marB="0" anchor="ctr">
                    <a:solidFill>
                      <a:schemeClr val="accent1">
                        <a:lumMod val="60000"/>
                        <a:lumOff val="40000"/>
                      </a:schemeClr>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rowSpan="3">
                  <a:txBody>
                    <a:bodyPr/>
                    <a:lstStyle/>
                    <a:p>
                      <a:pPr algn="ctr">
                        <a:spcAft>
                          <a:spcPts val="0"/>
                        </a:spcAft>
                      </a:pPr>
                      <a:r>
                        <a:rPr lang="tr-TR" sz="1400" dirty="0" smtClean="0">
                          <a:effectLst/>
                        </a:rPr>
                        <a:t>Destek Oranı (%)</a:t>
                      </a:r>
                      <a:endParaRPr lang="tr-TR" sz="1400" b="1" dirty="0">
                        <a:effectLst/>
                        <a:latin typeface="+mn-lt"/>
                        <a:ea typeface="Times New Roman"/>
                      </a:endParaRPr>
                    </a:p>
                  </a:txBody>
                  <a:tcPr marL="47304" marR="47304" marT="0" marB="0" anchor="ctr">
                    <a:solidFill>
                      <a:schemeClr val="accent1">
                        <a:lumMod val="60000"/>
                        <a:lumOff val="40000"/>
                      </a:schemeClr>
                    </a:solidFill>
                  </a:tcPr>
                </a:tc>
                <a:extLst>
                  <a:ext uri="{0D108BD9-81ED-4DB2-BD59-A6C34878D82A}">
                    <a16:rowId xmlns:a16="http://schemas.microsoft.com/office/drawing/2014/main" val="10000"/>
                  </a:ext>
                </a:extLst>
              </a:tr>
              <a:tr h="339992">
                <a:tc rowSpan="2">
                  <a:txBody>
                    <a:bodyPr/>
                    <a:lstStyle/>
                    <a:p>
                      <a:pPr>
                        <a:spcAft>
                          <a:spcPts val="0"/>
                        </a:spcAft>
                      </a:pPr>
                      <a:r>
                        <a:rPr lang="en-GB" sz="1400" dirty="0" err="1">
                          <a:effectLst/>
                        </a:rPr>
                        <a:t>İşletici</a:t>
                      </a:r>
                      <a:r>
                        <a:rPr lang="en-GB" sz="1400" dirty="0">
                          <a:effectLst/>
                        </a:rPr>
                        <a:t> </a:t>
                      </a:r>
                      <a:r>
                        <a:rPr lang="en-GB" sz="1400" dirty="0" err="1">
                          <a:effectLst/>
                        </a:rPr>
                        <a:t>Kuruluşun</a:t>
                      </a:r>
                      <a:r>
                        <a:rPr lang="en-GB" sz="1400" dirty="0">
                          <a:effectLst/>
                        </a:rPr>
                        <a:t> </a:t>
                      </a:r>
                      <a:r>
                        <a:rPr lang="en-GB" sz="1400" dirty="0" err="1">
                          <a:effectLst/>
                        </a:rPr>
                        <a:t>Teknoloji</a:t>
                      </a:r>
                      <a:r>
                        <a:rPr lang="en-GB" sz="1400" dirty="0">
                          <a:effectLst/>
                        </a:rPr>
                        <a:t> </a:t>
                      </a:r>
                      <a:r>
                        <a:rPr lang="en-GB" sz="1400" dirty="0" err="1">
                          <a:effectLst/>
                        </a:rPr>
                        <a:t>Alanı</a:t>
                      </a:r>
                      <a:endParaRPr lang="tr-TR" sz="1400" b="1" dirty="0">
                        <a:effectLst/>
                        <a:latin typeface="Times New Roman"/>
                        <a:ea typeface="Times New Roman"/>
                      </a:endParaRPr>
                    </a:p>
                  </a:txBody>
                  <a:tcPr marL="47304" marR="47304" marT="0" marB="0" anchor="ctr"/>
                </a:tc>
                <a:tc rowSpan="2">
                  <a:txBody>
                    <a:bodyPr/>
                    <a:lstStyle/>
                    <a:p>
                      <a:pPr algn="ctr">
                        <a:spcAft>
                          <a:spcPts val="0"/>
                        </a:spcAft>
                      </a:pPr>
                      <a:r>
                        <a:rPr lang="en-GB" sz="1400" b="1" dirty="0" err="1">
                          <a:effectLst/>
                        </a:rPr>
                        <a:t>Asgari</a:t>
                      </a:r>
                      <a:r>
                        <a:rPr lang="en-GB" sz="1400" b="1" dirty="0">
                          <a:effectLst/>
                        </a:rPr>
                        <a:t> KOBİ </a:t>
                      </a:r>
                      <a:r>
                        <a:rPr lang="en-GB" sz="1400" b="1" dirty="0" err="1" smtClean="0">
                          <a:effectLst/>
                        </a:rPr>
                        <a:t>Sayısı</a:t>
                      </a:r>
                      <a:r>
                        <a:rPr lang="tr-TR" sz="1400" b="1" dirty="0" smtClean="0">
                          <a:effectLst/>
                        </a:rPr>
                        <a:t>*</a:t>
                      </a:r>
                      <a:endParaRPr lang="tr-TR" sz="1400" b="1" dirty="0">
                        <a:effectLst/>
                        <a:latin typeface="Times New Roman"/>
                        <a:ea typeface="Times New Roman"/>
                      </a:endParaRPr>
                    </a:p>
                  </a:txBody>
                  <a:tcPr marL="47304" marR="47304" marT="0" marB="0" anchor="ctr"/>
                </a:tc>
                <a:tc gridSpan="3">
                  <a:txBody>
                    <a:bodyPr/>
                    <a:lstStyle/>
                    <a:p>
                      <a:pPr algn="ctr">
                        <a:spcAft>
                          <a:spcPts val="0"/>
                        </a:spcAft>
                      </a:pPr>
                      <a:r>
                        <a:rPr lang="en-GB" sz="1400" b="1" dirty="0" err="1">
                          <a:effectLst/>
                        </a:rPr>
                        <a:t>İşletici</a:t>
                      </a:r>
                      <a:r>
                        <a:rPr lang="en-GB" sz="1400" b="1" dirty="0">
                          <a:effectLst/>
                        </a:rPr>
                        <a:t> </a:t>
                      </a:r>
                      <a:r>
                        <a:rPr lang="en-GB" sz="1400" b="1" dirty="0" err="1">
                          <a:effectLst/>
                        </a:rPr>
                        <a:t>Kuruluş</a:t>
                      </a:r>
                      <a:r>
                        <a:rPr lang="en-GB" sz="1400" b="1" dirty="0">
                          <a:effectLst/>
                        </a:rPr>
                        <a:t> </a:t>
                      </a:r>
                      <a:r>
                        <a:rPr lang="en-GB" sz="1400" b="1" dirty="0" err="1">
                          <a:effectLst/>
                        </a:rPr>
                        <a:t>Proje</a:t>
                      </a:r>
                      <a:r>
                        <a:rPr lang="en-GB" sz="1400" b="1" dirty="0">
                          <a:effectLst/>
                        </a:rPr>
                        <a:t> </a:t>
                      </a:r>
                      <a:r>
                        <a:rPr lang="en-GB" sz="1400" b="1" dirty="0" err="1">
                          <a:effectLst/>
                        </a:rPr>
                        <a:t>Destek</a:t>
                      </a:r>
                      <a:r>
                        <a:rPr lang="en-GB" sz="1400" b="1" dirty="0">
                          <a:effectLst/>
                        </a:rPr>
                        <a:t> </a:t>
                      </a:r>
                      <a:r>
                        <a:rPr lang="en-GB" sz="1400" b="1" dirty="0" err="1">
                          <a:effectLst/>
                        </a:rPr>
                        <a:t>Üst</a:t>
                      </a:r>
                      <a:r>
                        <a:rPr lang="en-GB" sz="1400" b="1" dirty="0">
                          <a:effectLst/>
                        </a:rPr>
                        <a:t> </a:t>
                      </a:r>
                      <a:r>
                        <a:rPr lang="en-GB" sz="1400" b="1" dirty="0" err="1">
                          <a:effectLst/>
                        </a:rPr>
                        <a:t>Limiti</a:t>
                      </a:r>
                      <a:r>
                        <a:rPr lang="en-GB" sz="1400" b="1" dirty="0">
                          <a:effectLst/>
                        </a:rPr>
                        <a:t> (TL)</a:t>
                      </a:r>
                      <a:endParaRPr lang="tr-TR" sz="1400" b="1" dirty="0">
                        <a:effectLst/>
                        <a:latin typeface="Times New Roman"/>
                        <a:ea typeface="Times New Roman"/>
                      </a:endParaRPr>
                    </a:p>
                  </a:txBody>
                  <a:tcPr marL="47304" marR="47304" marT="0" marB="0" anchor="ctr"/>
                </a:tc>
                <a:tc hMerge="1">
                  <a:txBody>
                    <a:bodyPr/>
                    <a:lstStyle/>
                    <a:p>
                      <a:endParaRPr lang="tr-TR"/>
                    </a:p>
                  </a:txBody>
                  <a:tcPr/>
                </a:tc>
                <a:tc hMerge="1">
                  <a:txBody>
                    <a:bodyPr/>
                    <a:lstStyle/>
                    <a:p>
                      <a:endParaRPr lang="tr-TR"/>
                    </a:p>
                  </a:txBody>
                  <a:tcPr/>
                </a:tc>
                <a:tc rowSpan="2">
                  <a:txBody>
                    <a:bodyPr/>
                    <a:lstStyle/>
                    <a:p>
                      <a:pPr algn="ctr">
                        <a:spcAft>
                          <a:spcPts val="0"/>
                        </a:spcAft>
                      </a:pPr>
                      <a:r>
                        <a:rPr lang="en-GB" sz="1400" b="1" dirty="0" err="1">
                          <a:effectLst/>
                        </a:rPr>
                        <a:t>Toplam</a:t>
                      </a:r>
                      <a:r>
                        <a:rPr lang="en-GB" sz="1400" b="1" dirty="0">
                          <a:effectLst/>
                        </a:rPr>
                        <a:t> </a:t>
                      </a:r>
                      <a:r>
                        <a:rPr lang="en-GB" sz="1400" b="1" dirty="0" err="1">
                          <a:effectLst/>
                        </a:rPr>
                        <a:t>Üst</a:t>
                      </a:r>
                      <a:r>
                        <a:rPr lang="en-GB" sz="1400" b="1" dirty="0">
                          <a:effectLst/>
                        </a:rPr>
                        <a:t> Limit (TL)</a:t>
                      </a:r>
                      <a:endParaRPr lang="tr-TR" sz="1400" b="1" dirty="0">
                        <a:effectLst/>
                        <a:latin typeface="Times New Roman"/>
                        <a:ea typeface="Times New Roman"/>
                      </a:endParaRPr>
                    </a:p>
                  </a:txBody>
                  <a:tcPr marL="47304" marR="47304" marT="0" marB="0" anchor="ctr"/>
                </a:tc>
                <a:tc vMerge="1">
                  <a:txBody>
                    <a:bodyPr/>
                    <a:lstStyle/>
                    <a:p>
                      <a:pPr algn="ctr">
                        <a:spcAft>
                          <a:spcPts val="0"/>
                        </a:spcAft>
                      </a:pPr>
                      <a:endParaRPr lang="tr-TR" sz="1100" b="1" dirty="0">
                        <a:effectLst/>
                        <a:latin typeface="Times New Roman"/>
                        <a:ea typeface="Times New Roman"/>
                      </a:endParaRPr>
                    </a:p>
                  </a:txBody>
                  <a:tcPr marL="39420" marR="39420" marT="0" marB="0" anchor="ctr"/>
                </a:tc>
                <a:extLst>
                  <a:ext uri="{0D108BD9-81ED-4DB2-BD59-A6C34878D82A}">
                    <a16:rowId xmlns:a16="http://schemas.microsoft.com/office/drawing/2014/main" val="10001"/>
                  </a:ext>
                </a:extLst>
              </a:tr>
              <a:tr h="386752">
                <a:tc vMerge="1">
                  <a:txBody>
                    <a:bodyPr/>
                    <a:lstStyle/>
                    <a:p>
                      <a:endParaRPr lang="tr-TR"/>
                    </a:p>
                  </a:txBody>
                  <a:tcPr/>
                </a:tc>
                <a:tc vMerge="1">
                  <a:txBody>
                    <a:bodyPr/>
                    <a:lstStyle/>
                    <a:p>
                      <a:endParaRPr lang="tr-TR"/>
                    </a:p>
                  </a:txBody>
                  <a:tcPr/>
                </a:tc>
                <a:tc>
                  <a:txBody>
                    <a:bodyPr/>
                    <a:lstStyle/>
                    <a:p>
                      <a:pPr algn="ctr">
                        <a:spcAft>
                          <a:spcPts val="0"/>
                        </a:spcAft>
                      </a:pPr>
                      <a:r>
                        <a:rPr lang="en-GB" sz="1200" u="sng" dirty="0">
                          <a:effectLst/>
                        </a:rPr>
                        <a:t>Geri </a:t>
                      </a:r>
                      <a:r>
                        <a:rPr lang="en-GB" sz="1200" u="sng" dirty="0" err="1">
                          <a:effectLst/>
                        </a:rPr>
                        <a:t>Ödemesiz</a:t>
                      </a:r>
                      <a:endParaRPr lang="tr-TR" sz="1200" b="1" u="sng"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en-GB" sz="1200" u="sng" dirty="0" smtClean="0">
                          <a:effectLst/>
                        </a:rPr>
                        <a:t>Geri </a:t>
                      </a:r>
                      <a:r>
                        <a:rPr lang="en-GB" sz="1200" u="sng" dirty="0" err="1" smtClean="0">
                          <a:effectLst/>
                        </a:rPr>
                        <a:t>Ödemeli</a:t>
                      </a:r>
                      <a:endParaRPr lang="tr-TR" sz="1200" b="1" u="sng"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en-GB" sz="1200" u="sng" dirty="0" err="1">
                          <a:effectLst/>
                        </a:rPr>
                        <a:t>Toplam</a:t>
                      </a:r>
                      <a:endParaRPr lang="tr-TR" sz="1200" b="1" u="sng" dirty="0">
                        <a:effectLst/>
                        <a:latin typeface="Times New Roman"/>
                        <a:ea typeface="Times New Roman"/>
                      </a:endParaRPr>
                    </a:p>
                  </a:txBody>
                  <a:tcPr marL="47304" marR="47304" marT="0" marB="0" anchor="ctr">
                    <a:solidFill>
                      <a:schemeClr val="accent1">
                        <a:lumMod val="40000"/>
                        <a:lumOff val="60000"/>
                      </a:schemeClr>
                    </a:solidFill>
                  </a:tcPr>
                </a:tc>
                <a:tc vMerge="1">
                  <a:txBody>
                    <a:bodyPr/>
                    <a:lstStyle/>
                    <a:p>
                      <a:endParaRPr lang="tr-TR"/>
                    </a:p>
                  </a:txBody>
                  <a:tcPr/>
                </a:tc>
                <a:tc vMerge="1">
                  <a:txBody>
                    <a:bodyPr/>
                    <a:lstStyle/>
                    <a:p>
                      <a:endParaRPr lang="tr-TR"/>
                    </a:p>
                  </a:txBody>
                  <a:tcPr/>
                </a:tc>
                <a:extLst>
                  <a:ext uri="{0D108BD9-81ED-4DB2-BD59-A6C34878D82A}">
                    <a16:rowId xmlns:a16="http://schemas.microsoft.com/office/drawing/2014/main" val="10002"/>
                  </a:ext>
                </a:extLst>
              </a:tr>
              <a:tr h="237444">
                <a:tc>
                  <a:txBody>
                    <a:bodyPr/>
                    <a:lstStyle/>
                    <a:p>
                      <a:pPr>
                        <a:spcAft>
                          <a:spcPts val="0"/>
                        </a:spcAft>
                      </a:pPr>
                      <a:r>
                        <a:rPr lang="en-GB" sz="1200" b="0" dirty="0" err="1">
                          <a:effectLst/>
                        </a:rPr>
                        <a:t>Yüksek</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a:effectLst/>
                        </a:rPr>
                        <a:t>2</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a:effectLst/>
                        </a:rPr>
                        <a:t> </a:t>
                      </a:r>
                      <a:r>
                        <a:rPr lang="tr-TR" sz="1200" dirty="0" smtClean="0">
                          <a:effectLst/>
                        </a:rPr>
                        <a:t>1.5</a:t>
                      </a:r>
                      <a:r>
                        <a:rPr lang="en-GB" sz="1200" dirty="0" smtClean="0">
                          <a:effectLst/>
                        </a:rPr>
                        <a:t> </a:t>
                      </a:r>
                      <a:r>
                        <a:rPr lang="en-GB" sz="1200" dirty="0" err="1">
                          <a:effectLst/>
                        </a:rPr>
                        <a:t>Milyon</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smtClean="0">
                          <a:effectLst/>
                        </a:rPr>
                        <a:t>3</a:t>
                      </a:r>
                      <a:r>
                        <a:rPr lang="tr-TR" sz="1200" dirty="0" smtClean="0">
                          <a:effectLst/>
                        </a:rPr>
                        <a:t>.5</a:t>
                      </a:r>
                      <a:r>
                        <a:rPr lang="en-GB" sz="1200" dirty="0" smtClean="0">
                          <a:effectLst/>
                        </a:rPr>
                        <a:t> </a:t>
                      </a:r>
                      <a:r>
                        <a:rPr lang="en-GB" sz="1200" dirty="0" err="1">
                          <a:effectLst/>
                        </a:rPr>
                        <a:t>Milyon</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a:effectLst/>
                        </a:rPr>
                        <a:t>5 Milyon</a:t>
                      </a:r>
                      <a:endParaRPr lang="tr-TR" sz="1200" b="0">
                        <a:effectLst/>
                        <a:latin typeface="Times New Roman"/>
                        <a:ea typeface="Times New Roman"/>
                      </a:endParaRPr>
                    </a:p>
                  </a:txBody>
                  <a:tcPr marL="47304" marR="47304" marT="0" marB="0" anchor="ctr"/>
                </a:tc>
                <a:tc>
                  <a:txBody>
                    <a:bodyPr/>
                    <a:lstStyle/>
                    <a:p>
                      <a:pPr algn="ctr">
                        <a:spcAft>
                          <a:spcPts val="0"/>
                        </a:spcAft>
                      </a:pPr>
                      <a:r>
                        <a:rPr lang="en-GB" sz="1200">
                          <a:effectLst/>
                        </a:rPr>
                        <a:t>5 Milyon</a:t>
                      </a:r>
                      <a:endParaRPr lang="tr-TR" sz="1200" b="0">
                        <a:effectLst/>
                        <a:latin typeface="Times New Roman"/>
                        <a:ea typeface="Times New Roman"/>
                      </a:endParaRPr>
                    </a:p>
                  </a:txBody>
                  <a:tcPr marL="47304" marR="47304" marT="0" marB="0" anchor="ctr"/>
                </a:tc>
                <a:tc rowSpan="9">
                  <a:txBody>
                    <a:bodyPr/>
                    <a:lstStyle/>
                    <a:p>
                      <a:pPr algn="ctr">
                        <a:spcAft>
                          <a:spcPts val="0"/>
                        </a:spcAft>
                      </a:pPr>
                      <a:r>
                        <a:rPr lang="tr-TR" sz="1200" dirty="0" smtClean="0">
                          <a:effectLst/>
                        </a:rPr>
                        <a:t>60</a:t>
                      </a:r>
                      <a:endParaRPr lang="tr-TR" sz="1200" b="1" dirty="0">
                        <a:effectLst/>
                        <a:latin typeface="+mn-lt"/>
                        <a:ea typeface="Times New Roman"/>
                      </a:endParaRPr>
                    </a:p>
                  </a:txBody>
                  <a:tcPr marL="47304" marR="47304" marT="0" marB="0" anchor="ctr"/>
                </a:tc>
                <a:extLst>
                  <a:ext uri="{0D108BD9-81ED-4DB2-BD59-A6C34878D82A}">
                    <a16:rowId xmlns:a16="http://schemas.microsoft.com/office/drawing/2014/main" val="10003"/>
                  </a:ext>
                </a:extLst>
              </a:tr>
              <a:tr h="237444">
                <a:tc>
                  <a:txBody>
                    <a:bodyPr/>
                    <a:lstStyle/>
                    <a:p>
                      <a:pPr>
                        <a:spcAft>
                          <a:spcPts val="0"/>
                        </a:spcAft>
                      </a:pPr>
                      <a:r>
                        <a:rPr lang="en-GB" sz="1200" b="0" dirty="0" err="1">
                          <a:effectLst/>
                        </a:rPr>
                        <a:t>Orta</a:t>
                      </a:r>
                      <a:r>
                        <a:rPr lang="en-GB" sz="1200" b="0" dirty="0">
                          <a:effectLst/>
                        </a:rPr>
                        <a:t> </a:t>
                      </a:r>
                      <a:r>
                        <a:rPr lang="en-GB" sz="1200" b="0" dirty="0" err="1">
                          <a:effectLst/>
                        </a:rPr>
                        <a:t>Yüksek</a:t>
                      </a:r>
                      <a:endParaRPr lang="tr-TR" sz="1200" b="0"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en-GB" sz="1200" dirty="0">
                          <a:effectLst/>
                        </a:rPr>
                        <a:t>3</a:t>
                      </a:r>
                      <a:endParaRPr lang="tr-TR" sz="1200" b="0"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en-GB" sz="1200" dirty="0" smtClean="0">
                          <a:effectLst/>
                        </a:rPr>
                        <a:t> </a:t>
                      </a:r>
                      <a:r>
                        <a:rPr lang="tr-TR" sz="1200" dirty="0" smtClean="0">
                          <a:effectLst/>
                        </a:rPr>
                        <a:t>1.5</a:t>
                      </a:r>
                      <a:r>
                        <a:rPr lang="en-GB" sz="1200" dirty="0" smtClean="0">
                          <a:effectLst/>
                        </a:rPr>
                        <a:t> </a:t>
                      </a:r>
                      <a:r>
                        <a:rPr lang="en-GB" sz="1200" dirty="0" err="1" smtClean="0">
                          <a:effectLst/>
                        </a:rPr>
                        <a:t>Milyon</a:t>
                      </a:r>
                      <a:endParaRPr lang="tr-TR" sz="1200" b="0"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tr-TR" sz="1200" dirty="0" smtClean="0">
                          <a:effectLst/>
                        </a:rPr>
                        <a:t> </a:t>
                      </a:r>
                      <a:r>
                        <a:rPr lang="en-GB" sz="1200" dirty="0" smtClean="0">
                          <a:effectLst/>
                        </a:rPr>
                        <a:t>3</a:t>
                      </a:r>
                      <a:r>
                        <a:rPr lang="tr-TR" sz="1200" dirty="0" smtClean="0">
                          <a:effectLst/>
                        </a:rPr>
                        <a:t>.5</a:t>
                      </a:r>
                      <a:r>
                        <a:rPr lang="en-GB" sz="1200" dirty="0" smtClean="0">
                          <a:effectLst/>
                        </a:rPr>
                        <a:t>  </a:t>
                      </a:r>
                      <a:r>
                        <a:rPr lang="en-GB" sz="1200" dirty="0" err="1">
                          <a:effectLst/>
                        </a:rPr>
                        <a:t>Milyon</a:t>
                      </a:r>
                      <a:endParaRPr lang="tr-TR" sz="1200" b="0"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en-GB" sz="1200" dirty="0">
                          <a:effectLst/>
                        </a:rPr>
                        <a:t>5 </a:t>
                      </a:r>
                      <a:r>
                        <a:rPr lang="en-GB" sz="1200" dirty="0" err="1">
                          <a:effectLst/>
                        </a:rPr>
                        <a:t>Milyon</a:t>
                      </a:r>
                      <a:endParaRPr lang="tr-TR" sz="1200" b="0"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en-GB" sz="1200" dirty="0">
                          <a:effectLst/>
                        </a:rPr>
                        <a:t>5 </a:t>
                      </a:r>
                      <a:r>
                        <a:rPr lang="en-GB" sz="1200" dirty="0" err="1">
                          <a:effectLst/>
                        </a:rPr>
                        <a:t>Milyon</a:t>
                      </a:r>
                      <a:endParaRPr lang="tr-TR" sz="1200" b="0" dirty="0">
                        <a:effectLst/>
                        <a:latin typeface="Times New Roman"/>
                        <a:ea typeface="Times New Roman"/>
                      </a:endParaRPr>
                    </a:p>
                  </a:txBody>
                  <a:tcPr marL="47304" marR="47304" marT="0" marB="0" anchor="ctr">
                    <a:solidFill>
                      <a:schemeClr val="accent1">
                        <a:lumMod val="40000"/>
                        <a:lumOff val="60000"/>
                      </a:schemeClr>
                    </a:solidFill>
                  </a:tcPr>
                </a:tc>
                <a:tc vMerge="1">
                  <a:txBody>
                    <a:bodyPr/>
                    <a:lstStyle/>
                    <a:p>
                      <a:pPr algn="ctr">
                        <a:spcAft>
                          <a:spcPts val="0"/>
                        </a:spcAft>
                      </a:pPr>
                      <a:endParaRPr lang="tr-TR" sz="1100" b="0" dirty="0">
                        <a:effectLst/>
                        <a:latin typeface="Times New Roman"/>
                        <a:ea typeface="Times New Roman"/>
                      </a:endParaRPr>
                    </a:p>
                  </a:txBody>
                  <a:tcPr marL="39420" marR="39420" marT="0" marB="0" anchor="ctr"/>
                </a:tc>
                <a:extLst>
                  <a:ext uri="{0D108BD9-81ED-4DB2-BD59-A6C34878D82A}">
                    <a16:rowId xmlns:a16="http://schemas.microsoft.com/office/drawing/2014/main" val="10004"/>
                  </a:ext>
                </a:extLst>
              </a:tr>
              <a:tr h="237444">
                <a:tc>
                  <a:txBody>
                    <a:bodyPr/>
                    <a:lstStyle/>
                    <a:p>
                      <a:pPr>
                        <a:spcAft>
                          <a:spcPts val="0"/>
                        </a:spcAft>
                      </a:pPr>
                      <a:r>
                        <a:rPr lang="en-GB" sz="1200" b="0" dirty="0" err="1">
                          <a:effectLst/>
                        </a:rPr>
                        <a:t>Diğer</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a:effectLst/>
                        </a:rPr>
                        <a:t>5</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smtClean="0">
                          <a:effectLst/>
                        </a:rPr>
                        <a:t> </a:t>
                      </a:r>
                      <a:r>
                        <a:rPr lang="tr-TR" sz="1200" dirty="0" smtClean="0">
                          <a:effectLst/>
                        </a:rPr>
                        <a:t>1.5</a:t>
                      </a:r>
                      <a:r>
                        <a:rPr lang="en-GB" sz="1200" dirty="0" smtClean="0">
                          <a:effectLst/>
                        </a:rPr>
                        <a:t> </a:t>
                      </a:r>
                      <a:r>
                        <a:rPr lang="en-GB" sz="1200" dirty="0" err="1" smtClean="0">
                          <a:effectLst/>
                        </a:rPr>
                        <a:t>Milyon</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smtClean="0">
                          <a:effectLst/>
                        </a:rPr>
                        <a:t>3</a:t>
                      </a:r>
                      <a:r>
                        <a:rPr lang="tr-TR" sz="1200" dirty="0" smtClean="0">
                          <a:effectLst/>
                        </a:rPr>
                        <a:t>.5</a:t>
                      </a:r>
                      <a:r>
                        <a:rPr lang="en-GB" sz="1200" dirty="0" smtClean="0">
                          <a:effectLst/>
                        </a:rPr>
                        <a:t> </a:t>
                      </a:r>
                      <a:r>
                        <a:rPr lang="en-GB" sz="1200" dirty="0" err="1" smtClean="0">
                          <a:effectLst/>
                        </a:rPr>
                        <a:t>Milyon</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a:effectLst/>
                        </a:rPr>
                        <a:t>5 Milyon</a:t>
                      </a:r>
                      <a:endParaRPr lang="tr-TR" sz="1200" b="0">
                        <a:effectLst/>
                        <a:latin typeface="Times New Roman"/>
                        <a:ea typeface="Times New Roman"/>
                      </a:endParaRPr>
                    </a:p>
                  </a:txBody>
                  <a:tcPr marL="47304" marR="47304" marT="0" marB="0" anchor="ctr"/>
                </a:tc>
                <a:tc>
                  <a:txBody>
                    <a:bodyPr/>
                    <a:lstStyle/>
                    <a:p>
                      <a:pPr algn="ctr">
                        <a:spcAft>
                          <a:spcPts val="0"/>
                        </a:spcAft>
                      </a:pPr>
                      <a:r>
                        <a:rPr lang="en-GB" sz="1200">
                          <a:effectLst/>
                        </a:rPr>
                        <a:t>5 Milyon</a:t>
                      </a:r>
                      <a:endParaRPr lang="tr-TR" sz="1200" b="0">
                        <a:effectLst/>
                        <a:latin typeface="Times New Roman"/>
                        <a:ea typeface="Times New Roman"/>
                      </a:endParaRPr>
                    </a:p>
                  </a:txBody>
                  <a:tcPr marL="47304" marR="47304" marT="0" marB="0" anchor="ctr"/>
                </a:tc>
                <a:tc vMerge="1">
                  <a:txBody>
                    <a:bodyPr/>
                    <a:lstStyle/>
                    <a:p>
                      <a:pPr algn="ctr">
                        <a:spcAft>
                          <a:spcPts val="0"/>
                        </a:spcAft>
                      </a:pPr>
                      <a:endParaRPr lang="tr-TR" sz="1100" b="0" dirty="0">
                        <a:effectLst/>
                        <a:latin typeface="Times New Roman"/>
                        <a:ea typeface="Times New Roman"/>
                      </a:endParaRPr>
                    </a:p>
                  </a:txBody>
                  <a:tcPr marL="39420" marR="39420" marT="0" marB="0" anchor="ctr"/>
                </a:tc>
                <a:extLst>
                  <a:ext uri="{0D108BD9-81ED-4DB2-BD59-A6C34878D82A}">
                    <a16:rowId xmlns:a16="http://schemas.microsoft.com/office/drawing/2014/main" val="10005"/>
                  </a:ext>
                </a:extLst>
              </a:tr>
              <a:tr h="242248">
                <a:tc gridSpan="6">
                  <a:txBody>
                    <a:bodyPr/>
                    <a:lstStyle/>
                    <a:p>
                      <a:pPr algn="ctr">
                        <a:spcAft>
                          <a:spcPts val="0"/>
                        </a:spcAft>
                      </a:pPr>
                      <a:r>
                        <a:rPr lang="en-GB" sz="1400" dirty="0">
                          <a:effectLst/>
                        </a:rPr>
                        <a:t>PROJE ORTAKLIĞI MODELİ</a:t>
                      </a:r>
                      <a:endParaRPr lang="tr-TR" sz="1400" b="1" dirty="0">
                        <a:effectLst/>
                        <a:latin typeface="Times New Roman"/>
                        <a:ea typeface="Times New Roman"/>
                      </a:endParaRPr>
                    </a:p>
                  </a:txBody>
                  <a:tcPr marL="47304" marR="47304" marT="0" marB="0" anchor="ctr">
                    <a:solidFill>
                      <a:schemeClr val="accent1">
                        <a:lumMod val="60000"/>
                        <a:lumOff val="40000"/>
                      </a:schemeClr>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vMerge="1">
                  <a:txBody>
                    <a:bodyPr/>
                    <a:lstStyle/>
                    <a:p>
                      <a:pPr algn="ctr">
                        <a:spcAft>
                          <a:spcPts val="0"/>
                        </a:spcAft>
                      </a:pPr>
                      <a:endParaRPr lang="tr-TR" sz="1100" b="1" dirty="0">
                        <a:effectLst/>
                        <a:latin typeface="Times New Roman"/>
                        <a:ea typeface="Times New Roman"/>
                      </a:endParaRPr>
                    </a:p>
                  </a:txBody>
                  <a:tcPr marL="39420" marR="39420" marT="0" marB="0" anchor="ctr"/>
                </a:tc>
                <a:extLst>
                  <a:ext uri="{0D108BD9-81ED-4DB2-BD59-A6C34878D82A}">
                    <a16:rowId xmlns:a16="http://schemas.microsoft.com/office/drawing/2014/main" val="10006"/>
                  </a:ext>
                </a:extLst>
              </a:tr>
              <a:tr h="476272">
                <a:tc rowSpan="2">
                  <a:txBody>
                    <a:bodyPr/>
                    <a:lstStyle/>
                    <a:p>
                      <a:pPr>
                        <a:spcAft>
                          <a:spcPts val="0"/>
                        </a:spcAft>
                      </a:pPr>
                      <a:r>
                        <a:rPr lang="en-GB" sz="1400" dirty="0" err="1">
                          <a:effectLst/>
                        </a:rPr>
                        <a:t>Projenin</a:t>
                      </a:r>
                      <a:r>
                        <a:rPr lang="en-GB" sz="1400" dirty="0">
                          <a:effectLst/>
                        </a:rPr>
                        <a:t> </a:t>
                      </a:r>
                      <a:r>
                        <a:rPr lang="en-GB" sz="1400" dirty="0" err="1">
                          <a:effectLst/>
                        </a:rPr>
                        <a:t>Teknoloji</a:t>
                      </a:r>
                      <a:r>
                        <a:rPr lang="en-GB" sz="1400" dirty="0">
                          <a:effectLst/>
                        </a:rPr>
                        <a:t> </a:t>
                      </a:r>
                      <a:r>
                        <a:rPr lang="en-GB" sz="1400" dirty="0" err="1">
                          <a:effectLst/>
                        </a:rPr>
                        <a:t>Alanı</a:t>
                      </a:r>
                      <a:endParaRPr lang="tr-TR" sz="1400" b="1" dirty="0">
                        <a:effectLst/>
                        <a:latin typeface="Times New Roman"/>
                        <a:ea typeface="Times New Roman"/>
                      </a:endParaRPr>
                    </a:p>
                  </a:txBody>
                  <a:tcPr marL="47304" marR="47304" marT="0" marB="0" anchor="ctr"/>
                </a:tc>
                <a:tc rowSpan="2">
                  <a:txBody>
                    <a:bodyPr/>
                    <a:lstStyle/>
                    <a:p>
                      <a:pPr algn="ctr">
                        <a:spcAft>
                          <a:spcPts val="0"/>
                        </a:spcAft>
                      </a:pPr>
                      <a:r>
                        <a:rPr lang="en-GB" sz="1400" b="1" dirty="0" err="1">
                          <a:effectLst/>
                        </a:rPr>
                        <a:t>Asgari</a:t>
                      </a:r>
                      <a:r>
                        <a:rPr lang="en-GB" sz="1400" b="1" dirty="0">
                          <a:effectLst/>
                        </a:rPr>
                        <a:t> KOBİ  </a:t>
                      </a:r>
                      <a:r>
                        <a:rPr lang="en-GB" sz="1400" b="1" dirty="0" err="1" smtClean="0">
                          <a:effectLst/>
                        </a:rPr>
                        <a:t>Sayısı</a:t>
                      </a:r>
                      <a:r>
                        <a:rPr lang="tr-TR" sz="1400" b="1" dirty="0" smtClean="0">
                          <a:effectLst/>
                        </a:rPr>
                        <a:t>*</a:t>
                      </a:r>
                      <a:endParaRPr lang="tr-TR" sz="1400" b="1" dirty="0">
                        <a:effectLst/>
                        <a:latin typeface="Times New Roman"/>
                        <a:ea typeface="Times New Roman"/>
                      </a:endParaRPr>
                    </a:p>
                  </a:txBody>
                  <a:tcPr marL="47304" marR="47304" marT="0" marB="0" anchor="ctr"/>
                </a:tc>
                <a:tc gridSpan="3">
                  <a:txBody>
                    <a:bodyPr/>
                    <a:lstStyle/>
                    <a:p>
                      <a:pPr algn="ctr">
                        <a:spcAft>
                          <a:spcPts val="0"/>
                        </a:spcAft>
                      </a:pPr>
                      <a:r>
                        <a:rPr lang="en-GB" sz="1400" b="1" dirty="0">
                          <a:effectLst/>
                        </a:rPr>
                        <a:t>Her Bir </a:t>
                      </a:r>
                      <a:r>
                        <a:rPr lang="en-GB" sz="1400" b="1" dirty="0" err="1">
                          <a:effectLst/>
                        </a:rPr>
                        <a:t>Proje</a:t>
                      </a:r>
                      <a:r>
                        <a:rPr lang="en-GB" sz="1400" b="1" dirty="0">
                          <a:effectLst/>
                        </a:rPr>
                        <a:t> </a:t>
                      </a:r>
                      <a:r>
                        <a:rPr lang="en-GB" sz="1400" b="1" dirty="0" err="1">
                          <a:effectLst/>
                        </a:rPr>
                        <a:t>Ortağı</a:t>
                      </a:r>
                      <a:r>
                        <a:rPr lang="en-GB" sz="1400" b="1" dirty="0">
                          <a:effectLst/>
                        </a:rPr>
                        <a:t> </a:t>
                      </a:r>
                      <a:r>
                        <a:rPr lang="en-GB" sz="1400" b="1" dirty="0" err="1">
                          <a:effectLst/>
                        </a:rPr>
                        <a:t>İşletme</a:t>
                      </a:r>
                      <a:r>
                        <a:rPr lang="en-GB" sz="1400" b="1" dirty="0">
                          <a:effectLst/>
                        </a:rPr>
                        <a:t> </a:t>
                      </a:r>
                      <a:r>
                        <a:rPr lang="en-GB" sz="1400" b="1" dirty="0" err="1">
                          <a:effectLst/>
                        </a:rPr>
                        <a:t>İçin</a:t>
                      </a:r>
                      <a:r>
                        <a:rPr lang="en-GB" sz="1400" b="1" dirty="0">
                          <a:effectLst/>
                        </a:rPr>
                        <a:t> </a:t>
                      </a:r>
                      <a:r>
                        <a:rPr lang="en-GB" sz="1400" b="1" dirty="0" err="1">
                          <a:effectLst/>
                        </a:rPr>
                        <a:t>Destek</a:t>
                      </a:r>
                      <a:r>
                        <a:rPr lang="en-GB" sz="1400" b="1" dirty="0">
                          <a:effectLst/>
                        </a:rPr>
                        <a:t> </a:t>
                      </a:r>
                      <a:r>
                        <a:rPr lang="en-GB" sz="1400" b="1" dirty="0" err="1">
                          <a:effectLst/>
                        </a:rPr>
                        <a:t>Üst</a:t>
                      </a:r>
                      <a:r>
                        <a:rPr lang="en-GB" sz="1400" b="1" dirty="0">
                          <a:effectLst/>
                        </a:rPr>
                        <a:t> </a:t>
                      </a:r>
                      <a:r>
                        <a:rPr lang="en-GB" sz="1400" b="1" dirty="0" err="1">
                          <a:effectLst/>
                        </a:rPr>
                        <a:t>Limiti</a:t>
                      </a:r>
                      <a:r>
                        <a:rPr lang="en-GB" sz="1400" b="1" dirty="0">
                          <a:effectLst/>
                        </a:rPr>
                        <a:t> (TL)</a:t>
                      </a:r>
                      <a:endParaRPr lang="tr-TR" sz="1400" b="1" dirty="0">
                        <a:effectLst/>
                        <a:latin typeface="Times New Roman"/>
                        <a:ea typeface="Times New Roman"/>
                      </a:endParaRPr>
                    </a:p>
                  </a:txBody>
                  <a:tcPr marL="47304" marR="47304" marT="0" marB="0" anchor="ctr"/>
                </a:tc>
                <a:tc hMerge="1">
                  <a:txBody>
                    <a:bodyPr/>
                    <a:lstStyle/>
                    <a:p>
                      <a:endParaRPr lang="tr-TR"/>
                    </a:p>
                  </a:txBody>
                  <a:tcPr/>
                </a:tc>
                <a:tc hMerge="1">
                  <a:txBody>
                    <a:bodyPr/>
                    <a:lstStyle/>
                    <a:p>
                      <a:endParaRPr lang="tr-TR"/>
                    </a:p>
                  </a:txBody>
                  <a:tcPr/>
                </a:tc>
                <a:tc rowSpan="2">
                  <a:txBody>
                    <a:bodyPr/>
                    <a:lstStyle/>
                    <a:p>
                      <a:pPr algn="ctr">
                        <a:spcAft>
                          <a:spcPts val="0"/>
                        </a:spcAft>
                      </a:pPr>
                      <a:r>
                        <a:rPr lang="en-GB" sz="1400" b="1" dirty="0" err="1">
                          <a:effectLst/>
                        </a:rPr>
                        <a:t>Toplam</a:t>
                      </a:r>
                      <a:r>
                        <a:rPr lang="en-GB" sz="1400" b="1" dirty="0">
                          <a:effectLst/>
                        </a:rPr>
                        <a:t> </a:t>
                      </a:r>
                      <a:r>
                        <a:rPr lang="en-GB" sz="1400" b="1" dirty="0" err="1">
                          <a:effectLst/>
                        </a:rPr>
                        <a:t>Üst</a:t>
                      </a:r>
                      <a:r>
                        <a:rPr lang="en-GB" sz="1400" b="1" dirty="0">
                          <a:effectLst/>
                        </a:rPr>
                        <a:t> Limit (TL)</a:t>
                      </a:r>
                      <a:endParaRPr lang="tr-TR" sz="1400" b="1" dirty="0">
                        <a:effectLst/>
                        <a:latin typeface="Times New Roman"/>
                        <a:ea typeface="Times New Roman"/>
                      </a:endParaRPr>
                    </a:p>
                  </a:txBody>
                  <a:tcPr marL="47304" marR="47304" marT="0" marB="0" anchor="ctr"/>
                </a:tc>
                <a:tc vMerge="1">
                  <a:txBody>
                    <a:bodyPr/>
                    <a:lstStyle/>
                    <a:p>
                      <a:pPr algn="ctr">
                        <a:spcAft>
                          <a:spcPts val="0"/>
                        </a:spcAft>
                      </a:pPr>
                      <a:endParaRPr lang="tr-TR" sz="1100" b="1" dirty="0">
                        <a:effectLst/>
                        <a:latin typeface="Times New Roman"/>
                        <a:ea typeface="Times New Roman"/>
                      </a:endParaRPr>
                    </a:p>
                  </a:txBody>
                  <a:tcPr marL="39420" marR="39420" marT="0" marB="0" anchor="ctr"/>
                </a:tc>
                <a:extLst>
                  <a:ext uri="{0D108BD9-81ED-4DB2-BD59-A6C34878D82A}">
                    <a16:rowId xmlns:a16="http://schemas.microsoft.com/office/drawing/2014/main" val="10007"/>
                  </a:ext>
                </a:extLst>
              </a:tr>
              <a:tr h="344074">
                <a:tc vMerge="1">
                  <a:txBody>
                    <a:bodyPr/>
                    <a:lstStyle/>
                    <a:p>
                      <a:endParaRPr lang="tr-TR"/>
                    </a:p>
                  </a:txBody>
                  <a:tcPr/>
                </a:tc>
                <a:tc vMerge="1">
                  <a:txBody>
                    <a:bodyPr/>
                    <a:lstStyle/>
                    <a:p>
                      <a:endParaRPr lang="tr-TR"/>
                    </a:p>
                  </a:txBody>
                  <a:tcPr/>
                </a:tc>
                <a:tc>
                  <a:txBody>
                    <a:bodyPr/>
                    <a:lstStyle/>
                    <a:p>
                      <a:pPr algn="ctr">
                        <a:spcAft>
                          <a:spcPts val="0"/>
                        </a:spcAft>
                      </a:pPr>
                      <a:r>
                        <a:rPr lang="en-GB" sz="1200" u="sng" dirty="0">
                          <a:effectLst/>
                        </a:rPr>
                        <a:t>Geri </a:t>
                      </a:r>
                      <a:r>
                        <a:rPr lang="en-GB" sz="1200" u="sng" dirty="0" err="1">
                          <a:effectLst/>
                        </a:rPr>
                        <a:t>Ödemesiz</a:t>
                      </a:r>
                      <a:endParaRPr lang="tr-TR" sz="1200" b="1" u="sng"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en-GB" sz="1200" u="sng" dirty="0" smtClean="0">
                          <a:effectLst/>
                        </a:rPr>
                        <a:t>Geri </a:t>
                      </a:r>
                      <a:r>
                        <a:rPr lang="en-GB" sz="1200" u="sng" dirty="0" err="1">
                          <a:effectLst/>
                        </a:rPr>
                        <a:t>Ödemeli</a:t>
                      </a:r>
                      <a:endParaRPr lang="tr-TR" sz="1200" b="1" u="sng"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en-GB" sz="1200" u="sng" dirty="0" err="1">
                          <a:effectLst/>
                        </a:rPr>
                        <a:t>Toplam</a:t>
                      </a:r>
                      <a:endParaRPr lang="tr-TR" sz="1200" b="1" u="sng" dirty="0">
                        <a:effectLst/>
                        <a:latin typeface="Times New Roman"/>
                        <a:ea typeface="Times New Roman"/>
                      </a:endParaRPr>
                    </a:p>
                  </a:txBody>
                  <a:tcPr marL="47304" marR="47304" marT="0" marB="0" anchor="ctr">
                    <a:solidFill>
                      <a:schemeClr val="accent1">
                        <a:lumMod val="40000"/>
                        <a:lumOff val="60000"/>
                      </a:schemeClr>
                    </a:solidFill>
                  </a:tcPr>
                </a:tc>
                <a:tc vMerge="1">
                  <a:txBody>
                    <a:bodyPr/>
                    <a:lstStyle/>
                    <a:p>
                      <a:endParaRPr lang="tr-TR"/>
                    </a:p>
                  </a:txBody>
                  <a:tcPr/>
                </a:tc>
                <a:tc vMerge="1">
                  <a:txBody>
                    <a:bodyPr/>
                    <a:lstStyle/>
                    <a:p>
                      <a:endParaRPr lang="tr-TR"/>
                    </a:p>
                  </a:txBody>
                  <a:tcPr/>
                </a:tc>
                <a:extLst>
                  <a:ext uri="{0D108BD9-81ED-4DB2-BD59-A6C34878D82A}">
                    <a16:rowId xmlns:a16="http://schemas.microsoft.com/office/drawing/2014/main" val="10008"/>
                  </a:ext>
                </a:extLst>
              </a:tr>
              <a:tr h="237444">
                <a:tc>
                  <a:txBody>
                    <a:bodyPr/>
                    <a:lstStyle/>
                    <a:p>
                      <a:pPr>
                        <a:spcAft>
                          <a:spcPts val="0"/>
                        </a:spcAft>
                      </a:pPr>
                      <a:r>
                        <a:rPr lang="en-GB" sz="1200" b="0">
                          <a:effectLst/>
                        </a:rPr>
                        <a:t>Yüksek</a:t>
                      </a:r>
                      <a:endParaRPr lang="tr-TR" sz="1200" b="0">
                        <a:effectLst/>
                        <a:latin typeface="Times New Roman"/>
                        <a:ea typeface="Times New Roman"/>
                      </a:endParaRPr>
                    </a:p>
                  </a:txBody>
                  <a:tcPr marL="47304" marR="47304" marT="0" marB="0" anchor="ctr"/>
                </a:tc>
                <a:tc>
                  <a:txBody>
                    <a:bodyPr/>
                    <a:lstStyle/>
                    <a:p>
                      <a:pPr algn="ctr">
                        <a:spcAft>
                          <a:spcPts val="0"/>
                        </a:spcAft>
                      </a:pPr>
                      <a:r>
                        <a:rPr lang="en-GB" sz="1200">
                          <a:effectLst/>
                        </a:rPr>
                        <a:t>2</a:t>
                      </a:r>
                      <a:endParaRPr lang="tr-TR" sz="1200" b="0">
                        <a:effectLst/>
                        <a:latin typeface="Times New Roman"/>
                        <a:ea typeface="Times New Roman"/>
                      </a:endParaRPr>
                    </a:p>
                  </a:txBody>
                  <a:tcPr marL="47304" marR="47304" marT="0" marB="0" anchor="ctr"/>
                </a:tc>
                <a:tc>
                  <a:txBody>
                    <a:bodyPr/>
                    <a:lstStyle/>
                    <a:p>
                      <a:pPr algn="ctr">
                        <a:spcAft>
                          <a:spcPts val="0"/>
                        </a:spcAft>
                      </a:pPr>
                      <a:r>
                        <a:rPr lang="tr-TR" sz="1200" dirty="0" smtClean="0">
                          <a:effectLst/>
                        </a:rPr>
                        <a:t>600</a:t>
                      </a:r>
                      <a:r>
                        <a:rPr lang="en-GB" sz="1200" dirty="0" smtClean="0">
                          <a:effectLst/>
                        </a:rPr>
                        <a:t> </a:t>
                      </a:r>
                      <a:r>
                        <a:rPr lang="tr-TR" sz="1200" dirty="0" smtClean="0">
                          <a:effectLst/>
                        </a:rPr>
                        <a:t>Bin</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smtClean="0">
                          <a:effectLst/>
                        </a:rPr>
                        <a:t>1</a:t>
                      </a:r>
                      <a:r>
                        <a:rPr lang="tr-TR" sz="1200" dirty="0" smtClean="0">
                          <a:effectLst/>
                        </a:rPr>
                        <a:t>.4</a:t>
                      </a:r>
                      <a:r>
                        <a:rPr lang="en-GB" sz="1200" dirty="0" smtClean="0">
                          <a:effectLst/>
                        </a:rPr>
                        <a:t> </a:t>
                      </a:r>
                      <a:r>
                        <a:rPr lang="en-GB" sz="1200" dirty="0" err="1">
                          <a:effectLst/>
                        </a:rPr>
                        <a:t>Milyon</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a:effectLst/>
                        </a:rPr>
                        <a:t>2 </a:t>
                      </a:r>
                      <a:r>
                        <a:rPr lang="en-GB" sz="1200" dirty="0" err="1">
                          <a:effectLst/>
                        </a:rPr>
                        <a:t>Milyon</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a:effectLst/>
                        </a:rPr>
                        <a:t>10 </a:t>
                      </a:r>
                      <a:r>
                        <a:rPr lang="en-GB" sz="1200" dirty="0" err="1">
                          <a:effectLst/>
                        </a:rPr>
                        <a:t>Milyon</a:t>
                      </a:r>
                      <a:endParaRPr lang="tr-TR" sz="1200" b="0" dirty="0">
                        <a:effectLst/>
                        <a:latin typeface="Times New Roman"/>
                        <a:ea typeface="Times New Roman"/>
                      </a:endParaRPr>
                    </a:p>
                  </a:txBody>
                  <a:tcPr marL="47304" marR="47304" marT="0" marB="0" anchor="ctr"/>
                </a:tc>
                <a:tc vMerge="1">
                  <a:txBody>
                    <a:bodyPr/>
                    <a:lstStyle/>
                    <a:p>
                      <a:pPr algn="ctr">
                        <a:spcAft>
                          <a:spcPts val="0"/>
                        </a:spcAft>
                      </a:pPr>
                      <a:endParaRPr lang="tr-TR" sz="1100" b="0" dirty="0">
                        <a:effectLst/>
                        <a:latin typeface="Times New Roman"/>
                        <a:ea typeface="Times New Roman"/>
                      </a:endParaRPr>
                    </a:p>
                  </a:txBody>
                  <a:tcPr marL="39420" marR="39420" marT="0" marB="0" anchor="ctr"/>
                </a:tc>
                <a:extLst>
                  <a:ext uri="{0D108BD9-81ED-4DB2-BD59-A6C34878D82A}">
                    <a16:rowId xmlns:a16="http://schemas.microsoft.com/office/drawing/2014/main" val="10009"/>
                  </a:ext>
                </a:extLst>
              </a:tr>
              <a:tr h="237444">
                <a:tc>
                  <a:txBody>
                    <a:bodyPr/>
                    <a:lstStyle/>
                    <a:p>
                      <a:pPr>
                        <a:spcAft>
                          <a:spcPts val="0"/>
                        </a:spcAft>
                      </a:pPr>
                      <a:r>
                        <a:rPr lang="en-GB" sz="1200" b="0" dirty="0" err="1">
                          <a:effectLst/>
                        </a:rPr>
                        <a:t>Orta</a:t>
                      </a:r>
                      <a:r>
                        <a:rPr lang="en-GB" sz="1200" b="0" dirty="0">
                          <a:effectLst/>
                        </a:rPr>
                        <a:t> </a:t>
                      </a:r>
                      <a:r>
                        <a:rPr lang="en-GB" sz="1200" b="0" dirty="0" err="1">
                          <a:effectLst/>
                        </a:rPr>
                        <a:t>Yüksek</a:t>
                      </a:r>
                      <a:endParaRPr lang="tr-TR" sz="1200" b="0"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en-GB" sz="1200" dirty="0">
                          <a:effectLst/>
                        </a:rPr>
                        <a:t>3</a:t>
                      </a:r>
                      <a:endParaRPr lang="tr-TR" sz="1200" b="0"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tr-TR" sz="1200" dirty="0" smtClean="0">
                          <a:effectLst/>
                        </a:rPr>
                        <a:t>300</a:t>
                      </a:r>
                      <a:r>
                        <a:rPr lang="en-GB" sz="1200" dirty="0" smtClean="0">
                          <a:effectLst/>
                        </a:rPr>
                        <a:t> </a:t>
                      </a:r>
                      <a:r>
                        <a:rPr lang="en-GB" sz="1200" dirty="0">
                          <a:effectLst/>
                        </a:rPr>
                        <a:t>Bin</a:t>
                      </a:r>
                      <a:endParaRPr lang="tr-TR" sz="1200" b="0"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tr-TR" sz="1200" dirty="0" smtClean="0">
                          <a:effectLst/>
                        </a:rPr>
                        <a:t>700</a:t>
                      </a:r>
                      <a:r>
                        <a:rPr lang="en-GB" sz="1200" dirty="0" smtClean="0">
                          <a:effectLst/>
                        </a:rPr>
                        <a:t> </a:t>
                      </a:r>
                      <a:r>
                        <a:rPr lang="en-GB" sz="1200" dirty="0">
                          <a:effectLst/>
                        </a:rPr>
                        <a:t>Bin</a:t>
                      </a:r>
                      <a:endParaRPr lang="tr-TR" sz="1200" b="0"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en-GB" sz="1200" dirty="0">
                          <a:effectLst/>
                        </a:rPr>
                        <a:t>1 </a:t>
                      </a:r>
                      <a:r>
                        <a:rPr lang="en-GB" sz="1200" dirty="0" err="1">
                          <a:effectLst/>
                        </a:rPr>
                        <a:t>Milyon</a:t>
                      </a:r>
                      <a:endParaRPr lang="tr-TR" sz="1200" b="0" dirty="0">
                        <a:effectLst/>
                        <a:latin typeface="Times New Roman"/>
                        <a:ea typeface="Times New Roman"/>
                      </a:endParaRPr>
                    </a:p>
                  </a:txBody>
                  <a:tcPr marL="47304" marR="47304" marT="0" marB="0" anchor="ctr">
                    <a:solidFill>
                      <a:schemeClr val="accent1">
                        <a:lumMod val="40000"/>
                        <a:lumOff val="60000"/>
                      </a:schemeClr>
                    </a:solidFill>
                  </a:tcPr>
                </a:tc>
                <a:tc>
                  <a:txBody>
                    <a:bodyPr/>
                    <a:lstStyle/>
                    <a:p>
                      <a:pPr algn="ctr">
                        <a:spcAft>
                          <a:spcPts val="0"/>
                        </a:spcAft>
                      </a:pPr>
                      <a:r>
                        <a:rPr lang="en-GB" sz="1200" dirty="0">
                          <a:effectLst/>
                        </a:rPr>
                        <a:t>10 </a:t>
                      </a:r>
                      <a:r>
                        <a:rPr lang="en-GB" sz="1200" dirty="0" err="1">
                          <a:effectLst/>
                        </a:rPr>
                        <a:t>Milyon</a:t>
                      </a:r>
                      <a:endParaRPr lang="tr-TR" sz="1200" b="0" dirty="0">
                        <a:effectLst/>
                        <a:latin typeface="Times New Roman"/>
                        <a:ea typeface="Times New Roman"/>
                      </a:endParaRPr>
                    </a:p>
                  </a:txBody>
                  <a:tcPr marL="47304" marR="47304" marT="0" marB="0" anchor="ctr">
                    <a:solidFill>
                      <a:schemeClr val="accent1">
                        <a:lumMod val="40000"/>
                        <a:lumOff val="60000"/>
                      </a:schemeClr>
                    </a:solidFill>
                  </a:tcPr>
                </a:tc>
                <a:tc vMerge="1">
                  <a:txBody>
                    <a:bodyPr/>
                    <a:lstStyle/>
                    <a:p>
                      <a:pPr algn="ctr">
                        <a:spcAft>
                          <a:spcPts val="0"/>
                        </a:spcAft>
                      </a:pPr>
                      <a:endParaRPr lang="tr-TR" sz="1100" b="0" dirty="0">
                        <a:effectLst/>
                        <a:latin typeface="Times New Roman"/>
                        <a:ea typeface="Times New Roman"/>
                      </a:endParaRPr>
                    </a:p>
                  </a:txBody>
                  <a:tcPr marL="39420" marR="39420" marT="0" marB="0" anchor="ctr"/>
                </a:tc>
                <a:extLst>
                  <a:ext uri="{0D108BD9-81ED-4DB2-BD59-A6C34878D82A}">
                    <a16:rowId xmlns:a16="http://schemas.microsoft.com/office/drawing/2014/main" val="10010"/>
                  </a:ext>
                </a:extLst>
              </a:tr>
              <a:tr h="237444">
                <a:tc>
                  <a:txBody>
                    <a:bodyPr/>
                    <a:lstStyle/>
                    <a:p>
                      <a:pPr>
                        <a:spcAft>
                          <a:spcPts val="0"/>
                        </a:spcAft>
                      </a:pPr>
                      <a:r>
                        <a:rPr lang="en-GB" sz="1200" b="0" dirty="0" err="1">
                          <a:effectLst/>
                        </a:rPr>
                        <a:t>Diğer</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a:effectLst/>
                        </a:rPr>
                        <a:t>5</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smtClean="0">
                          <a:effectLst/>
                        </a:rPr>
                        <a:t>2</a:t>
                      </a:r>
                      <a:r>
                        <a:rPr lang="tr-TR" sz="1200" dirty="0" smtClean="0">
                          <a:effectLst/>
                        </a:rPr>
                        <a:t>25</a:t>
                      </a:r>
                      <a:r>
                        <a:rPr lang="en-GB" sz="1200" dirty="0" smtClean="0">
                          <a:effectLst/>
                        </a:rPr>
                        <a:t> </a:t>
                      </a:r>
                      <a:r>
                        <a:rPr lang="en-GB" sz="1200" dirty="0">
                          <a:effectLst/>
                        </a:rPr>
                        <a:t>Bin</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smtClean="0">
                          <a:effectLst/>
                        </a:rPr>
                        <a:t>5</a:t>
                      </a:r>
                      <a:r>
                        <a:rPr lang="tr-TR" sz="1200" dirty="0" smtClean="0">
                          <a:effectLst/>
                        </a:rPr>
                        <a:t>25</a:t>
                      </a:r>
                      <a:r>
                        <a:rPr lang="en-GB" sz="1200" dirty="0" smtClean="0">
                          <a:effectLst/>
                        </a:rPr>
                        <a:t> </a:t>
                      </a:r>
                      <a:r>
                        <a:rPr lang="en-GB" sz="1200" dirty="0">
                          <a:effectLst/>
                        </a:rPr>
                        <a:t>Bin</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a:effectLst/>
                        </a:rPr>
                        <a:t>750 Bin</a:t>
                      </a:r>
                      <a:endParaRPr lang="tr-TR" sz="1200" b="0" dirty="0">
                        <a:effectLst/>
                        <a:latin typeface="Times New Roman"/>
                        <a:ea typeface="Times New Roman"/>
                      </a:endParaRPr>
                    </a:p>
                  </a:txBody>
                  <a:tcPr marL="47304" marR="47304" marT="0" marB="0" anchor="ctr"/>
                </a:tc>
                <a:tc>
                  <a:txBody>
                    <a:bodyPr/>
                    <a:lstStyle/>
                    <a:p>
                      <a:pPr algn="ctr">
                        <a:spcAft>
                          <a:spcPts val="0"/>
                        </a:spcAft>
                      </a:pPr>
                      <a:r>
                        <a:rPr lang="en-GB" sz="1200" dirty="0">
                          <a:effectLst/>
                        </a:rPr>
                        <a:t>5 </a:t>
                      </a:r>
                      <a:r>
                        <a:rPr lang="en-GB" sz="1200" dirty="0" err="1">
                          <a:effectLst/>
                        </a:rPr>
                        <a:t>Milyon</a:t>
                      </a:r>
                      <a:endParaRPr lang="tr-TR" sz="1200" b="0" dirty="0">
                        <a:effectLst/>
                        <a:latin typeface="Times New Roman"/>
                        <a:ea typeface="Times New Roman"/>
                      </a:endParaRPr>
                    </a:p>
                  </a:txBody>
                  <a:tcPr marL="47304" marR="47304" marT="0" marB="0" anchor="ctr"/>
                </a:tc>
                <a:tc vMerge="1">
                  <a:txBody>
                    <a:bodyPr/>
                    <a:lstStyle/>
                    <a:p>
                      <a:pPr algn="ctr">
                        <a:spcAft>
                          <a:spcPts val="0"/>
                        </a:spcAft>
                      </a:pPr>
                      <a:endParaRPr lang="tr-TR" sz="1100" b="0" dirty="0">
                        <a:effectLst/>
                        <a:latin typeface="Times New Roman"/>
                        <a:ea typeface="Times New Roman"/>
                      </a:endParaRPr>
                    </a:p>
                  </a:txBody>
                  <a:tcPr marL="39420" marR="39420" marT="0" marB="0" anchor="ctr"/>
                </a:tc>
                <a:extLst>
                  <a:ext uri="{0D108BD9-81ED-4DB2-BD59-A6C34878D82A}">
                    <a16:rowId xmlns:a16="http://schemas.microsoft.com/office/drawing/2014/main" val="10011"/>
                  </a:ext>
                </a:extLst>
              </a:tr>
            </a:tbl>
          </a:graphicData>
        </a:graphic>
      </p:graphicFrame>
      <p:sp>
        <p:nvSpPr>
          <p:cNvPr id="2" name="Dikdörtgen 1"/>
          <p:cNvSpPr/>
          <p:nvPr/>
        </p:nvSpPr>
        <p:spPr>
          <a:xfrm>
            <a:off x="793956" y="3932920"/>
            <a:ext cx="10604090" cy="340897"/>
          </a:xfrm>
          <a:prstGeom prst="rect">
            <a:avLst/>
          </a:prstGeom>
        </p:spPr>
        <p:txBody>
          <a:bodyPr wrap="square" lIns="118146" tIns="59072" rIns="118146" bIns="59072">
            <a:spAutoFit/>
          </a:bodyPr>
          <a:lstStyle/>
          <a:p>
            <a:r>
              <a:rPr lang="tr-TR" sz="1440" b="1" dirty="0">
                <a:solidFill>
                  <a:srgbClr val="FF0000"/>
                </a:solidFill>
              </a:rPr>
              <a:t>* Büyük işletme ile işbirliği yapılması durumunda asgari KOBİ sayısı 1 (bir)’</a:t>
            </a:r>
            <a:r>
              <a:rPr lang="tr-TR" sz="1440" b="1" dirty="0" err="1">
                <a:solidFill>
                  <a:srgbClr val="FF0000"/>
                </a:solidFill>
              </a:rPr>
              <a:t>dir</a:t>
            </a:r>
            <a:r>
              <a:rPr lang="tr-TR" sz="1440" b="1" dirty="0">
                <a:solidFill>
                  <a:srgbClr val="FF0000"/>
                </a:solidFill>
              </a:rPr>
              <a:t>. </a:t>
            </a:r>
          </a:p>
        </p:txBody>
      </p:sp>
      <p:sp>
        <p:nvSpPr>
          <p:cNvPr id="10" name="Metin kutusu 9"/>
          <p:cNvSpPr txBox="1"/>
          <p:nvPr/>
        </p:nvSpPr>
        <p:spPr>
          <a:xfrm>
            <a:off x="767006" y="-27289"/>
            <a:ext cx="7085586" cy="488630"/>
          </a:xfrm>
          <a:prstGeom prst="rect">
            <a:avLst/>
          </a:prstGeom>
          <a:noFill/>
        </p:spPr>
        <p:txBody>
          <a:bodyPr wrap="square" lIns="118146" tIns="59072" rIns="118146" bIns="59072" rtlCol="0">
            <a:spAutoFit/>
          </a:bodyPr>
          <a:lstStyle/>
          <a:p>
            <a:r>
              <a:rPr lang="tr-TR" sz="2400" b="1" dirty="0" smtClean="0">
                <a:solidFill>
                  <a:schemeClr val="bg2">
                    <a:lumMod val="75000"/>
                  </a:schemeClr>
                </a:solidFill>
                <a:latin typeface="Calibri" panose="020F0502020204030204" pitchFamily="34" charset="0"/>
                <a:cs typeface="Calibri" panose="020F0502020204030204" pitchFamily="34" charset="0"/>
              </a:rPr>
              <a:t>İşbirliği destek programı</a:t>
            </a:r>
            <a:endParaRPr lang="tr-TR" sz="2400" b="1" dirty="0">
              <a:solidFill>
                <a:schemeClr val="bg2">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15494194"/>
      </p:ext>
    </p:extLst>
  </p:cSld>
  <p:clrMapOvr>
    <a:masterClrMapping/>
  </p:clrMapOvr>
  <p:transition spd="slow">
    <p:push dir="u"/>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855451"/>
            <a:fld id="{7C1868C5-B491-42BF-9F5C-46095BC3F40A}" type="slidenum">
              <a:rPr lang="tr-TR">
                <a:solidFill>
                  <a:srgbClr val="445469">
                    <a:tint val="75000"/>
                  </a:srgbClr>
                </a:solidFill>
                <a:latin typeface="Roboto Light"/>
                <a:ea typeface="ヒラギノ角ゴ Pro W3" pitchFamily="1" charset="-128"/>
              </a:rPr>
              <a:pPr defTabSz="855451"/>
              <a:t>74</a:t>
            </a:fld>
            <a:endParaRPr lang="tr-TR" dirty="0">
              <a:solidFill>
                <a:srgbClr val="445469">
                  <a:tint val="75000"/>
                </a:srgbClr>
              </a:solidFill>
              <a:latin typeface="Roboto Light"/>
              <a:ea typeface="ヒラギノ角ゴ Pro W3" pitchFamily="1" charset="-128"/>
            </a:endParaRPr>
          </a:p>
        </p:txBody>
      </p:sp>
      <p:sp>
        <p:nvSpPr>
          <p:cNvPr id="4" name="TextBox 18">
            <a:extLst>
              <a:ext uri="{FF2B5EF4-FFF2-40B4-BE49-F238E27FC236}">
                <a16:creationId xmlns:a16="http://schemas.microsoft.com/office/drawing/2014/main" id="{CDB69DC1-FE61-4F64-AEE0-C856CB684FCD}"/>
              </a:ext>
            </a:extLst>
          </p:cNvPr>
          <p:cNvSpPr txBox="1"/>
          <p:nvPr/>
        </p:nvSpPr>
        <p:spPr>
          <a:xfrm>
            <a:off x="1495078" y="364975"/>
            <a:ext cx="9588524" cy="650958"/>
          </a:xfrm>
          <a:prstGeom prst="rect">
            <a:avLst/>
          </a:prstGeom>
          <a:noFill/>
        </p:spPr>
        <p:txBody>
          <a:bodyPr wrap="square" lIns="85861" tIns="42931" rIns="85861" bIns="42931" rtlCol="0">
            <a:spAutoFit/>
          </a:bodyPr>
          <a:lstStyle/>
          <a:p>
            <a:pPr algn="ctr" defTabSz="855451">
              <a:lnSpc>
                <a:spcPts val="4366"/>
              </a:lnSpc>
            </a:pPr>
            <a:r>
              <a:rPr lang="tr-TR" sz="2640" b="1" dirty="0">
                <a:solidFill>
                  <a:srgbClr val="00759E">
                    <a:lumMod val="60000"/>
                    <a:lumOff val="40000"/>
                  </a:srgbClr>
                </a:solidFill>
                <a:latin typeface="Calibri" pitchFamily="34" charset="0"/>
                <a:ea typeface="Roboto Black" panose="02000000000000000000" pitchFamily="2" charset="0"/>
              </a:rPr>
              <a:t>Proje Süresi ve Destek Oranı</a:t>
            </a:r>
          </a:p>
        </p:txBody>
      </p:sp>
      <p:graphicFrame>
        <p:nvGraphicFramePr>
          <p:cNvPr id="6" name="Diyagram 5"/>
          <p:cNvGraphicFramePr/>
          <p:nvPr>
            <p:extLst/>
          </p:nvPr>
        </p:nvGraphicFramePr>
        <p:xfrm>
          <a:off x="1248601" y="1208387"/>
          <a:ext cx="9835001" cy="49604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53325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855451"/>
            <a:fld id="{7C1868C5-B491-42BF-9F5C-46095BC3F40A}" type="slidenum">
              <a:rPr lang="tr-TR">
                <a:solidFill>
                  <a:srgbClr val="445469">
                    <a:tint val="75000"/>
                  </a:srgbClr>
                </a:solidFill>
                <a:latin typeface="Roboto Light"/>
                <a:ea typeface="ヒラギノ角ゴ Pro W3" pitchFamily="1" charset="-128"/>
              </a:rPr>
              <a:pPr defTabSz="855451"/>
              <a:t>75</a:t>
            </a:fld>
            <a:endParaRPr lang="tr-TR" dirty="0">
              <a:solidFill>
                <a:srgbClr val="445469">
                  <a:tint val="75000"/>
                </a:srgbClr>
              </a:solidFill>
              <a:latin typeface="Roboto Light"/>
              <a:ea typeface="ヒラギノ角ゴ Pro W3" pitchFamily="1" charset="-128"/>
            </a:endParaRPr>
          </a:p>
        </p:txBody>
      </p:sp>
      <p:sp>
        <p:nvSpPr>
          <p:cNvPr id="6" name="TextBox 18">
            <a:extLst>
              <a:ext uri="{FF2B5EF4-FFF2-40B4-BE49-F238E27FC236}">
                <a16:creationId xmlns:a16="http://schemas.microsoft.com/office/drawing/2014/main" id="{CDB69DC1-FE61-4F64-AEE0-C856CB684FCD}"/>
              </a:ext>
            </a:extLst>
          </p:cNvPr>
          <p:cNvSpPr txBox="1"/>
          <p:nvPr/>
        </p:nvSpPr>
        <p:spPr>
          <a:xfrm>
            <a:off x="1542906" y="303840"/>
            <a:ext cx="9588524" cy="650958"/>
          </a:xfrm>
          <a:prstGeom prst="rect">
            <a:avLst/>
          </a:prstGeom>
          <a:noFill/>
        </p:spPr>
        <p:txBody>
          <a:bodyPr wrap="square" lIns="85861" tIns="42931" rIns="85861" bIns="42931" rtlCol="0">
            <a:spAutoFit/>
          </a:bodyPr>
          <a:lstStyle/>
          <a:p>
            <a:pPr algn="ctr" defTabSz="855451">
              <a:lnSpc>
                <a:spcPts val="4366"/>
              </a:lnSpc>
            </a:pPr>
            <a:r>
              <a:rPr lang="tr-TR" sz="2640" b="1" dirty="0">
                <a:solidFill>
                  <a:srgbClr val="00759E">
                    <a:lumMod val="60000"/>
                    <a:lumOff val="40000"/>
                  </a:srgbClr>
                </a:solidFill>
                <a:latin typeface="Calibri" pitchFamily="34" charset="0"/>
                <a:ea typeface="Roboto Black" panose="02000000000000000000" pitchFamily="2" charset="0"/>
              </a:rPr>
              <a:t>İşbirliği Destek Programı Desteklenen Giderler</a:t>
            </a:r>
          </a:p>
        </p:txBody>
      </p:sp>
      <p:graphicFrame>
        <p:nvGraphicFramePr>
          <p:cNvPr id="5" name="Diyagram 4"/>
          <p:cNvGraphicFramePr/>
          <p:nvPr>
            <p:extLst/>
          </p:nvPr>
        </p:nvGraphicFramePr>
        <p:xfrm>
          <a:off x="1398058" y="1264621"/>
          <a:ext cx="8990183" cy="4558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65706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a:xfrm>
            <a:off x="9968767" y="6480202"/>
            <a:ext cx="284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C1868C5-B491-42BF-9F5C-46095BC3F40A}" type="slidenum">
              <a:rPr kumimoji="0" lang="tr-TR" sz="1200" b="0" i="0" u="none" strike="noStrike" kern="1200" cap="none" spc="0" normalizeH="0" baseline="0" noProof="0" smtClean="0">
                <a:ln>
                  <a:noFill/>
                </a:ln>
                <a:solidFill>
                  <a:srgbClr val="445469">
                    <a:tint val="75000"/>
                  </a:srgbClr>
                </a:solidFill>
                <a:effectLst/>
                <a:uLnTx/>
                <a:uFillTx/>
                <a:latin typeface="Calibri" panose="020F050202020403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6</a:t>
            </a:fld>
            <a:endParaRPr kumimoji="0" lang="tr-TR" sz="1200" b="0" i="0" u="none" strike="noStrike" kern="1200" cap="none" spc="0" normalizeH="0" baseline="0" noProof="0" dirty="0">
              <a:ln>
                <a:noFill/>
              </a:ln>
              <a:solidFill>
                <a:srgbClr val="445469">
                  <a:tint val="75000"/>
                </a:srgbClr>
              </a:solidFill>
              <a:effectLst/>
              <a:uLnTx/>
              <a:uFillTx/>
              <a:latin typeface="Calibri" panose="020F0502020204030204" pitchFamily="34" charset="0"/>
              <a:ea typeface="+mn-ea"/>
              <a:cs typeface="+mn-cs"/>
            </a:endParaRPr>
          </a:p>
        </p:txBody>
      </p:sp>
      <p:sp>
        <p:nvSpPr>
          <p:cNvPr id="73" name="Aynı Yan Köşesi Kesik Dikdörtgen 72"/>
          <p:cNvSpPr/>
          <p:nvPr/>
        </p:nvSpPr>
        <p:spPr>
          <a:xfrm>
            <a:off x="4113743" y="3997029"/>
            <a:ext cx="903147" cy="200739"/>
          </a:xfrm>
          <a:prstGeom prst="snip2Same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6F8F8">
                    <a:lumMod val="10000"/>
                  </a:srgbClr>
                </a:solidFill>
                <a:effectLst/>
                <a:uLnTx/>
                <a:uFillTx/>
                <a:latin typeface="Calibri" panose="020F0502020204030204" pitchFamily="34" charset="0"/>
                <a:ea typeface="+mn-ea"/>
                <a:cs typeface="+mn-cs"/>
              </a:rPr>
              <a:t>REVİZYON</a:t>
            </a:r>
          </a:p>
        </p:txBody>
      </p:sp>
      <p:sp>
        <p:nvSpPr>
          <p:cNvPr id="74" name="Aynı Yan Köşesi Kesik Dikdörtgen 73"/>
          <p:cNvSpPr/>
          <p:nvPr/>
        </p:nvSpPr>
        <p:spPr>
          <a:xfrm>
            <a:off x="717889" y="3979678"/>
            <a:ext cx="457931" cy="200739"/>
          </a:xfrm>
          <a:prstGeom prst="snip2Same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6F8F8"/>
                </a:solidFill>
                <a:effectLst/>
                <a:uLnTx/>
                <a:uFillTx/>
                <a:latin typeface="Calibri" panose="020F0502020204030204" pitchFamily="34" charset="0"/>
                <a:ea typeface="+mn-ea"/>
                <a:cs typeface="+mn-cs"/>
              </a:rPr>
              <a:t>RED</a:t>
            </a:r>
          </a:p>
        </p:txBody>
      </p:sp>
      <p:sp>
        <p:nvSpPr>
          <p:cNvPr id="35" name="TextBox 18">
            <a:extLst>
              <a:ext uri="{FF2B5EF4-FFF2-40B4-BE49-F238E27FC236}">
                <a16:creationId xmlns:a16="http://schemas.microsoft.com/office/drawing/2014/main" id="{CDB69DC1-FE61-4F64-AEE0-C856CB684FCD}"/>
              </a:ext>
            </a:extLst>
          </p:cNvPr>
          <p:cNvSpPr txBox="1"/>
          <p:nvPr/>
        </p:nvSpPr>
        <p:spPr>
          <a:xfrm>
            <a:off x="955482" y="203049"/>
            <a:ext cx="10662738" cy="695062"/>
          </a:xfrm>
          <a:prstGeom prst="rect">
            <a:avLst/>
          </a:prstGeom>
          <a:noFill/>
        </p:spPr>
        <p:txBody>
          <a:bodyPr wrap="square" rtlCol="0">
            <a:spAutoFit/>
          </a:bodyPr>
          <a:lstStyle/>
          <a:p>
            <a:pPr marL="0" marR="0" lvl="0" indent="0" algn="ctr" defTabSz="914400" rtl="0" eaLnBrk="1" fontAlgn="auto" latinLnBrk="0" hangingPunct="1">
              <a:lnSpc>
                <a:spcPts val="4666"/>
              </a:lnSpc>
              <a:spcBef>
                <a:spcPts val="0"/>
              </a:spcBef>
              <a:spcAft>
                <a:spcPts val="0"/>
              </a:spcAft>
              <a:buClrTx/>
              <a:buSzTx/>
              <a:buFontTx/>
              <a:buNone/>
              <a:tabLst/>
              <a:defRPr/>
            </a:pPr>
            <a:r>
              <a:rPr kumimoji="0" lang="tr-TR" sz="2800" b="1" i="0" u="none" strike="noStrike" kern="1200" cap="none" spc="0" normalizeH="0" baseline="0" noProof="0" dirty="0" smtClean="0">
                <a:ln>
                  <a:noFill/>
                </a:ln>
                <a:solidFill>
                  <a:srgbClr val="00759E">
                    <a:lumMod val="60000"/>
                    <a:lumOff val="40000"/>
                  </a:srgbClr>
                </a:solidFill>
                <a:effectLst/>
                <a:uLnTx/>
                <a:uFillTx/>
                <a:latin typeface="Calibri" pitchFamily="34" charset="0"/>
                <a:ea typeface="Roboto Black" panose="02000000000000000000" pitchFamily="2" charset="0"/>
                <a:cs typeface="+mn-cs"/>
              </a:rPr>
              <a:t>İşbirliği Destek Programı İş Akışı-I</a:t>
            </a:r>
            <a:endParaRPr kumimoji="0" lang="tr-TR" sz="2800" b="1" i="0" u="none" strike="noStrike" kern="1200" cap="none" spc="0" normalizeH="0" baseline="0" noProof="0" dirty="0">
              <a:ln>
                <a:noFill/>
              </a:ln>
              <a:solidFill>
                <a:srgbClr val="00759E">
                  <a:lumMod val="60000"/>
                  <a:lumOff val="40000"/>
                </a:srgbClr>
              </a:solidFill>
              <a:effectLst/>
              <a:uLnTx/>
              <a:uFillTx/>
              <a:latin typeface="Calibri" pitchFamily="34" charset="0"/>
              <a:ea typeface="Roboto Black" panose="02000000000000000000" pitchFamily="2" charset="0"/>
              <a:cs typeface="+mn-cs"/>
            </a:endParaRPr>
          </a:p>
        </p:txBody>
      </p:sp>
      <p:sp>
        <p:nvSpPr>
          <p:cNvPr id="44" name="Yuvarlatılmış Dikdörtgen 43"/>
          <p:cNvSpPr/>
          <p:nvPr/>
        </p:nvSpPr>
        <p:spPr>
          <a:xfrm>
            <a:off x="1434261" y="1205419"/>
            <a:ext cx="2528190" cy="526403"/>
          </a:xfrm>
          <a:prstGeom prst="roundRect">
            <a:avLst>
              <a:gd name="adj" fmla="val 10000"/>
            </a:avLst>
          </a:prstGeom>
          <a:solidFill>
            <a:srgbClr val="E1561F"/>
          </a:solid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rgbClr r="0" g="0" b="0"/>
          </a:fillRef>
          <a:effectRef idx="2">
            <a:schemeClr val="accent1">
              <a:hueOff val="0"/>
              <a:satOff val="0"/>
              <a:lumOff val="0"/>
              <a:alphaOff val="0"/>
            </a:schemeClr>
          </a:effectRef>
          <a:fontRef idx="minor">
            <a:schemeClr val="lt1"/>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KOSGEB </a:t>
            </a:r>
            <a:r>
              <a:rPr kumimoji="0" lang="tr-TR" sz="1400" b="1" i="0" u="none" strike="noStrike" kern="1200" cap="none" spc="0" normalizeH="0" baseline="0" noProof="0" dirty="0" err="1"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Veritabanına</a:t>
            </a:r>
            <a:r>
              <a:rPr kumimoji="0" lang="tr-TR" sz="1400" b="1" i="0"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 Kayı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100" b="0" i="1"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Proje Ortağı İşletmeler)</a:t>
            </a:r>
            <a:endParaRPr kumimoji="0" lang="tr-TR" sz="1100" b="0" i="1"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endParaRPr>
          </a:p>
        </p:txBody>
      </p:sp>
      <p:sp>
        <p:nvSpPr>
          <p:cNvPr id="6" name="Yuvarlatılmış Dikdörtgen 5"/>
          <p:cNvSpPr/>
          <p:nvPr/>
        </p:nvSpPr>
        <p:spPr>
          <a:xfrm>
            <a:off x="1524046" y="1989007"/>
            <a:ext cx="2294467" cy="413782"/>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İşbirliği Sözleşmesi</a:t>
            </a:r>
            <a:endParaRPr kumimoji="0" lang="tr-TR" sz="1400" b="0" i="0"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endParaRPr>
          </a:p>
        </p:txBody>
      </p:sp>
      <p:sp>
        <p:nvSpPr>
          <p:cNvPr id="47" name="Yuvarlatılmış Dikdörtgen 46"/>
          <p:cNvSpPr/>
          <p:nvPr/>
        </p:nvSpPr>
        <p:spPr>
          <a:xfrm>
            <a:off x="1517254" y="2879463"/>
            <a:ext cx="2294467" cy="539655"/>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Ön Başvuru</a:t>
            </a:r>
            <a:endParaRPr kumimoji="0" lang="tr-TR" sz="1100" b="0" i="0"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100" b="0" i="1"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Proje Koordinatörü)</a:t>
            </a:r>
            <a:endParaRPr kumimoji="0" lang="tr-TR" sz="1100" b="0" i="1"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endParaRPr>
          </a:p>
        </p:txBody>
      </p:sp>
      <p:sp>
        <p:nvSpPr>
          <p:cNvPr id="48" name="Aynı Yan Köşesi Kesik Dikdörtgen 47"/>
          <p:cNvSpPr/>
          <p:nvPr/>
        </p:nvSpPr>
        <p:spPr>
          <a:xfrm>
            <a:off x="2853633" y="4340118"/>
            <a:ext cx="731741" cy="200739"/>
          </a:xfrm>
          <a:prstGeom prst="snip2Same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6F8F8"/>
                </a:solidFill>
                <a:effectLst/>
                <a:uLnTx/>
                <a:uFillTx/>
                <a:latin typeface="Calibri" panose="020F0502020204030204" pitchFamily="34" charset="0"/>
                <a:ea typeface="+mn-ea"/>
                <a:cs typeface="+mn-cs"/>
              </a:rPr>
              <a:t>KABUL</a:t>
            </a:r>
          </a:p>
        </p:txBody>
      </p:sp>
      <p:sp>
        <p:nvSpPr>
          <p:cNvPr id="10" name="Akış Çizelgesi: Karar 9"/>
          <p:cNvSpPr/>
          <p:nvPr/>
        </p:nvSpPr>
        <p:spPr>
          <a:xfrm>
            <a:off x="1706398" y="3796401"/>
            <a:ext cx="1964266" cy="547156"/>
          </a:xfrm>
          <a:prstGeom prst="flowChartDecisio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Kontr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100" b="0" i="1"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UB)</a:t>
            </a:r>
            <a:endParaRPr kumimoji="0" lang="tr-TR" sz="1100" b="0" i="1"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endParaRPr>
          </a:p>
        </p:txBody>
      </p:sp>
      <p:sp>
        <p:nvSpPr>
          <p:cNvPr id="49" name="Yuvarlatılmış Dikdörtgen 48"/>
          <p:cNvSpPr/>
          <p:nvPr/>
        </p:nvSpPr>
        <p:spPr>
          <a:xfrm>
            <a:off x="1517256" y="4611690"/>
            <a:ext cx="2294467" cy="469267"/>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Proje Başvurus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100" b="0" i="1"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Proje Koordinatörü)</a:t>
            </a:r>
            <a:endParaRPr kumimoji="0" lang="tr-TR" sz="1100" b="0" i="1"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endParaRPr>
          </a:p>
        </p:txBody>
      </p:sp>
      <p:sp>
        <p:nvSpPr>
          <p:cNvPr id="50" name="Akış Çizelgesi: Karar 49"/>
          <p:cNvSpPr/>
          <p:nvPr/>
        </p:nvSpPr>
        <p:spPr>
          <a:xfrm>
            <a:off x="1725009" y="5277031"/>
            <a:ext cx="1964266" cy="582645"/>
          </a:xfrm>
          <a:prstGeom prst="flowChartDecisio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Kontr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100" b="0" i="1"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UB</a:t>
            </a:r>
            <a:r>
              <a:rPr kumimoji="0" lang="tr-TR" sz="1100" b="0" i="1"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a:t>
            </a:r>
            <a:endParaRPr kumimoji="0" lang="tr-TR" sz="1100" b="0" i="1"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endParaRPr>
          </a:p>
        </p:txBody>
      </p:sp>
      <p:sp>
        <p:nvSpPr>
          <p:cNvPr id="61" name="Yuvarlatılmış Dikdörtgen 60"/>
          <p:cNvSpPr/>
          <p:nvPr/>
        </p:nvSpPr>
        <p:spPr>
          <a:xfrm>
            <a:off x="7132739" y="1273366"/>
            <a:ext cx="4350014" cy="2441074"/>
          </a:xfrm>
          <a:prstGeom prst="roundRect">
            <a:avLst/>
          </a:prstGeom>
          <a:solidFill>
            <a:srgbClr val="F2B0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smtClean="0">
                <a:ln>
                  <a:noFill/>
                </a:ln>
                <a:solidFill>
                  <a:srgbClr val="445469"/>
                </a:solidFill>
                <a:effectLst/>
                <a:uLnTx/>
                <a:uFillTx/>
                <a:latin typeface="Roboto Light"/>
                <a:ea typeface="+mn-ea"/>
                <a:cs typeface="+mn-cs"/>
              </a:rPr>
              <a:t>İşbirliği Sözleşmesi</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tr-TR" sz="1050" b="0" i="0" u="none" strike="noStrike" kern="1200" cap="none" spc="0" normalizeH="0" baseline="0" noProof="0" dirty="0" smtClean="0">
                <a:ln>
                  <a:noFill/>
                </a:ln>
                <a:solidFill>
                  <a:srgbClr val="445469"/>
                </a:solidFill>
                <a:effectLst/>
                <a:uLnTx/>
                <a:uFillTx/>
                <a:latin typeface="Roboto Light"/>
                <a:ea typeface="+mn-ea"/>
                <a:cs typeface="+mn-cs"/>
              </a:rPr>
              <a:t>Projenin konusu ve amacı</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tr-TR" sz="1050" b="0" i="0" u="none" strike="noStrike" kern="1200" cap="none" spc="0" normalizeH="0" baseline="0" noProof="0" dirty="0" smtClean="0">
                <a:ln>
                  <a:noFill/>
                </a:ln>
                <a:solidFill>
                  <a:srgbClr val="445469"/>
                </a:solidFill>
                <a:effectLst/>
                <a:uLnTx/>
                <a:uFillTx/>
                <a:latin typeface="Roboto Light"/>
                <a:ea typeface="+mn-ea"/>
                <a:cs typeface="+mn-cs"/>
              </a:rPr>
              <a:t>İşbirliği ortaklık modeli</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tr-TR" sz="1050" b="0" i="0" u="none" strike="noStrike" kern="1200" cap="none" spc="0" normalizeH="0" baseline="0" noProof="0" dirty="0" smtClean="0">
                <a:ln>
                  <a:noFill/>
                </a:ln>
                <a:solidFill>
                  <a:srgbClr val="445469"/>
                </a:solidFill>
                <a:effectLst/>
                <a:uLnTx/>
                <a:uFillTx/>
                <a:latin typeface="Roboto Light"/>
                <a:ea typeface="+mn-ea"/>
                <a:cs typeface="+mn-cs"/>
              </a:rPr>
              <a:t>Tarafların sorumlulukları</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tr-TR" sz="1050" b="0" i="0" u="none" strike="noStrike" kern="1200" cap="none" spc="0" normalizeH="0" baseline="0" noProof="0" dirty="0" smtClean="0">
                <a:ln>
                  <a:noFill/>
                </a:ln>
                <a:solidFill>
                  <a:srgbClr val="445469"/>
                </a:solidFill>
                <a:effectLst/>
                <a:uLnTx/>
                <a:uFillTx/>
                <a:latin typeface="Roboto Light"/>
                <a:ea typeface="+mn-ea"/>
                <a:cs typeface="+mn-cs"/>
              </a:rPr>
              <a:t>Fikri ve sınai mülkiyet hakları</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tr-TR" sz="1050" b="0" i="0" u="none" strike="noStrike" kern="1200" cap="none" spc="0" normalizeH="0" baseline="0" noProof="0" dirty="0" smtClean="0">
                <a:ln>
                  <a:noFill/>
                </a:ln>
                <a:solidFill>
                  <a:srgbClr val="445469"/>
                </a:solidFill>
                <a:effectLst/>
                <a:uLnTx/>
                <a:uFillTx/>
                <a:latin typeface="Roboto Light"/>
                <a:ea typeface="+mn-ea"/>
                <a:cs typeface="+mn-cs"/>
              </a:rPr>
              <a:t>İşbirliği çıktılarının paylaşımı</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tr-TR" sz="1050" b="0" i="0" u="none" strike="noStrike" kern="1200" cap="none" spc="0" normalizeH="0" baseline="0" noProof="0" dirty="0" smtClean="0">
                <a:ln>
                  <a:noFill/>
                </a:ln>
                <a:solidFill>
                  <a:srgbClr val="445469"/>
                </a:solidFill>
                <a:effectLst/>
                <a:uLnTx/>
                <a:uFillTx/>
                <a:latin typeface="Roboto Light"/>
                <a:ea typeface="+mn-ea"/>
                <a:cs typeface="+mn-cs"/>
              </a:rPr>
              <a:t>Makine, teçhizat, yazılım vb. taşınırların mülkiyeti</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tr-TR" sz="1050" b="0" i="0" u="none" strike="noStrike" kern="1200" cap="none" spc="0" normalizeH="0" baseline="0" noProof="0" dirty="0" smtClean="0">
                <a:ln>
                  <a:noFill/>
                </a:ln>
                <a:solidFill>
                  <a:srgbClr val="445469"/>
                </a:solidFill>
                <a:effectLst/>
                <a:uLnTx/>
                <a:uFillTx/>
                <a:latin typeface="Roboto Light"/>
                <a:ea typeface="+mn-ea"/>
                <a:cs typeface="+mn-cs"/>
              </a:rPr>
              <a:t>Hukuki uyuşmazlıkların çözümü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smtClean="0">
                <a:ln>
                  <a:noFill/>
                </a:ln>
                <a:solidFill>
                  <a:srgbClr val="445469"/>
                </a:solidFill>
                <a:effectLst/>
                <a:uLnTx/>
                <a:uFillTx/>
                <a:latin typeface="Roboto Light"/>
                <a:ea typeface="+mn-ea"/>
                <a:cs typeface="+mn-cs"/>
              </a:rPr>
              <a:t>vb. konularda hükümleri içeri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050" b="0" i="0" u="none" strike="noStrike" kern="1200" cap="none" spc="0" normalizeH="0" baseline="0" noProof="0" dirty="0">
              <a:ln>
                <a:noFill/>
              </a:ln>
              <a:solidFill>
                <a:srgbClr val="445469"/>
              </a:solidFill>
              <a:effectLst/>
              <a:uLnTx/>
              <a:uFillTx/>
              <a:latin typeface="Robo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50" b="0" i="1" u="none" strike="noStrike" kern="1200" cap="none" spc="0" normalizeH="0" baseline="0" noProof="0" dirty="0">
                <a:ln>
                  <a:noFill/>
                </a:ln>
                <a:solidFill>
                  <a:srgbClr val="445469"/>
                </a:solidFill>
                <a:effectLst/>
                <a:uLnTx/>
                <a:uFillTx/>
                <a:latin typeface="Roboto Light"/>
                <a:ea typeface="+mn-ea"/>
                <a:cs typeface="+mn-cs"/>
              </a:rPr>
              <a:t> </a:t>
            </a:r>
            <a:r>
              <a:rPr kumimoji="0" lang="tr-TR" sz="1050" b="0" i="1" u="none" strike="noStrike" kern="1200" cap="none" spc="0" normalizeH="0" baseline="0" noProof="0" dirty="0" smtClean="0">
                <a:ln>
                  <a:noFill/>
                </a:ln>
                <a:solidFill>
                  <a:srgbClr val="445469"/>
                </a:solidFill>
                <a:effectLst/>
                <a:uLnTx/>
                <a:uFillTx/>
                <a:latin typeface="Roboto Light"/>
                <a:ea typeface="+mn-ea"/>
                <a:cs typeface="+mn-cs"/>
              </a:rPr>
              <a:t>          Proje Ortağı tüm işletmelerce imzalanır ve kaşelen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50" b="0" i="1" u="none" strike="noStrike" kern="1200" cap="none" spc="0" normalizeH="0" baseline="0" noProof="0" dirty="0">
                <a:ln>
                  <a:noFill/>
                </a:ln>
                <a:solidFill>
                  <a:srgbClr val="445469"/>
                </a:solidFill>
                <a:effectLst/>
                <a:uLnTx/>
                <a:uFillTx/>
                <a:latin typeface="Roboto Light"/>
                <a:ea typeface="+mn-ea"/>
                <a:cs typeface="+mn-cs"/>
              </a:rPr>
              <a:t> </a:t>
            </a:r>
            <a:r>
              <a:rPr kumimoji="0" lang="tr-TR" sz="1050" b="0" i="1" u="none" strike="noStrike" kern="1200" cap="none" spc="0" normalizeH="0" baseline="0" noProof="0" dirty="0" smtClean="0">
                <a:ln>
                  <a:noFill/>
                </a:ln>
                <a:solidFill>
                  <a:srgbClr val="445469"/>
                </a:solidFill>
                <a:effectLst/>
                <a:uLnTx/>
                <a:uFillTx/>
                <a:latin typeface="Roboto Light"/>
                <a:ea typeface="+mn-ea"/>
                <a:cs typeface="+mn-cs"/>
              </a:rPr>
              <a:t>          Geçerlilik süresi: Proje süresi + 6 ay</a:t>
            </a:r>
          </a:p>
        </p:txBody>
      </p:sp>
      <p:cxnSp>
        <p:nvCxnSpPr>
          <p:cNvPr id="14" name="Düz Bağlayıcı 13"/>
          <p:cNvCxnSpPr>
            <a:stCxn id="6" idx="3"/>
          </p:cNvCxnSpPr>
          <p:nvPr/>
        </p:nvCxnSpPr>
        <p:spPr>
          <a:xfrm flipV="1">
            <a:off x="3818513" y="2180268"/>
            <a:ext cx="3314226" cy="15630"/>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7" name="Düz Ok Bağlayıcısı 66"/>
          <p:cNvCxnSpPr/>
          <p:nvPr/>
        </p:nvCxnSpPr>
        <p:spPr>
          <a:xfrm>
            <a:off x="2664489" y="1791143"/>
            <a:ext cx="6791" cy="189238"/>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0" name="Düz Ok Bağlayıcısı 79"/>
          <p:cNvCxnSpPr>
            <a:stCxn id="6" idx="2"/>
            <a:endCxn id="47" idx="0"/>
          </p:cNvCxnSpPr>
          <p:nvPr/>
        </p:nvCxnSpPr>
        <p:spPr>
          <a:xfrm flipH="1">
            <a:off x="2664488" y="2402789"/>
            <a:ext cx="6792" cy="476674"/>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3" name="Düz Ok Bağlayıcısı 82"/>
          <p:cNvCxnSpPr/>
          <p:nvPr/>
        </p:nvCxnSpPr>
        <p:spPr>
          <a:xfrm flipH="1">
            <a:off x="2679906" y="3458241"/>
            <a:ext cx="6" cy="256199"/>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9" name="Düz Ok Bağlayıcısı 88"/>
          <p:cNvCxnSpPr/>
          <p:nvPr/>
        </p:nvCxnSpPr>
        <p:spPr>
          <a:xfrm>
            <a:off x="2707619" y="4378061"/>
            <a:ext cx="1" cy="19050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Düz Ok Bağlayıcısı 93"/>
          <p:cNvCxnSpPr/>
          <p:nvPr/>
        </p:nvCxnSpPr>
        <p:spPr>
          <a:xfrm>
            <a:off x="2706982" y="5859676"/>
            <a:ext cx="638" cy="209853"/>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7" name="Düz Ok Bağlayıcısı 96"/>
          <p:cNvCxnSpPr/>
          <p:nvPr/>
        </p:nvCxnSpPr>
        <p:spPr>
          <a:xfrm>
            <a:off x="2713257" y="5096693"/>
            <a:ext cx="1" cy="19050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8" name="Dirsek Bağlayıcısı 117"/>
          <p:cNvCxnSpPr/>
          <p:nvPr/>
        </p:nvCxnSpPr>
        <p:spPr>
          <a:xfrm rot="16200000" flipV="1">
            <a:off x="3324800" y="2788828"/>
            <a:ext cx="1740749" cy="720926"/>
          </a:xfrm>
          <a:prstGeom prst="bentConnector2">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25" name="Düz Ok Bağlayıcısı 124"/>
          <p:cNvCxnSpPr>
            <a:stCxn id="10" idx="1"/>
          </p:cNvCxnSpPr>
          <p:nvPr/>
        </p:nvCxnSpPr>
        <p:spPr>
          <a:xfrm flipH="1">
            <a:off x="1184446" y="4069979"/>
            <a:ext cx="521952" cy="14069"/>
          </a:xfrm>
          <a:prstGeom prst="straightConnector1">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42" name="Düz Ok Bağlayıcısı 141"/>
          <p:cNvCxnSpPr/>
          <p:nvPr/>
        </p:nvCxnSpPr>
        <p:spPr>
          <a:xfrm flipV="1">
            <a:off x="3811721" y="5568353"/>
            <a:ext cx="252000" cy="1"/>
          </a:xfrm>
          <a:prstGeom prst="straightConnector1">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3" name="Akış Çizelgesi: Belge 12"/>
          <p:cNvSpPr/>
          <p:nvPr/>
        </p:nvSpPr>
        <p:spPr>
          <a:xfrm>
            <a:off x="71061" y="3217512"/>
            <a:ext cx="1251887" cy="737656"/>
          </a:xfrm>
          <a:prstGeom prst="flowChartDocument">
            <a:avLst/>
          </a:prstGeom>
          <a:solidFill>
            <a:srgbClr val="F2B0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0" i="1"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Ön Başvuru Kontrol Tablosu</a:t>
            </a:r>
            <a:endParaRPr kumimoji="0" lang="tr-TR" sz="1200" b="0" i="1"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endParaRPr>
          </a:p>
        </p:txBody>
      </p:sp>
      <p:cxnSp>
        <p:nvCxnSpPr>
          <p:cNvPr id="54" name="Düz Ok Bağlayıcısı 53"/>
          <p:cNvCxnSpPr/>
          <p:nvPr/>
        </p:nvCxnSpPr>
        <p:spPr>
          <a:xfrm>
            <a:off x="1308261" y="3586342"/>
            <a:ext cx="977739" cy="286918"/>
          </a:xfrm>
          <a:prstGeom prst="straightConnector1">
            <a:avLst/>
          </a:prstGeom>
          <a:ln w="12700">
            <a:solidFill>
              <a:srgbClr val="FF0000"/>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78" name="Dirsek Bağlayıcısı 77"/>
          <p:cNvCxnSpPr/>
          <p:nvPr/>
        </p:nvCxnSpPr>
        <p:spPr>
          <a:xfrm rot="10800000">
            <a:off x="3834712" y="3156873"/>
            <a:ext cx="720926" cy="12700"/>
          </a:xfrm>
          <a:prstGeom prst="bentConnector3">
            <a:avLst>
              <a:gd name="adj1" fmla="val -256"/>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81" name="Aynı Yan Köşesi Kesik Dikdörtgen 80"/>
          <p:cNvSpPr/>
          <p:nvPr/>
        </p:nvSpPr>
        <p:spPr>
          <a:xfrm>
            <a:off x="2827755" y="5868790"/>
            <a:ext cx="731741" cy="200739"/>
          </a:xfrm>
          <a:prstGeom prst="snip2Same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6F8F8"/>
                </a:solidFill>
                <a:effectLst/>
                <a:uLnTx/>
                <a:uFillTx/>
                <a:latin typeface="Calibri" panose="020F0502020204030204" pitchFamily="34" charset="0"/>
                <a:ea typeface="+mn-ea"/>
                <a:cs typeface="+mn-cs"/>
              </a:rPr>
              <a:t>KABUL</a:t>
            </a:r>
          </a:p>
        </p:txBody>
      </p:sp>
      <p:cxnSp>
        <p:nvCxnSpPr>
          <p:cNvPr id="82" name="Dirsek Bağlayıcısı 81"/>
          <p:cNvCxnSpPr/>
          <p:nvPr/>
        </p:nvCxnSpPr>
        <p:spPr>
          <a:xfrm rot="16200000" flipV="1">
            <a:off x="3962828" y="4844094"/>
            <a:ext cx="519420" cy="569635"/>
          </a:xfrm>
          <a:prstGeom prst="bentConnector2">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84" name="Aynı Yan Köşesi Kesik Dikdörtgen 83"/>
          <p:cNvSpPr/>
          <p:nvPr/>
        </p:nvSpPr>
        <p:spPr>
          <a:xfrm>
            <a:off x="4085164" y="5467983"/>
            <a:ext cx="903147" cy="200739"/>
          </a:xfrm>
          <a:prstGeom prst="snip2Same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6F8F8">
                    <a:lumMod val="10000"/>
                  </a:srgbClr>
                </a:solidFill>
                <a:effectLst/>
                <a:uLnTx/>
                <a:uFillTx/>
                <a:latin typeface="Calibri" panose="020F0502020204030204" pitchFamily="34" charset="0"/>
                <a:ea typeface="+mn-ea"/>
                <a:cs typeface="+mn-cs"/>
              </a:rPr>
              <a:t>REVİZYON</a:t>
            </a:r>
          </a:p>
        </p:txBody>
      </p:sp>
      <p:cxnSp>
        <p:nvCxnSpPr>
          <p:cNvPr id="90" name="Düz Ok Bağlayıcısı 89"/>
          <p:cNvCxnSpPr/>
          <p:nvPr/>
        </p:nvCxnSpPr>
        <p:spPr>
          <a:xfrm flipH="1">
            <a:off x="995304" y="4757611"/>
            <a:ext cx="521952" cy="14069"/>
          </a:xfrm>
          <a:prstGeom prst="straightConnector1">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93" name="Aynı Yan Köşesi Kesik Dikdörtgen 92"/>
          <p:cNvSpPr/>
          <p:nvPr/>
        </p:nvSpPr>
        <p:spPr>
          <a:xfrm>
            <a:off x="468040" y="4570940"/>
            <a:ext cx="457931" cy="401479"/>
          </a:xfrm>
          <a:prstGeom prst="snip2Same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smtClean="0">
                <a:ln>
                  <a:noFill/>
                </a:ln>
                <a:solidFill>
                  <a:srgbClr val="F6F8F8"/>
                </a:solidFill>
                <a:effectLst/>
                <a:uLnTx/>
                <a:uFillTx/>
                <a:latin typeface="Calibri" panose="020F0502020204030204" pitchFamily="34" charset="0"/>
                <a:ea typeface="+mn-ea"/>
                <a:cs typeface="+mn-cs"/>
              </a:rPr>
              <a:t>İPTAL</a:t>
            </a:r>
            <a:endParaRPr kumimoji="0" lang="tr-TR" sz="1200" b="1" i="0" u="none" strike="noStrike" kern="1200" cap="none" spc="0" normalizeH="0" baseline="0" noProof="0" dirty="0">
              <a:ln>
                <a:noFill/>
              </a:ln>
              <a:solidFill>
                <a:srgbClr val="F6F8F8"/>
              </a:solidFill>
              <a:effectLst/>
              <a:uLnTx/>
              <a:uFillTx/>
              <a:latin typeface="Calibri" panose="020F0502020204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smtClean="0">
                <a:ln>
                  <a:noFill/>
                </a:ln>
                <a:solidFill>
                  <a:srgbClr val="F6F8F8"/>
                </a:solidFill>
                <a:effectLst/>
                <a:uLnTx/>
                <a:uFillTx/>
                <a:latin typeface="Calibri" panose="020F0502020204030204" pitchFamily="34" charset="0"/>
                <a:ea typeface="+mn-ea"/>
                <a:cs typeface="+mn-cs"/>
              </a:rPr>
              <a:t>(Süre)</a:t>
            </a:r>
          </a:p>
        </p:txBody>
      </p:sp>
      <p:sp>
        <p:nvSpPr>
          <p:cNvPr id="95" name="Akış Çizelgesi: Bağlayıcı 94"/>
          <p:cNvSpPr/>
          <p:nvPr/>
        </p:nvSpPr>
        <p:spPr>
          <a:xfrm>
            <a:off x="2560858" y="6085539"/>
            <a:ext cx="304800" cy="322210"/>
          </a:xfrm>
          <a:prstGeom prst="flowChartConnector">
            <a:avLst/>
          </a:prstGeom>
          <a:solidFill>
            <a:srgbClr val="F9DED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smtClean="0">
                <a:ln>
                  <a:noFill/>
                </a:ln>
                <a:solidFill>
                  <a:srgbClr val="445469">
                    <a:lumMod val="50000"/>
                  </a:srgbClr>
                </a:solidFill>
                <a:effectLst/>
                <a:uLnTx/>
                <a:uFillTx/>
                <a:latin typeface="Roboto Light"/>
                <a:ea typeface="+mn-ea"/>
                <a:cs typeface="+mn-cs"/>
              </a:rPr>
              <a:t>1</a:t>
            </a:r>
            <a:endParaRPr kumimoji="0" lang="tr-TR" sz="1800" b="0" i="0" u="none" strike="noStrike" kern="1200" cap="none" spc="0" normalizeH="0" baseline="0" noProof="0" dirty="0">
              <a:ln>
                <a:noFill/>
              </a:ln>
              <a:solidFill>
                <a:srgbClr val="445469">
                  <a:lumMod val="50000"/>
                </a:srgbClr>
              </a:solidFill>
              <a:effectLst/>
              <a:uLnTx/>
              <a:uFillTx/>
              <a:latin typeface="Roboto Light"/>
              <a:ea typeface="+mn-ea"/>
              <a:cs typeface="+mn-cs"/>
            </a:endParaRPr>
          </a:p>
        </p:txBody>
      </p:sp>
      <p:cxnSp>
        <p:nvCxnSpPr>
          <p:cNvPr id="101" name="Düz Ok Bağlayıcısı 100"/>
          <p:cNvCxnSpPr/>
          <p:nvPr/>
        </p:nvCxnSpPr>
        <p:spPr>
          <a:xfrm flipV="1">
            <a:off x="3811721" y="4092988"/>
            <a:ext cx="252000" cy="1"/>
          </a:xfrm>
          <a:prstGeom prst="straightConnector1">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5635480"/>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a:xfrm>
            <a:off x="9968767" y="6480202"/>
            <a:ext cx="284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C1868C5-B491-42BF-9F5C-46095BC3F40A}" type="slidenum">
              <a:rPr kumimoji="0" lang="tr-TR" sz="1200" b="0" i="0" u="none" strike="noStrike" kern="1200" cap="none" spc="0" normalizeH="0" baseline="0" noProof="0" smtClean="0">
                <a:ln>
                  <a:noFill/>
                </a:ln>
                <a:solidFill>
                  <a:srgbClr val="445469">
                    <a:tint val="75000"/>
                  </a:srgbClr>
                </a:solidFill>
                <a:effectLst/>
                <a:uLnTx/>
                <a:uFillTx/>
                <a:latin typeface="Calibri" panose="020F050202020403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7</a:t>
            </a:fld>
            <a:endParaRPr kumimoji="0" lang="tr-TR" sz="1200" b="0" i="0" u="none" strike="noStrike" kern="1200" cap="none" spc="0" normalizeH="0" baseline="0" noProof="0" dirty="0">
              <a:ln>
                <a:noFill/>
              </a:ln>
              <a:solidFill>
                <a:srgbClr val="445469">
                  <a:tint val="75000"/>
                </a:srgbClr>
              </a:solidFill>
              <a:effectLst/>
              <a:uLnTx/>
              <a:uFillTx/>
              <a:latin typeface="Calibri" panose="020F0502020204030204" pitchFamily="34" charset="0"/>
              <a:ea typeface="+mn-ea"/>
              <a:cs typeface="+mn-cs"/>
            </a:endParaRPr>
          </a:p>
        </p:txBody>
      </p:sp>
      <p:sp>
        <p:nvSpPr>
          <p:cNvPr id="35" name="TextBox 18">
            <a:extLst>
              <a:ext uri="{FF2B5EF4-FFF2-40B4-BE49-F238E27FC236}">
                <a16:creationId xmlns:a16="http://schemas.microsoft.com/office/drawing/2014/main" id="{CDB69DC1-FE61-4F64-AEE0-C856CB684FCD}"/>
              </a:ext>
            </a:extLst>
          </p:cNvPr>
          <p:cNvSpPr txBox="1"/>
          <p:nvPr/>
        </p:nvSpPr>
        <p:spPr>
          <a:xfrm>
            <a:off x="955482" y="203049"/>
            <a:ext cx="10662738" cy="695062"/>
          </a:xfrm>
          <a:prstGeom prst="rect">
            <a:avLst/>
          </a:prstGeom>
          <a:noFill/>
        </p:spPr>
        <p:txBody>
          <a:bodyPr wrap="square" rtlCol="0">
            <a:spAutoFit/>
          </a:bodyPr>
          <a:lstStyle/>
          <a:p>
            <a:pPr marL="0" marR="0" lvl="0" indent="0" algn="ctr" defTabSz="914400" rtl="0" eaLnBrk="1" fontAlgn="auto" latinLnBrk="0" hangingPunct="1">
              <a:lnSpc>
                <a:spcPts val="4666"/>
              </a:lnSpc>
              <a:spcBef>
                <a:spcPts val="0"/>
              </a:spcBef>
              <a:spcAft>
                <a:spcPts val="0"/>
              </a:spcAft>
              <a:buClrTx/>
              <a:buSzTx/>
              <a:buFontTx/>
              <a:buNone/>
              <a:tabLst/>
              <a:defRPr/>
            </a:pPr>
            <a:r>
              <a:rPr kumimoji="0" lang="tr-TR" sz="2800" b="1" i="0" u="none" strike="noStrike" kern="1200" cap="none" spc="0" normalizeH="0" baseline="0" noProof="0" dirty="0" smtClean="0">
                <a:ln>
                  <a:noFill/>
                </a:ln>
                <a:solidFill>
                  <a:srgbClr val="00759E">
                    <a:lumMod val="60000"/>
                    <a:lumOff val="40000"/>
                  </a:srgbClr>
                </a:solidFill>
                <a:effectLst/>
                <a:uLnTx/>
                <a:uFillTx/>
                <a:latin typeface="Calibri" pitchFamily="34" charset="0"/>
                <a:ea typeface="Roboto Black" panose="02000000000000000000" pitchFamily="2" charset="0"/>
                <a:cs typeface="+mn-cs"/>
              </a:rPr>
              <a:t>İşbirliği Destek Programı İş Akışı-II</a:t>
            </a:r>
            <a:endParaRPr kumimoji="0" lang="tr-TR" sz="2800" b="1" i="0" u="none" strike="noStrike" kern="1200" cap="none" spc="0" normalizeH="0" baseline="0" noProof="0" dirty="0">
              <a:ln>
                <a:noFill/>
              </a:ln>
              <a:solidFill>
                <a:srgbClr val="00759E">
                  <a:lumMod val="60000"/>
                  <a:lumOff val="40000"/>
                </a:srgbClr>
              </a:solidFill>
              <a:effectLst/>
              <a:uLnTx/>
              <a:uFillTx/>
              <a:latin typeface="Calibri" pitchFamily="34" charset="0"/>
              <a:ea typeface="Roboto Black" panose="02000000000000000000" pitchFamily="2" charset="0"/>
              <a:cs typeface="+mn-cs"/>
            </a:endParaRPr>
          </a:p>
        </p:txBody>
      </p:sp>
      <p:sp>
        <p:nvSpPr>
          <p:cNvPr id="51" name="Yuvarlatılmış Dikdörtgen 50"/>
          <p:cNvSpPr/>
          <p:nvPr/>
        </p:nvSpPr>
        <p:spPr>
          <a:xfrm>
            <a:off x="1319842" y="1679334"/>
            <a:ext cx="2525749" cy="507226"/>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Teknik İnceleme / Mali Analiz</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100" b="0" i="1"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Öğretim Elemanı)</a:t>
            </a:r>
            <a:endParaRPr kumimoji="0" lang="tr-TR" sz="1100" b="0" i="1" u="none" strike="noStrike" kern="1200" cap="none" spc="0" normalizeH="0" baseline="0" noProof="0" dirty="0">
              <a:ln>
                <a:noFill/>
              </a:ln>
              <a:solidFill>
                <a:srgbClr val="445469"/>
              </a:solidFill>
              <a:effectLst/>
              <a:uLnTx/>
              <a:uFillTx/>
              <a:latin typeface="Times New Roman" panose="02020603050405020304" pitchFamily="18" charset="0"/>
              <a:ea typeface="+mn-ea"/>
              <a:cs typeface="Times New Roman" panose="02020603050405020304" pitchFamily="18" charset="0"/>
            </a:endParaRPr>
          </a:p>
        </p:txBody>
      </p:sp>
      <p:sp>
        <p:nvSpPr>
          <p:cNvPr id="52" name="Akış Çizelgesi: Karar 51"/>
          <p:cNvSpPr/>
          <p:nvPr/>
        </p:nvSpPr>
        <p:spPr>
          <a:xfrm>
            <a:off x="817465" y="2519532"/>
            <a:ext cx="3613229" cy="1084029"/>
          </a:xfrm>
          <a:prstGeom prst="flowChartDecisio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Kurul Değerlendirmesi</a:t>
            </a:r>
            <a:endParaRPr kumimoji="0" lang="tr-TR" sz="1400" b="0" i="0" u="none" strike="noStrike" kern="1200" cap="none" spc="0" normalizeH="0" baseline="0" noProof="0" dirty="0">
              <a:ln>
                <a:noFill/>
              </a:ln>
              <a:solidFill>
                <a:srgbClr val="445469"/>
              </a:solidFill>
              <a:effectLst/>
              <a:uLnTx/>
              <a:uFillTx/>
              <a:latin typeface="Times New Roman" panose="02020603050405020304" pitchFamily="18" charset="0"/>
              <a:ea typeface="+mn-ea"/>
              <a:cs typeface="Times New Roman" panose="02020603050405020304" pitchFamily="18" charset="0"/>
            </a:endParaRPr>
          </a:p>
        </p:txBody>
      </p:sp>
      <p:sp>
        <p:nvSpPr>
          <p:cNvPr id="53" name="Aynı Yan Köşesi Kesik Dikdörtgen 52"/>
          <p:cNvSpPr/>
          <p:nvPr/>
        </p:nvSpPr>
        <p:spPr>
          <a:xfrm>
            <a:off x="2892395" y="3712606"/>
            <a:ext cx="731741" cy="200739"/>
          </a:xfrm>
          <a:prstGeom prst="snip2Same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6F8F8"/>
                </a:solidFill>
                <a:effectLst/>
                <a:uLnTx/>
                <a:uFillTx/>
                <a:latin typeface="Calibri" panose="020F0502020204030204" pitchFamily="34" charset="0"/>
                <a:ea typeface="+mn-ea"/>
                <a:cs typeface="+mn-cs"/>
              </a:rPr>
              <a:t>KABUL</a:t>
            </a:r>
          </a:p>
        </p:txBody>
      </p:sp>
      <p:sp>
        <p:nvSpPr>
          <p:cNvPr id="57" name="Aynı Yan Köşesi Kesik Dikdörtgen 56"/>
          <p:cNvSpPr/>
          <p:nvPr/>
        </p:nvSpPr>
        <p:spPr>
          <a:xfrm>
            <a:off x="106494" y="3017524"/>
            <a:ext cx="457931" cy="200739"/>
          </a:xfrm>
          <a:prstGeom prst="snip2Same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6F8F8"/>
                </a:solidFill>
                <a:effectLst/>
                <a:uLnTx/>
                <a:uFillTx/>
                <a:latin typeface="Calibri" panose="020F0502020204030204" pitchFamily="34" charset="0"/>
                <a:ea typeface="+mn-ea"/>
                <a:cs typeface="+mn-cs"/>
              </a:rPr>
              <a:t>RED</a:t>
            </a:r>
          </a:p>
        </p:txBody>
      </p:sp>
      <p:sp>
        <p:nvSpPr>
          <p:cNvPr id="62" name="Yuvarlatılmış Dikdörtgen 61"/>
          <p:cNvSpPr/>
          <p:nvPr/>
        </p:nvSpPr>
        <p:spPr>
          <a:xfrm>
            <a:off x="7268206" y="3062970"/>
            <a:ext cx="4350014" cy="1804947"/>
          </a:xfrm>
          <a:prstGeom prst="roundRect">
            <a:avLst/>
          </a:prstGeom>
          <a:solidFill>
            <a:srgbClr val="E8C8E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smtClean="0">
                <a:ln>
                  <a:noFill/>
                </a:ln>
                <a:solidFill>
                  <a:srgbClr val="445469"/>
                </a:solidFill>
                <a:effectLst/>
                <a:uLnTx/>
                <a:uFillTx/>
                <a:latin typeface="Roboto Light"/>
                <a:ea typeface="+mn-ea"/>
                <a:cs typeface="+mn-cs"/>
              </a:rPr>
              <a:t>Kurul</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smtClean="0">
                <a:ln>
                  <a:noFill/>
                </a:ln>
                <a:solidFill>
                  <a:srgbClr val="F6F8F8">
                    <a:lumMod val="10000"/>
                  </a:srgbClr>
                </a:solidFill>
                <a:effectLst/>
                <a:uLnTx/>
                <a:uFillTx/>
                <a:latin typeface="Roboto Light"/>
                <a:ea typeface="+mn-ea"/>
                <a:cs typeface="+mn-cs"/>
              </a:rPr>
              <a:t>En </a:t>
            </a:r>
            <a:r>
              <a:rPr kumimoji="0" lang="tr-TR" sz="1050" b="0" i="0" u="none" strike="noStrike" kern="1200" cap="none" spc="0" normalizeH="0" baseline="0" noProof="0" dirty="0">
                <a:ln>
                  <a:noFill/>
                </a:ln>
                <a:solidFill>
                  <a:srgbClr val="F6F8F8">
                    <a:lumMod val="10000"/>
                  </a:srgbClr>
                </a:solidFill>
                <a:effectLst/>
                <a:uLnTx/>
                <a:uFillTx/>
                <a:latin typeface="Roboto Light"/>
                <a:ea typeface="+mn-ea"/>
                <a:cs typeface="+mn-cs"/>
              </a:rPr>
              <a:t>az 2 (iki) KOSGEB personeli ve en az 2 (iki) bağımsız değerlendirici olmak üzere toplam 5 (beş) üyeden oluşur ve en az 4 (dört) üye ile toplanır</a:t>
            </a:r>
            <a:r>
              <a:rPr kumimoji="0" lang="tr-TR" sz="1050" b="0" i="0" u="none" strike="noStrike" kern="1200" cap="none" spc="0" normalizeH="0" baseline="0" noProof="0" dirty="0" smtClean="0">
                <a:ln>
                  <a:noFill/>
                </a:ln>
                <a:solidFill>
                  <a:srgbClr val="F6F8F8">
                    <a:lumMod val="10000"/>
                  </a:srgbClr>
                </a:solidFill>
                <a:effectLst/>
                <a:uLnTx/>
                <a:uFillTx/>
                <a:latin typeface="Roboto Light"/>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tr-TR" sz="1050" b="0" i="0" u="none" strike="noStrike" kern="1200" cap="none" spc="0" normalizeH="0" baseline="0" noProof="0" dirty="0" smtClean="0">
              <a:ln>
                <a:noFill/>
              </a:ln>
              <a:solidFill>
                <a:srgbClr val="F6F8F8">
                  <a:lumMod val="10000"/>
                </a:srgbClr>
              </a:solidFill>
              <a:effectLst/>
              <a:uLnTx/>
              <a:uFillTx/>
              <a:latin typeface="Roboto Ligh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smtClean="0">
                <a:ln>
                  <a:noFill/>
                </a:ln>
                <a:solidFill>
                  <a:srgbClr val="F6F8F8">
                    <a:lumMod val="10000"/>
                  </a:srgbClr>
                </a:solidFill>
                <a:effectLst/>
                <a:uLnTx/>
                <a:uFillTx/>
                <a:latin typeface="Roboto Light"/>
                <a:ea typeface="+mn-ea"/>
                <a:cs typeface="+mn-cs"/>
              </a:rPr>
              <a:t>* Projenin kabul veya reddine ilişkin kararlar puanlama yöntemi ile alınır. Projenin kabulü için kurul üyelerinin verdiği puanların aritmetik ortalamasının 60 ve üzeri olması gerekir. </a:t>
            </a:r>
            <a:r>
              <a:rPr kumimoji="0" lang="tr-TR" sz="1050" b="0" i="1" u="none" strike="noStrike" kern="1200" cap="none" spc="0" normalizeH="0" baseline="0" noProof="0" dirty="0" smtClean="0">
                <a:ln>
                  <a:noFill/>
                </a:ln>
                <a:solidFill>
                  <a:srgbClr val="F6F8F8">
                    <a:lumMod val="10000"/>
                  </a:srgbClr>
                </a:solidFill>
                <a:effectLst/>
                <a:uLnTx/>
                <a:uFillTx/>
                <a:latin typeface="Roboto Light"/>
                <a:ea typeface="+mn-ea"/>
                <a:cs typeface="+mn-cs"/>
              </a:rPr>
              <a:t>(100 puan; ekonomik etki, yeterlilik, uygulanabilirlik, bütçe-maliyet etkinliği)</a:t>
            </a:r>
            <a:endParaRPr kumimoji="0" lang="tr-TR" sz="1050" b="0" i="1" u="none" strike="noStrike" kern="1200" cap="none" spc="0" normalizeH="0" baseline="0" noProof="0" dirty="0">
              <a:ln>
                <a:noFill/>
              </a:ln>
              <a:solidFill>
                <a:srgbClr val="F6F8F8">
                  <a:lumMod val="10000"/>
                </a:srgbClr>
              </a:solidFill>
              <a:effectLst/>
              <a:uLnTx/>
              <a:uFillTx/>
              <a:latin typeface="Roboto Light"/>
              <a:ea typeface="+mn-ea"/>
              <a:cs typeface="+mn-cs"/>
            </a:endParaRPr>
          </a:p>
        </p:txBody>
      </p:sp>
      <p:sp>
        <p:nvSpPr>
          <p:cNvPr id="63" name="Yuvarlatılmış Dikdörtgen 62"/>
          <p:cNvSpPr/>
          <p:nvPr/>
        </p:nvSpPr>
        <p:spPr>
          <a:xfrm>
            <a:off x="7267731" y="1208829"/>
            <a:ext cx="4350014" cy="1603382"/>
          </a:xfrm>
          <a:prstGeom prst="roundRect">
            <a:avLst/>
          </a:prstGeom>
          <a:solidFill>
            <a:srgbClr val="A4E4B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smtClean="0">
                <a:ln>
                  <a:noFill/>
                </a:ln>
                <a:solidFill>
                  <a:srgbClr val="445469"/>
                </a:solidFill>
                <a:effectLst/>
                <a:uLnTx/>
                <a:uFillTx/>
                <a:latin typeface="Roboto Light"/>
                <a:ea typeface="+mn-ea"/>
                <a:cs typeface="+mn-cs"/>
              </a:rPr>
              <a:t>Teknik İnceleme/Mali Analiz</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smtClean="0">
                <a:ln>
                  <a:noFill/>
                </a:ln>
                <a:solidFill>
                  <a:srgbClr val="F6F8F8">
                    <a:lumMod val="10000"/>
                  </a:srgbClr>
                </a:solidFill>
                <a:effectLst/>
                <a:uLnTx/>
                <a:uFillTx/>
                <a:latin typeface="Roboto Light"/>
                <a:ea typeface="+mn-ea"/>
                <a:cs typeface="+mn-cs"/>
              </a:rPr>
              <a:t>Öğretim Elemanları tarafından yapılır.</a:t>
            </a:r>
          </a:p>
          <a:p>
            <a:pPr marL="171450" marR="0" lvl="0" indent="-171450" algn="just" defTabSz="914400" rtl="0" eaLnBrk="1" fontAlgn="auto" latinLnBrk="0" hangingPunct="1">
              <a:lnSpc>
                <a:spcPct val="100000"/>
              </a:lnSpc>
              <a:spcBef>
                <a:spcPts val="0"/>
              </a:spcBef>
              <a:spcAft>
                <a:spcPts val="0"/>
              </a:spcAft>
              <a:buClrTx/>
              <a:buSzTx/>
              <a:buFont typeface="Arial" charset="0"/>
              <a:buChar char="•"/>
              <a:tabLst/>
              <a:defRPr/>
            </a:pPr>
            <a:r>
              <a:rPr kumimoji="0" lang="tr-TR" sz="1050" b="0" i="1" u="none" strike="noStrike" kern="1200" cap="none" spc="0" normalizeH="0" baseline="0" noProof="0" dirty="0" smtClean="0">
                <a:ln>
                  <a:noFill/>
                </a:ln>
                <a:solidFill>
                  <a:srgbClr val="F6F8F8">
                    <a:lumMod val="10000"/>
                  </a:srgbClr>
                </a:solidFill>
                <a:effectLst/>
                <a:uLnTx/>
                <a:uFillTx/>
                <a:latin typeface="Roboto Light"/>
                <a:ea typeface="+mn-ea"/>
                <a:cs typeface="+mn-cs"/>
              </a:rPr>
              <a:t>Teknik İnceleme ile; yapılacak işbirliğinin, işletmelerin, görev paylaşımının, insan kaynaklarının, talep edilen giderlerin vb.  teknik açıdan uygunluğu değerlendirilir.</a:t>
            </a:r>
          </a:p>
          <a:p>
            <a:pPr marL="171450" marR="0" lvl="0" indent="-171450" algn="just" defTabSz="914400" rtl="0" eaLnBrk="1" fontAlgn="auto" latinLnBrk="0" hangingPunct="1">
              <a:lnSpc>
                <a:spcPct val="100000"/>
              </a:lnSpc>
              <a:spcBef>
                <a:spcPts val="0"/>
              </a:spcBef>
              <a:spcAft>
                <a:spcPts val="0"/>
              </a:spcAft>
              <a:buClrTx/>
              <a:buSzTx/>
              <a:buFont typeface="Arial" charset="0"/>
              <a:buChar char="•"/>
              <a:tabLst/>
              <a:defRPr/>
            </a:pPr>
            <a:r>
              <a:rPr kumimoji="0" lang="tr-TR" sz="1050" b="0" i="1" u="none" strike="noStrike" kern="1200" cap="none" spc="0" normalizeH="0" baseline="0" noProof="0" dirty="0" smtClean="0">
                <a:ln>
                  <a:noFill/>
                </a:ln>
                <a:solidFill>
                  <a:srgbClr val="F6F8F8">
                    <a:lumMod val="10000"/>
                  </a:srgbClr>
                </a:solidFill>
                <a:effectLst/>
                <a:uLnTx/>
                <a:uFillTx/>
                <a:latin typeface="Roboto Light"/>
                <a:ea typeface="+mn-ea"/>
                <a:cs typeface="+mn-cs"/>
              </a:rPr>
              <a:t>Mali analiz ile; işletmelerin mali yeterlilikleri, pazar analizleri, yatırımın geri dönüş süresi, yatırımın sağladığı katkı vb. değerlendirilir.</a:t>
            </a:r>
            <a:endParaRPr kumimoji="0" lang="tr-TR" sz="1050" b="0" i="1" u="none" strike="noStrike" kern="1200" cap="none" spc="0" normalizeH="0" baseline="0" noProof="0" dirty="0">
              <a:ln>
                <a:noFill/>
              </a:ln>
              <a:solidFill>
                <a:srgbClr val="F6F8F8">
                  <a:lumMod val="10000"/>
                </a:srgbClr>
              </a:solidFill>
              <a:effectLst/>
              <a:uLnTx/>
              <a:uFillTx/>
              <a:latin typeface="Roboto Light"/>
              <a:ea typeface="+mn-ea"/>
              <a:cs typeface="+mn-cs"/>
            </a:endParaRPr>
          </a:p>
        </p:txBody>
      </p:sp>
      <p:cxnSp>
        <p:nvCxnSpPr>
          <p:cNvPr id="18" name="Dirsek Bağlayıcısı 17"/>
          <p:cNvCxnSpPr/>
          <p:nvPr/>
        </p:nvCxnSpPr>
        <p:spPr>
          <a:xfrm>
            <a:off x="3845591" y="1847313"/>
            <a:ext cx="3369177" cy="12700"/>
          </a:xfrm>
          <a:prstGeom prst="bentConnector3">
            <a:avLst>
              <a:gd name="adj1" fmla="val 50000"/>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2" name="Dirsek Bağlayıcısı 71"/>
          <p:cNvCxnSpPr/>
          <p:nvPr/>
        </p:nvCxnSpPr>
        <p:spPr>
          <a:xfrm>
            <a:off x="3512185" y="3391496"/>
            <a:ext cx="3702583" cy="12700"/>
          </a:xfrm>
          <a:prstGeom prst="bentConnector3">
            <a:avLst>
              <a:gd name="adj1" fmla="val 50000"/>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4" name="Düz Ok Bağlayıcısı 93"/>
          <p:cNvCxnSpPr/>
          <p:nvPr/>
        </p:nvCxnSpPr>
        <p:spPr>
          <a:xfrm>
            <a:off x="3164667" y="6174417"/>
            <a:ext cx="1" cy="19050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0" name="Dirsek Bağlayıcısı 99"/>
          <p:cNvCxnSpPr>
            <a:stCxn id="130" idx="3"/>
          </p:cNvCxnSpPr>
          <p:nvPr/>
        </p:nvCxnSpPr>
        <p:spPr>
          <a:xfrm rot="16200000" flipV="1">
            <a:off x="3779545" y="1433568"/>
            <a:ext cx="552465" cy="2615398"/>
          </a:xfrm>
          <a:prstGeom prst="bentConnector2">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26" name="Düz Ok Bağlayıcısı 125"/>
          <p:cNvCxnSpPr/>
          <p:nvPr/>
        </p:nvCxnSpPr>
        <p:spPr>
          <a:xfrm flipH="1" flipV="1">
            <a:off x="579487" y="3117893"/>
            <a:ext cx="206048" cy="2"/>
          </a:xfrm>
          <a:prstGeom prst="straightConnector1">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28" name="Düz Ok Bağlayıcısı 127"/>
          <p:cNvCxnSpPr/>
          <p:nvPr/>
        </p:nvCxnSpPr>
        <p:spPr>
          <a:xfrm>
            <a:off x="2632705" y="1444779"/>
            <a:ext cx="0" cy="241971"/>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0" name="Aynı Yan Köşesi Kesik Dikdörtgen 129"/>
          <p:cNvSpPr/>
          <p:nvPr/>
        </p:nvSpPr>
        <p:spPr>
          <a:xfrm>
            <a:off x="4911902" y="3017499"/>
            <a:ext cx="903147" cy="200739"/>
          </a:xfrm>
          <a:prstGeom prst="snip2Same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6F8F8">
                    <a:lumMod val="10000"/>
                  </a:srgbClr>
                </a:solidFill>
                <a:effectLst/>
                <a:uLnTx/>
                <a:uFillTx/>
                <a:latin typeface="Calibri" panose="020F0502020204030204" pitchFamily="34" charset="0"/>
                <a:ea typeface="+mn-ea"/>
                <a:cs typeface="+mn-cs"/>
              </a:rPr>
              <a:t>REVİZYON</a:t>
            </a:r>
          </a:p>
        </p:txBody>
      </p:sp>
      <p:cxnSp>
        <p:nvCxnSpPr>
          <p:cNvPr id="131" name="Düz Ok Bağlayıcısı 130"/>
          <p:cNvCxnSpPr/>
          <p:nvPr/>
        </p:nvCxnSpPr>
        <p:spPr>
          <a:xfrm flipV="1">
            <a:off x="4508513" y="3107935"/>
            <a:ext cx="343191" cy="2"/>
          </a:xfrm>
          <a:prstGeom prst="straightConnector1">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42" name="Akış Çizelgesi: Bağlayıcı 41"/>
          <p:cNvSpPr/>
          <p:nvPr/>
        </p:nvSpPr>
        <p:spPr>
          <a:xfrm>
            <a:off x="2477782" y="1122569"/>
            <a:ext cx="304800" cy="322210"/>
          </a:xfrm>
          <a:prstGeom prst="flowChartConnector">
            <a:avLst/>
          </a:prstGeom>
          <a:solidFill>
            <a:srgbClr val="F9DED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smtClean="0">
                <a:ln>
                  <a:noFill/>
                </a:ln>
                <a:solidFill>
                  <a:srgbClr val="445469">
                    <a:lumMod val="50000"/>
                  </a:srgbClr>
                </a:solidFill>
                <a:effectLst/>
                <a:uLnTx/>
                <a:uFillTx/>
                <a:latin typeface="Roboto Light"/>
                <a:ea typeface="+mn-ea"/>
                <a:cs typeface="+mn-cs"/>
              </a:rPr>
              <a:t>1</a:t>
            </a:r>
            <a:endParaRPr kumimoji="0" lang="tr-TR" sz="1800" b="0" i="0" u="none" strike="noStrike" kern="1200" cap="none" spc="0" normalizeH="0" baseline="0" noProof="0" dirty="0">
              <a:ln>
                <a:noFill/>
              </a:ln>
              <a:solidFill>
                <a:srgbClr val="445469">
                  <a:lumMod val="50000"/>
                </a:srgbClr>
              </a:solidFill>
              <a:effectLst/>
              <a:uLnTx/>
              <a:uFillTx/>
              <a:latin typeface="Roboto Light"/>
              <a:ea typeface="+mn-ea"/>
              <a:cs typeface="+mn-cs"/>
            </a:endParaRPr>
          </a:p>
        </p:txBody>
      </p:sp>
      <p:sp>
        <p:nvSpPr>
          <p:cNvPr id="64" name="Akış Çizelgesi: Öteki İşlem 63"/>
          <p:cNvSpPr/>
          <p:nvPr/>
        </p:nvSpPr>
        <p:spPr>
          <a:xfrm>
            <a:off x="206316" y="4364966"/>
            <a:ext cx="2830182" cy="603955"/>
          </a:xfrm>
          <a:prstGeom prst="flowChartAlternateProcess">
            <a:avLst/>
          </a:prstGeom>
          <a:solidFill>
            <a:srgbClr val="D8F4D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İşletici Kuruluş Model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Kuruluş ve KOSGEB VT Kayı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Proje Ortakları)</a:t>
            </a:r>
            <a:endParaRPr kumimoji="0" lang="tr-TR" sz="1200" b="0" i="0" u="none" strike="noStrike" kern="1200" cap="none" spc="0" normalizeH="0" baseline="0" noProof="0" dirty="0">
              <a:ln>
                <a:noFill/>
              </a:ln>
              <a:solidFill>
                <a:srgbClr val="445469"/>
              </a:solidFill>
              <a:effectLst/>
              <a:uLnTx/>
              <a:uFillTx/>
              <a:latin typeface="Times New Roman" panose="02020603050405020304" pitchFamily="18" charset="0"/>
              <a:ea typeface="+mn-ea"/>
              <a:cs typeface="Times New Roman" panose="02020603050405020304" pitchFamily="18" charset="0"/>
            </a:endParaRPr>
          </a:p>
        </p:txBody>
      </p:sp>
      <p:sp>
        <p:nvSpPr>
          <p:cNvPr id="65" name="Yuvarlatılmış Dikdörtgen 64"/>
          <p:cNvSpPr/>
          <p:nvPr/>
        </p:nvSpPr>
        <p:spPr>
          <a:xfrm>
            <a:off x="2069695" y="5824802"/>
            <a:ext cx="2125835" cy="325156"/>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Erken Ödeme</a:t>
            </a:r>
            <a:endParaRPr kumimoji="0" lang="tr-TR" sz="1400" b="0" i="0" u="none" strike="noStrike" kern="1200" cap="none" spc="0" normalizeH="0" baseline="0" noProof="0" dirty="0">
              <a:ln>
                <a:noFill/>
              </a:ln>
              <a:solidFill>
                <a:srgbClr val="445469"/>
              </a:solidFill>
              <a:effectLst/>
              <a:uLnTx/>
              <a:uFillTx/>
              <a:latin typeface="Times New Roman" panose="02020603050405020304" pitchFamily="18" charset="0"/>
              <a:ea typeface="+mn-ea"/>
              <a:cs typeface="Times New Roman" panose="02020603050405020304" pitchFamily="18" charset="0"/>
            </a:endParaRPr>
          </a:p>
        </p:txBody>
      </p:sp>
      <p:sp>
        <p:nvSpPr>
          <p:cNvPr id="66" name="Yuvarlatılmış Dikdörtgen 65"/>
          <p:cNvSpPr/>
          <p:nvPr/>
        </p:nvSpPr>
        <p:spPr>
          <a:xfrm>
            <a:off x="362005" y="5209677"/>
            <a:ext cx="2091321" cy="403342"/>
          </a:xfrm>
          <a:prstGeom prst="roundRect">
            <a:avLst/>
          </a:prstGeom>
          <a:noFill/>
          <a:effectLst>
            <a:glow rad="1397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Taahhütnam</a:t>
            </a:r>
            <a:r>
              <a:rPr kumimoji="0" lang="tr-TR" sz="1400" b="0" i="1"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0" i="1"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İşletici Kuruluş)</a:t>
            </a:r>
            <a:endParaRPr kumimoji="0" lang="tr-TR" sz="1200" b="0" i="1" u="none" strike="noStrike" kern="1200" cap="none" spc="0" normalizeH="0" baseline="0" noProof="0" dirty="0">
              <a:ln>
                <a:noFill/>
              </a:ln>
              <a:solidFill>
                <a:srgbClr val="445469"/>
              </a:solidFill>
              <a:effectLst/>
              <a:uLnTx/>
              <a:uFillTx/>
              <a:latin typeface="Times New Roman" panose="02020603050405020304" pitchFamily="18" charset="0"/>
              <a:ea typeface="+mn-ea"/>
              <a:cs typeface="Times New Roman" panose="02020603050405020304" pitchFamily="18" charset="0"/>
            </a:endParaRPr>
          </a:p>
        </p:txBody>
      </p:sp>
      <p:sp>
        <p:nvSpPr>
          <p:cNvPr id="68" name="Yuvarlatılmış Dikdörtgen 67"/>
          <p:cNvSpPr/>
          <p:nvPr/>
        </p:nvSpPr>
        <p:spPr>
          <a:xfrm>
            <a:off x="3385033" y="4469846"/>
            <a:ext cx="2091321" cy="796141"/>
          </a:xfrm>
          <a:prstGeom prst="roundRect">
            <a:avLst/>
          </a:prstGeom>
          <a:noFill/>
          <a:effectLst>
            <a:glow rad="1397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Proje Ortaklığı Modeli Taahhütna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Proje Ortakları)</a:t>
            </a:r>
            <a:endParaRPr kumimoji="0" lang="tr-TR" sz="1200" b="0" i="0" u="none" strike="noStrike" kern="1200" cap="none" spc="0" normalizeH="0" baseline="0" noProof="0" dirty="0">
              <a:ln>
                <a:noFill/>
              </a:ln>
              <a:solidFill>
                <a:srgbClr val="445469"/>
              </a:solidFill>
              <a:effectLst/>
              <a:uLnTx/>
              <a:uFillTx/>
              <a:latin typeface="Times New Roman" panose="02020603050405020304" pitchFamily="18" charset="0"/>
              <a:ea typeface="+mn-ea"/>
              <a:cs typeface="Times New Roman" panose="02020603050405020304" pitchFamily="18" charset="0"/>
            </a:endParaRPr>
          </a:p>
        </p:txBody>
      </p:sp>
      <p:cxnSp>
        <p:nvCxnSpPr>
          <p:cNvPr id="71" name="Dirsek Bağlayıcısı 70"/>
          <p:cNvCxnSpPr/>
          <p:nvPr/>
        </p:nvCxnSpPr>
        <p:spPr>
          <a:xfrm>
            <a:off x="1407665" y="5655553"/>
            <a:ext cx="709172" cy="373842"/>
          </a:xfrm>
          <a:prstGeom prst="bentConnector3">
            <a:avLst>
              <a:gd name="adj1" fmla="val 128"/>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5" name="Dirsek Bağlayıcısı 74"/>
          <p:cNvCxnSpPr>
            <a:stCxn id="68" idx="2"/>
            <a:endCxn id="65" idx="3"/>
          </p:cNvCxnSpPr>
          <p:nvPr/>
        </p:nvCxnSpPr>
        <p:spPr>
          <a:xfrm rot="5400000">
            <a:off x="3952416" y="5509101"/>
            <a:ext cx="721393" cy="235164"/>
          </a:xfrm>
          <a:prstGeom prst="bentConnector2">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Düz Bağlayıcı 55"/>
          <p:cNvCxnSpPr>
            <a:stCxn id="52" idx="2"/>
          </p:cNvCxnSpPr>
          <p:nvPr/>
        </p:nvCxnSpPr>
        <p:spPr>
          <a:xfrm>
            <a:off x="2624080" y="3603561"/>
            <a:ext cx="8625" cy="493986"/>
          </a:xfrm>
          <a:prstGeom prst="line">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Dirsek Bağlayıcısı 58"/>
          <p:cNvCxnSpPr>
            <a:endCxn id="64" idx="0"/>
          </p:cNvCxnSpPr>
          <p:nvPr/>
        </p:nvCxnSpPr>
        <p:spPr>
          <a:xfrm rot="10800000" flipV="1">
            <a:off x="1621407" y="4097546"/>
            <a:ext cx="1011298" cy="267420"/>
          </a:xfrm>
          <a:prstGeom prst="bentConnector2">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7" name="Dirsek Bağlayıcısı 76"/>
          <p:cNvCxnSpPr>
            <a:endCxn id="68" idx="0"/>
          </p:cNvCxnSpPr>
          <p:nvPr/>
        </p:nvCxnSpPr>
        <p:spPr>
          <a:xfrm>
            <a:off x="2632705" y="4097546"/>
            <a:ext cx="1797989" cy="372300"/>
          </a:xfrm>
          <a:prstGeom prst="bentConnector2">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3" name="Düz Ok Bağlayıcısı 92"/>
          <p:cNvCxnSpPr/>
          <p:nvPr/>
        </p:nvCxnSpPr>
        <p:spPr>
          <a:xfrm>
            <a:off x="1411973" y="4968921"/>
            <a:ext cx="0" cy="241971"/>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1" name="Akış Çizelgesi: Bağlayıcı 100"/>
          <p:cNvSpPr/>
          <p:nvPr/>
        </p:nvSpPr>
        <p:spPr>
          <a:xfrm>
            <a:off x="3012267" y="6355927"/>
            <a:ext cx="304800" cy="322210"/>
          </a:xfrm>
          <a:prstGeom prst="flowChartConnector">
            <a:avLst/>
          </a:prstGeom>
          <a:solidFill>
            <a:srgbClr val="F9DED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445469">
                    <a:lumMod val="50000"/>
                  </a:srgbClr>
                </a:solidFill>
                <a:effectLst/>
                <a:uLnTx/>
                <a:uFillTx/>
                <a:latin typeface="Roboto Light"/>
                <a:ea typeface="+mn-ea"/>
                <a:cs typeface="+mn-cs"/>
              </a:rPr>
              <a:t>2</a:t>
            </a:r>
          </a:p>
        </p:txBody>
      </p:sp>
      <p:cxnSp>
        <p:nvCxnSpPr>
          <p:cNvPr id="102" name="Düz Ok Bağlayıcısı 101"/>
          <p:cNvCxnSpPr/>
          <p:nvPr/>
        </p:nvCxnSpPr>
        <p:spPr>
          <a:xfrm>
            <a:off x="2651606" y="2223063"/>
            <a:ext cx="0" cy="241971"/>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6" name="Düz Bağlayıcı 95"/>
          <p:cNvCxnSpPr/>
          <p:nvPr/>
        </p:nvCxnSpPr>
        <p:spPr>
          <a:xfrm>
            <a:off x="335459" y="3241674"/>
            <a:ext cx="0" cy="299644"/>
          </a:xfrm>
          <a:prstGeom prst="line">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Oval 98"/>
          <p:cNvSpPr/>
          <p:nvPr/>
        </p:nvSpPr>
        <p:spPr>
          <a:xfrm>
            <a:off x="20229" y="3518711"/>
            <a:ext cx="1041123" cy="4939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smtClean="0">
                <a:ln>
                  <a:noFill/>
                </a:ln>
                <a:solidFill>
                  <a:srgbClr val="F6F8F8"/>
                </a:solidFill>
                <a:effectLst/>
                <a:uLnTx/>
                <a:uFillTx/>
                <a:latin typeface="Times New Roman" panose="02020603050405020304" pitchFamily="18" charset="0"/>
                <a:ea typeface="+mn-ea"/>
                <a:cs typeface="Times New Roman" panose="02020603050405020304" pitchFamily="18" charset="0"/>
              </a:rPr>
              <a:t>İtiraz Süreci</a:t>
            </a:r>
            <a:endParaRPr kumimoji="0" lang="tr-TR" sz="1000" b="0" i="0" u="none" strike="noStrike" kern="1200" cap="none" spc="0" normalizeH="0" baseline="0" noProof="0" dirty="0">
              <a:ln>
                <a:noFill/>
              </a:ln>
              <a:solidFill>
                <a:srgbClr val="F6F8F8"/>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4170154037"/>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a:xfrm>
            <a:off x="9968767" y="6480202"/>
            <a:ext cx="284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C1868C5-B491-42BF-9F5C-46095BC3F40A}" type="slidenum">
              <a:rPr kumimoji="0" lang="tr-TR" sz="1200" b="0" i="0" u="none" strike="noStrike" kern="1200" cap="none" spc="0" normalizeH="0" baseline="0" noProof="0" smtClean="0">
                <a:ln>
                  <a:noFill/>
                </a:ln>
                <a:solidFill>
                  <a:srgbClr val="445469">
                    <a:tint val="75000"/>
                  </a:srgbClr>
                </a:solidFill>
                <a:effectLst/>
                <a:uLnTx/>
                <a:uFillTx/>
                <a:latin typeface="Calibri" panose="020F050202020403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8</a:t>
            </a:fld>
            <a:endParaRPr kumimoji="0" lang="tr-TR" sz="1200" b="0" i="0" u="none" strike="noStrike" kern="1200" cap="none" spc="0" normalizeH="0" baseline="0" noProof="0" dirty="0">
              <a:ln>
                <a:noFill/>
              </a:ln>
              <a:solidFill>
                <a:srgbClr val="445469">
                  <a:tint val="75000"/>
                </a:srgbClr>
              </a:solidFill>
              <a:effectLst/>
              <a:uLnTx/>
              <a:uFillTx/>
              <a:latin typeface="Calibri" panose="020F0502020204030204" pitchFamily="34" charset="0"/>
              <a:ea typeface="+mn-ea"/>
              <a:cs typeface="+mn-cs"/>
            </a:endParaRPr>
          </a:p>
        </p:txBody>
      </p:sp>
      <p:sp>
        <p:nvSpPr>
          <p:cNvPr id="47" name="Yuvarlatılmış Dikdörtgen 46"/>
          <p:cNvSpPr/>
          <p:nvPr/>
        </p:nvSpPr>
        <p:spPr>
          <a:xfrm>
            <a:off x="3378495" y="1708029"/>
            <a:ext cx="3069240" cy="426565"/>
          </a:xfrm>
          <a:prstGeom prst="round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Proje Faaliyetlerine Başlam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0" i="1"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İşletici Kuruluş/Proje Ortakları)</a:t>
            </a:r>
            <a:endParaRPr kumimoji="0" lang="tr-TR" sz="1200" b="0" i="1" u="none" strike="noStrike" kern="1200" cap="none" spc="0" normalizeH="0" baseline="0" noProof="0" dirty="0">
              <a:ln>
                <a:noFill/>
              </a:ln>
              <a:solidFill>
                <a:srgbClr val="445469"/>
              </a:solidFill>
              <a:effectLst/>
              <a:uLnTx/>
              <a:uFillTx/>
              <a:latin typeface="Times New Roman" panose="02020603050405020304" pitchFamily="18" charset="0"/>
              <a:ea typeface="+mn-ea"/>
              <a:cs typeface="Times New Roman" panose="02020603050405020304" pitchFamily="18" charset="0"/>
            </a:endParaRPr>
          </a:p>
        </p:txBody>
      </p:sp>
      <p:sp>
        <p:nvSpPr>
          <p:cNvPr id="51" name="Elmas 50"/>
          <p:cNvSpPr/>
          <p:nvPr/>
        </p:nvSpPr>
        <p:spPr>
          <a:xfrm>
            <a:off x="2852106" y="2368756"/>
            <a:ext cx="4099281" cy="1168074"/>
          </a:xfrm>
          <a:prstGeom prst="diamond">
            <a:avLst/>
          </a:prstGeom>
          <a:solidFill>
            <a:srgbClr val="CC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lumMod val="75000"/>
                  </a:srgbClr>
                </a:solidFill>
                <a:effectLst/>
                <a:uLnTx/>
                <a:uFillTx/>
                <a:latin typeface="Times New Roman" panose="02020603050405020304" pitchFamily="18" charset="0"/>
                <a:ea typeface="+mn-ea"/>
                <a:cs typeface="Times New Roman" panose="02020603050405020304" pitchFamily="18" charset="0"/>
              </a:rPr>
              <a:t>Dönemsel İzleme (4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0" i="1" u="none" strike="noStrike" kern="1200" cap="none" spc="0" normalizeH="0" baseline="0" noProof="0" dirty="0" smtClean="0">
                <a:ln>
                  <a:noFill/>
                </a:ln>
                <a:solidFill>
                  <a:srgbClr val="445469">
                    <a:lumMod val="75000"/>
                  </a:srgbClr>
                </a:solidFill>
                <a:effectLst/>
                <a:uLnTx/>
                <a:uFillTx/>
                <a:latin typeface="Times New Roman" panose="02020603050405020304" pitchFamily="18" charset="0"/>
                <a:ea typeface="+mn-ea"/>
                <a:cs typeface="Times New Roman" panose="02020603050405020304" pitchFamily="18" charset="0"/>
              </a:rPr>
              <a:t>(Öğretim Elemanı/ KOSGEB Personeli)</a:t>
            </a:r>
            <a:endParaRPr kumimoji="0" lang="tr-TR" sz="1200" b="0" i="1" u="none" strike="noStrike" kern="1200" cap="none" spc="0" normalizeH="0" baseline="0" noProof="0" dirty="0">
              <a:ln>
                <a:noFill/>
              </a:ln>
              <a:solidFill>
                <a:srgbClr val="445469">
                  <a:lumMod val="75000"/>
                </a:srgbClr>
              </a:solidFill>
              <a:effectLst/>
              <a:uLnTx/>
              <a:uFillTx/>
              <a:latin typeface="Times New Roman" panose="02020603050405020304" pitchFamily="18" charset="0"/>
              <a:ea typeface="+mn-ea"/>
              <a:cs typeface="Times New Roman" panose="02020603050405020304" pitchFamily="18" charset="0"/>
            </a:endParaRPr>
          </a:p>
        </p:txBody>
      </p:sp>
      <p:cxnSp>
        <p:nvCxnSpPr>
          <p:cNvPr id="60" name="Düz Ok Bağlayıcısı 59"/>
          <p:cNvCxnSpPr/>
          <p:nvPr/>
        </p:nvCxnSpPr>
        <p:spPr>
          <a:xfrm>
            <a:off x="4913115" y="4361407"/>
            <a:ext cx="0" cy="400374"/>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2" name="Metin kutusu 61"/>
          <p:cNvSpPr txBox="1"/>
          <p:nvPr/>
        </p:nvSpPr>
        <p:spPr>
          <a:xfrm>
            <a:off x="7289686" y="3075400"/>
            <a:ext cx="794361" cy="246221"/>
          </a:xfrm>
          <a:prstGeom prst="rect">
            <a:avLst/>
          </a:prstGeom>
          <a:solidFill>
            <a:srgbClr val="FF0000"/>
          </a:solidFill>
        </p:spPr>
        <p:txBody>
          <a:bodyPr wrap="square" rtlCol="0">
            <a:spAutoFit/>
          </a:bodyPr>
          <a:lstStyle>
            <a:defPPr>
              <a:defRPr lang="en-US"/>
            </a:defPPr>
            <a:lvl1pPr algn="ctr">
              <a:defRPr sz="1000">
                <a:solidFill>
                  <a:schemeClr val="bg1"/>
                </a:solidFill>
                <a:latin typeface="Times New Roman" panose="02020603050405020304" pitchFamily="18" charset="0"/>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1" i="0" u="none" strike="noStrike" kern="1200" cap="none" spc="0" normalizeH="0" baseline="0" noProof="0" dirty="0">
                <a:ln>
                  <a:noFill/>
                </a:ln>
                <a:solidFill>
                  <a:srgbClr val="F6F8F8"/>
                </a:solidFill>
                <a:effectLst/>
                <a:uLnTx/>
                <a:uFillTx/>
                <a:latin typeface="Times New Roman" panose="02020603050405020304" pitchFamily="18" charset="0"/>
                <a:ea typeface="+mn-ea"/>
                <a:cs typeface="Times New Roman" panose="02020603050405020304" pitchFamily="18" charset="0"/>
              </a:rPr>
              <a:t>Olumsuz</a:t>
            </a:r>
          </a:p>
        </p:txBody>
      </p:sp>
      <p:sp>
        <p:nvSpPr>
          <p:cNvPr id="87" name="Metin kutusu 86"/>
          <p:cNvSpPr txBox="1"/>
          <p:nvPr/>
        </p:nvSpPr>
        <p:spPr>
          <a:xfrm>
            <a:off x="3900435" y="3541699"/>
            <a:ext cx="782190" cy="246221"/>
          </a:xfrm>
          <a:prstGeom prst="rect">
            <a:avLst/>
          </a:prstGeom>
          <a:solidFill>
            <a:srgbClr val="00B05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1" i="0" u="none" strike="noStrike" kern="1200" cap="none" spc="0" normalizeH="0" baseline="0" noProof="0" dirty="0" smtClean="0">
                <a:ln>
                  <a:noFill/>
                </a:ln>
                <a:solidFill>
                  <a:srgbClr val="F6F8F8"/>
                </a:solidFill>
                <a:effectLst/>
                <a:uLnTx/>
                <a:uFillTx/>
                <a:latin typeface="Times New Roman" panose="02020603050405020304" pitchFamily="18" charset="0"/>
                <a:ea typeface="+mn-ea"/>
                <a:cs typeface="Times New Roman" panose="02020603050405020304" pitchFamily="18" charset="0"/>
              </a:rPr>
              <a:t>Olumlu</a:t>
            </a:r>
            <a:endParaRPr kumimoji="0" lang="tr-TR" sz="1000" b="1" i="0" u="none" strike="noStrike" kern="1200" cap="none" spc="0" normalizeH="0" baseline="0" noProof="0" dirty="0">
              <a:ln>
                <a:noFill/>
              </a:ln>
              <a:solidFill>
                <a:srgbClr val="F6F8F8"/>
              </a:solidFill>
              <a:effectLst/>
              <a:uLnTx/>
              <a:uFillTx/>
              <a:latin typeface="Times New Roman" panose="02020603050405020304" pitchFamily="18" charset="0"/>
              <a:ea typeface="+mn-ea"/>
              <a:cs typeface="Times New Roman" panose="02020603050405020304" pitchFamily="18" charset="0"/>
            </a:endParaRPr>
          </a:p>
        </p:txBody>
      </p:sp>
      <p:sp>
        <p:nvSpPr>
          <p:cNvPr id="88" name="Akış Çizelgesi: Karar 87"/>
          <p:cNvSpPr/>
          <p:nvPr/>
        </p:nvSpPr>
        <p:spPr>
          <a:xfrm>
            <a:off x="8307238" y="2560221"/>
            <a:ext cx="2966197" cy="785144"/>
          </a:xfrm>
          <a:prstGeom prst="flowChartDecision">
            <a:avLst/>
          </a:prstGeom>
          <a:solidFill>
            <a:srgbClr val="E8C8E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445469"/>
                </a:solidFill>
                <a:effectLst/>
                <a:uLnTx/>
                <a:uFillTx/>
                <a:latin typeface="Times New Roman" panose="02020603050405020304" pitchFamily="18" charset="0"/>
                <a:ea typeface="+mn-ea"/>
                <a:cs typeface="Times New Roman" panose="02020603050405020304" pitchFamily="18" charset="0"/>
              </a:rPr>
              <a:t>Kurul Değerlendirmesi</a:t>
            </a:r>
          </a:p>
        </p:txBody>
      </p:sp>
      <p:sp>
        <p:nvSpPr>
          <p:cNvPr id="89" name="Akış Çizelgesi: Karar 88"/>
          <p:cNvSpPr/>
          <p:nvPr/>
        </p:nvSpPr>
        <p:spPr>
          <a:xfrm>
            <a:off x="3430016" y="4805182"/>
            <a:ext cx="2966197" cy="785144"/>
          </a:xfrm>
          <a:prstGeom prst="flowChartDecision">
            <a:avLst/>
          </a:prstGeom>
          <a:solidFill>
            <a:srgbClr val="E8C8E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445469"/>
                </a:solidFill>
                <a:effectLst/>
                <a:uLnTx/>
                <a:uFillTx/>
                <a:latin typeface="Times New Roman" panose="02020603050405020304" pitchFamily="18" charset="0"/>
                <a:ea typeface="+mn-ea"/>
                <a:cs typeface="Times New Roman" panose="02020603050405020304" pitchFamily="18" charset="0"/>
              </a:rPr>
              <a:t>Kurul Değerlendirmesi</a:t>
            </a:r>
          </a:p>
        </p:txBody>
      </p:sp>
      <p:sp>
        <p:nvSpPr>
          <p:cNvPr id="90" name="Metin kutusu 89"/>
          <p:cNvSpPr txBox="1"/>
          <p:nvPr/>
        </p:nvSpPr>
        <p:spPr>
          <a:xfrm>
            <a:off x="3941873" y="5824496"/>
            <a:ext cx="1942482" cy="307777"/>
          </a:xfrm>
          <a:prstGeom prst="rect">
            <a:avLst/>
          </a:prstGeom>
          <a:solidFill>
            <a:srgbClr val="00B05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smtClean="0">
                <a:ln>
                  <a:noFill/>
                </a:ln>
                <a:solidFill>
                  <a:srgbClr val="F6F8F8"/>
                </a:solidFill>
                <a:effectLst/>
                <a:uLnTx/>
                <a:uFillTx/>
                <a:latin typeface="Times New Roman" panose="02020603050405020304" pitchFamily="18" charset="0"/>
                <a:ea typeface="+mn-ea"/>
                <a:cs typeface="Times New Roman" panose="02020603050405020304" pitchFamily="18" charset="0"/>
              </a:rPr>
              <a:t>Başarılı Tamamlanma</a:t>
            </a:r>
            <a:endParaRPr kumimoji="0" lang="tr-TR" sz="1400" b="1" i="0" u="none" strike="noStrike" kern="1200" cap="none" spc="0" normalizeH="0" baseline="0" noProof="0" dirty="0">
              <a:ln>
                <a:noFill/>
              </a:ln>
              <a:solidFill>
                <a:srgbClr val="F6F8F8"/>
              </a:solidFill>
              <a:effectLst/>
              <a:uLnTx/>
              <a:uFillTx/>
              <a:latin typeface="Times New Roman" panose="02020603050405020304" pitchFamily="18" charset="0"/>
              <a:ea typeface="+mn-ea"/>
              <a:cs typeface="Times New Roman" panose="02020603050405020304" pitchFamily="18" charset="0"/>
            </a:endParaRPr>
          </a:p>
        </p:txBody>
      </p:sp>
      <p:sp>
        <p:nvSpPr>
          <p:cNvPr id="91" name="Metin kutusu 90"/>
          <p:cNvSpPr txBox="1"/>
          <p:nvPr/>
        </p:nvSpPr>
        <p:spPr>
          <a:xfrm>
            <a:off x="6783738" y="4829782"/>
            <a:ext cx="2099392" cy="738664"/>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smtClean="0">
                <a:ln>
                  <a:noFill/>
                </a:ln>
                <a:solidFill>
                  <a:srgbClr val="F6F8F8"/>
                </a:solidFill>
                <a:effectLst/>
                <a:uLnTx/>
                <a:uFillTx/>
                <a:latin typeface="Times New Roman" panose="02020603050405020304" pitchFamily="18" charset="0"/>
                <a:ea typeface="+mn-ea"/>
                <a:cs typeface="Times New Roman" panose="02020603050405020304" pitchFamily="18" charset="0"/>
              </a:rPr>
              <a:t>Başarısız Tamamlanm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F6F8F8"/>
                </a:solidFill>
                <a:effectLst/>
                <a:uLnTx/>
                <a:uFillTx/>
                <a:latin typeface="Times New Roman" panose="02020603050405020304" pitchFamily="18" charset="0"/>
                <a:ea typeface="+mn-ea"/>
                <a:cs typeface="Times New Roman" panose="02020603050405020304" pitchFamily="18" charset="0"/>
              </a:rPr>
              <a:t>(2 yıl süre ile yararlanamama)</a:t>
            </a:r>
            <a:endParaRPr kumimoji="0" lang="tr-TR" sz="1400" b="0" i="0" u="none" strike="noStrike" kern="1200" cap="none" spc="0" normalizeH="0" baseline="0" noProof="0" dirty="0">
              <a:ln>
                <a:noFill/>
              </a:ln>
              <a:solidFill>
                <a:srgbClr val="F6F8F8"/>
              </a:solidFill>
              <a:effectLst/>
              <a:uLnTx/>
              <a:uFillTx/>
              <a:latin typeface="Times New Roman" panose="02020603050405020304" pitchFamily="18" charset="0"/>
              <a:ea typeface="+mn-ea"/>
              <a:cs typeface="Times New Roman" panose="02020603050405020304" pitchFamily="18" charset="0"/>
            </a:endParaRPr>
          </a:p>
        </p:txBody>
      </p:sp>
      <p:sp>
        <p:nvSpPr>
          <p:cNvPr id="104" name="Yuvarlatılmış Dikdörtgen 103"/>
          <p:cNvSpPr/>
          <p:nvPr/>
        </p:nvSpPr>
        <p:spPr>
          <a:xfrm>
            <a:off x="9106523" y="3665865"/>
            <a:ext cx="1367625" cy="292922"/>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1"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Sonlandırma</a:t>
            </a:r>
            <a:endParaRPr kumimoji="0" lang="tr-TR" sz="1400" b="0" i="1" u="none" strike="noStrike" kern="1200" cap="none" spc="0" normalizeH="0" baseline="0" noProof="0" dirty="0">
              <a:ln>
                <a:noFill/>
              </a:ln>
              <a:solidFill>
                <a:srgbClr val="445469"/>
              </a:solidFill>
              <a:effectLst/>
              <a:uLnTx/>
              <a:uFillTx/>
              <a:latin typeface="Times New Roman" panose="02020603050405020304" pitchFamily="18" charset="0"/>
              <a:ea typeface="+mn-ea"/>
              <a:cs typeface="Times New Roman" panose="02020603050405020304" pitchFamily="18" charset="0"/>
            </a:endParaRPr>
          </a:p>
        </p:txBody>
      </p:sp>
      <p:sp>
        <p:nvSpPr>
          <p:cNvPr id="105" name="Yuvarlatılmış Dikdörtgen 104"/>
          <p:cNvSpPr/>
          <p:nvPr/>
        </p:nvSpPr>
        <p:spPr>
          <a:xfrm>
            <a:off x="9080953" y="2064868"/>
            <a:ext cx="1367625" cy="292922"/>
          </a:xfrm>
          <a:prstGeom prst="roundRect">
            <a:avLst/>
          </a:prstGeom>
          <a:solidFill>
            <a:srgbClr val="F2B0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1"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Devam Kararı</a:t>
            </a:r>
            <a:endParaRPr kumimoji="0" lang="tr-TR" sz="1400" b="0" i="1" u="none" strike="noStrike" kern="1200" cap="none" spc="0" normalizeH="0" baseline="0" noProof="0" dirty="0">
              <a:ln>
                <a:noFill/>
              </a:ln>
              <a:solidFill>
                <a:srgbClr val="445469"/>
              </a:solidFill>
              <a:effectLst/>
              <a:uLnTx/>
              <a:uFillTx/>
              <a:latin typeface="Times New Roman" panose="02020603050405020304" pitchFamily="18" charset="0"/>
              <a:ea typeface="+mn-ea"/>
              <a:cs typeface="Times New Roman" panose="02020603050405020304" pitchFamily="18" charset="0"/>
            </a:endParaRPr>
          </a:p>
        </p:txBody>
      </p:sp>
      <p:sp>
        <p:nvSpPr>
          <p:cNvPr id="106" name="TextBox 18">
            <a:extLst>
              <a:ext uri="{FF2B5EF4-FFF2-40B4-BE49-F238E27FC236}">
                <a16:creationId xmlns:a16="http://schemas.microsoft.com/office/drawing/2014/main" id="{CDB69DC1-FE61-4F64-AEE0-C856CB684FCD}"/>
              </a:ext>
            </a:extLst>
          </p:cNvPr>
          <p:cNvSpPr txBox="1"/>
          <p:nvPr/>
        </p:nvSpPr>
        <p:spPr>
          <a:xfrm>
            <a:off x="955482" y="203049"/>
            <a:ext cx="10662738" cy="695062"/>
          </a:xfrm>
          <a:prstGeom prst="rect">
            <a:avLst/>
          </a:prstGeom>
          <a:noFill/>
        </p:spPr>
        <p:txBody>
          <a:bodyPr wrap="square" rtlCol="0">
            <a:spAutoFit/>
          </a:bodyPr>
          <a:lstStyle/>
          <a:p>
            <a:pPr marL="0" marR="0" lvl="0" indent="0" algn="ctr" defTabSz="914400" rtl="0" eaLnBrk="1" fontAlgn="auto" latinLnBrk="0" hangingPunct="1">
              <a:lnSpc>
                <a:spcPts val="4666"/>
              </a:lnSpc>
              <a:spcBef>
                <a:spcPts val="0"/>
              </a:spcBef>
              <a:spcAft>
                <a:spcPts val="0"/>
              </a:spcAft>
              <a:buClrTx/>
              <a:buSzTx/>
              <a:buFontTx/>
              <a:buNone/>
              <a:tabLst/>
              <a:defRPr/>
            </a:pPr>
            <a:r>
              <a:rPr kumimoji="0" lang="tr-TR" sz="2800" b="1" i="0" u="none" strike="noStrike" kern="1200" cap="none" spc="0" normalizeH="0" baseline="0" noProof="0" dirty="0" smtClean="0">
                <a:ln>
                  <a:noFill/>
                </a:ln>
                <a:solidFill>
                  <a:srgbClr val="00759E">
                    <a:lumMod val="60000"/>
                    <a:lumOff val="40000"/>
                  </a:srgbClr>
                </a:solidFill>
                <a:effectLst/>
                <a:uLnTx/>
                <a:uFillTx/>
                <a:latin typeface="Calibri" pitchFamily="34" charset="0"/>
                <a:ea typeface="Roboto Black" panose="02000000000000000000" pitchFamily="2" charset="0"/>
                <a:cs typeface="+mn-cs"/>
              </a:rPr>
              <a:t>İşbirliği Destek Programı İş Akışı-III</a:t>
            </a:r>
            <a:endParaRPr kumimoji="0" lang="tr-TR" sz="2800" b="1" i="0" u="none" strike="noStrike" kern="1200" cap="none" spc="0" normalizeH="0" baseline="0" noProof="0" dirty="0">
              <a:ln>
                <a:noFill/>
              </a:ln>
              <a:solidFill>
                <a:srgbClr val="00759E">
                  <a:lumMod val="60000"/>
                  <a:lumOff val="40000"/>
                </a:srgbClr>
              </a:solidFill>
              <a:effectLst/>
              <a:uLnTx/>
              <a:uFillTx/>
              <a:latin typeface="Calibri" pitchFamily="34" charset="0"/>
              <a:ea typeface="Roboto Black" panose="02000000000000000000" pitchFamily="2" charset="0"/>
              <a:cs typeface="+mn-cs"/>
            </a:endParaRPr>
          </a:p>
        </p:txBody>
      </p:sp>
      <p:sp>
        <p:nvSpPr>
          <p:cNvPr id="53" name="Akış Çizelgesi: Bağlayıcı 52"/>
          <p:cNvSpPr/>
          <p:nvPr/>
        </p:nvSpPr>
        <p:spPr>
          <a:xfrm>
            <a:off x="4734643" y="1162624"/>
            <a:ext cx="304800" cy="322210"/>
          </a:xfrm>
          <a:prstGeom prst="flowChartConnector">
            <a:avLst/>
          </a:prstGeom>
          <a:solidFill>
            <a:srgbClr val="F9DED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smtClean="0">
                <a:ln>
                  <a:noFill/>
                </a:ln>
                <a:solidFill>
                  <a:srgbClr val="445469">
                    <a:lumMod val="50000"/>
                  </a:srgbClr>
                </a:solidFill>
                <a:effectLst/>
                <a:uLnTx/>
                <a:uFillTx/>
                <a:latin typeface="Roboto Light"/>
                <a:ea typeface="+mn-ea"/>
                <a:cs typeface="+mn-cs"/>
              </a:rPr>
              <a:t>2</a:t>
            </a:r>
            <a:endParaRPr kumimoji="0" lang="tr-TR" sz="1800" b="0" i="0" u="none" strike="noStrike" kern="1200" cap="none" spc="0" normalizeH="0" baseline="0" noProof="0" dirty="0">
              <a:ln>
                <a:noFill/>
              </a:ln>
              <a:solidFill>
                <a:srgbClr val="445469">
                  <a:lumMod val="50000"/>
                </a:srgbClr>
              </a:solidFill>
              <a:effectLst/>
              <a:uLnTx/>
              <a:uFillTx/>
              <a:latin typeface="Roboto Light"/>
              <a:ea typeface="+mn-ea"/>
              <a:cs typeface="+mn-cs"/>
            </a:endParaRPr>
          </a:p>
        </p:txBody>
      </p:sp>
      <p:sp>
        <p:nvSpPr>
          <p:cNvPr id="65" name="Akış Çizelgesi: Belge 64"/>
          <p:cNvSpPr/>
          <p:nvPr/>
        </p:nvSpPr>
        <p:spPr>
          <a:xfrm>
            <a:off x="793630" y="2583965"/>
            <a:ext cx="1625653" cy="761400"/>
          </a:xfrm>
          <a:prstGeom prst="flowChartDocument">
            <a:avLst/>
          </a:prstGeom>
          <a:solidFill>
            <a:srgbClr val="F2B0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0" i="1"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Gerçekleşme Rapor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0" i="1"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İşletici Kuruluş/Proje Koordinatörü)</a:t>
            </a:r>
            <a:endParaRPr kumimoji="0" lang="tr-TR" sz="1200" b="0" i="1"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endParaRPr>
          </a:p>
        </p:txBody>
      </p:sp>
      <p:cxnSp>
        <p:nvCxnSpPr>
          <p:cNvPr id="74" name="Dirsek Bağlayıcısı 73"/>
          <p:cNvCxnSpPr>
            <a:stCxn id="47" idx="1"/>
            <a:endCxn id="65" idx="0"/>
          </p:cNvCxnSpPr>
          <p:nvPr/>
        </p:nvCxnSpPr>
        <p:spPr>
          <a:xfrm rot="10800000" flipV="1">
            <a:off x="1606457" y="1921311"/>
            <a:ext cx="1772038" cy="662653"/>
          </a:xfrm>
          <a:prstGeom prst="bentConnector2">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2" name="Düz Ok Bağlayıcısı 21"/>
          <p:cNvCxnSpPr>
            <a:stCxn id="53" idx="4"/>
          </p:cNvCxnSpPr>
          <p:nvPr/>
        </p:nvCxnSpPr>
        <p:spPr>
          <a:xfrm>
            <a:off x="4887043" y="1484834"/>
            <a:ext cx="0" cy="223196"/>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Düz Ok Bağlayıcısı 81"/>
          <p:cNvCxnSpPr/>
          <p:nvPr/>
        </p:nvCxnSpPr>
        <p:spPr>
          <a:xfrm>
            <a:off x="4887043" y="2134594"/>
            <a:ext cx="0" cy="223196"/>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3" name="Düz Ok Bağlayıcısı 32"/>
          <p:cNvCxnSpPr>
            <a:stCxn id="65" idx="3"/>
          </p:cNvCxnSpPr>
          <p:nvPr/>
        </p:nvCxnSpPr>
        <p:spPr>
          <a:xfrm flipV="1">
            <a:off x="2419283" y="2952793"/>
            <a:ext cx="451579" cy="11872"/>
          </a:xfrm>
          <a:prstGeom prst="straightConnector1">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94" name="Düz Ok Bağlayıcısı 93"/>
          <p:cNvCxnSpPr/>
          <p:nvPr/>
        </p:nvCxnSpPr>
        <p:spPr>
          <a:xfrm>
            <a:off x="4906238" y="3567577"/>
            <a:ext cx="0" cy="223196"/>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Yuvarlatılmış Dikdörtgen 94"/>
          <p:cNvSpPr/>
          <p:nvPr/>
        </p:nvSpPr>
        <p:spPr>
          <a:xfrm>
            <a:off x="3850197" y="3868577"/>
            <a:ext cx="2125836" cy="438709"/>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Destek Ödemes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0" i="1" u="none" strike="noStrike" kern="1200" cap="none" spc="0" normalizeH="0" baseline="0" noProof="0" dirty="0" smtClean="0">
                <a:ln>
                  <a:noFill/>
                </a:ln>
                <a:solidFill>
                  <a:srgbClr val="445469"/>
                </a:solidFill>
                <a:effectLst/>
                <a:uLnTx/>
                <a:uFillTx/>
                <a:latin typeface="Times New Roman" panose="02020603050405020304" pitchFamily="18" charset="0"/>
                <a:ea typeface="+mn-ea"/>
                <a:cs typeface="Times New Roman" panose="02020603050405020304" pitchFamily="18" charset="0"/>
              </a:rPr>
              <a:t>(Uygulama Birimi)</a:t>
            </a:r>
            <a:endParaRPr kumimoji="0" lang="tr-TR" sz="1200" b="0" i="1" u="none" strike="noStrike" kern="1200" cap="none" spc="0" normalizeH="0" baseline="0" noProof="0" dirty="0">
              <a:ln>
                <a:noFill/>
              </a:ln>
              <a:solidFill>
                <a:srgbClr val="445469"/>
              </a:solidFill>
              <a:effectLst/>
              <a:uLnTx/>
              <a:uFillTx/>
              <a:latin typeface="Times New Roman" panose="02020603050405020304" pitchFamily="18" charset="0"/>
              <a:ea typeface="+mn-ea"/>
              <a:cs typeface="Times New Roman" panose="02020603050405020304" pitchFamily="18" charset="0"/>
            </a:endParaRPr>
          </a:p>
        </p:txBody>
      </p:sp>
      <p:cxnSp>
        <p:nvCxnSpPr>
          <p:cNvPr id="43" name="Düz Ok Bağlayıcısı 42"/>
          <p:cNvCxnSpPr>
            <a:stCxn id="51" idx="3"/>
          </p:cNvCxnSpPr>
          <p:nvPr/>
        </p:nvCxnSpPr>
        <p:spPr>
          <a:xfrm>
            <a:off x="6951387" y="2952793"/>
            <a:ext cx="1355851" cy="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0" name="Akış Çizelgesi: Belge 99"/>
          <p:cNvSpPr/>
          <p:nvPr/>
        </p:nvSpPr>
        <p:spPr>
          <a:xfrm>
            <a:off x="646981" y="4761782"/>
            <a:ext cx="2078967" cy="737656"/>
          </a:xfrm>
          <a:prstGeom prst="flowChartDocument">
            <a:avLst/>
          </a:prstGeom>
          <a:solidFill>
            <a:srgbClr val="F2B0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0" i="1"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Sonuç Rapor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0" i="1"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İşletici Kuruluş/Proje Koordinatörü</a:t>
            </a:r>
            <a:r>
              <a:rPr kumimoji="0" lang="tr-TR" sz="1200" b="0" i="1"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a:t>
            </a:r>
            <a:endParaRPr kumimoji="0" lang="tr-TR" sz="1200" b="0" i="1"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endParaRPr>
          </a:p>
        </p:txBody>
      </p:sp>
      <p:sp>
        <p:nvSpPr>
          <p:cNvPr id="78" name="Çentikli Sağ Ok 77"/>
          <p:cNvSpPr/>
          <p:nvPr/>
        </p:nvSpPr>
        <p:spPr>
          <a:xfrm>
            <a:off x="3157268" y="4336620"/>
            <a:ext cx="1577375" cy="425162"/>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Proje Süresi Sonunda</a:t>
            </a:r>
            <a:endParaRPr kumimoji="0" lang="tr-TR" sz="1000" b="0" i="0"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endParaRPr>
          </a:p>
        </p:txBody>
      </p:sp>
      <p:cxnSp>
        <p:nvCxnSpPr>
          <p:cNvPr id="103" name="Düz Ok Bağlayıcısı 102"/>
          <p:cNvCxnSpPr/>
          <p:nvPr/>
        </p:nvCxnSpPr>
        <p:spPr>
          <a:xfrm>
            <a:off x="2841881" y="5130610"/>
            <a:ext cx="546375" cy="0"/>
          </a:xfrm>
          <a:prstGeom prst="straightConnector1">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98" name="Düz Ok Bağlayıcısı 97"/>
          <p:cNvCxnSpPr>
            <a:stCxn id="88" idx="0"/>
          </p:cNvCxnSpPr>
          <p:nvPr/>
        </p:nvCxnSpPr>
        <p:spPr>
          <a:xfrm flipH="1" flipV="1">
            <a:off x="9790336" y="2357790"/>
            <a:ext cx="1" cy="202431"/>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8" name="Düz Ok Bağlayıcısı 107"/>
          <p:cNvCxnSpPr>
            <a:stCxn id="88" idx="2"/>
            <a:endCxn id="104" idx="0"/>
          </p:cNvCxnSpPr>
          <p:nvPr/>
        </p:nvCxnSpPr>
        <p:spPr>
          <a:xfrm flipH="1">
            <a:off x="9790336" y="3345365"/>
            <a:ext cx="1" cy="32050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4" name="Düz Ok Bağlayıcısı 113"/>
          <p:cNvCxnSpPr/>
          <p:nvPr/>
        </p:nvCxnSpPr>
        <p:spPr>
          <a:xfrm flipH="1">
            <a:off x="5132717" y="2246192"/>
            <a:ext cx="3885707" cy="6446"/>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4" name="Akış Çizelgesi: Belge 123"/>
          <p:cNvSpPr/>
          <p:nvPr/>
        </p:nvSpPr>
        <p:spPr>
          <a:xfrm>
            <a:off x="646980" y="5628108"/>
            <a:ext cx="2078967" cy="290225"/>
          </a:xfrm>
          <a:prstGeom prst="flowChartDocument">
            <a:avLst/>
          </a:prstGeom>
          <a:solidFill>
            <a:srgbClr val="F2B0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0" i="1" u="none" strike="noStrike" kern="1200" cap="none" spc="0" normalizeH="0" baseline="0" noProof="0" dirty="0" smtClean="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rPr>
              <a:t>İzleme Raporları (UB)</a:t>
            </a:r>
            <a:endParaRPr kumimoji="0" lang="tr-TR" sz="1200" b="0" i="1" u="none" strike="noStrike" kern="1200" cap="none" spc="0" normalizeH="0" baseline="0" noProof="0" dirty="0">
              <a:ln>
                <a:noFill/>
              </a:ln>
              <a:solidFill>
                <a:srgbClr val="445469">
                  <a:lumMod val="50000"/>
                </a:srgbClr>
              </a:solidFill>
              <a:effectLst/>
              <a:uLnTx/>
              <a:uFillTx/>
              <a:latin typeface="Times New Roman" panose="02020603050405020304" pitchFamily="18" charset="0"/>
              <a:ea typeface="+mn-ea"/>
              <a:cs typeface="Times New Roman" panose="02020603050405020304" pitchFamily="18" charset="0"/>
            </a:endParaRPr>
          </a:p>
        </p:txBody>
      </p:sp>
      <p:cxnSp>
        <p:nvCxnSpPr>
          <p:cNvPr id="125" name="Dirsek Bağlayıcısı 124"/>
          <p:cNvCxnSpPr/>
          <p:nvPr/>
        </p:nvCxnSpPr>
        <p:spPr>
          <a:xfrm flipV="1">
            <a:off x="2747086" y="5287992"/>
            <a:ext cx="641170" cy="485229"/>
          </a:xfrm>
          <a:prstGeom prst="bentConnector3">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31" name="Düz Ok Bağlayıcısı 130"/>
          <p:cNvCxnSpPr>
            <a:stCxn id="89" idx="2"/>
            <a:endCxn id="90" idx="0"/>
          </p:cNvCxnSpPr>
          <p:nvPr/>
        </p:nvCxnSpPr>
        <p:spPr>
          <a:xfrm flipH="1">
            <a:off x="4913114" y="5590326"/>
            <a:ext cx="1" cy="23417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5" name="Düz Ok Bağlayıcısı 134"/>
          <p:cNvCxnSpPr>
            <a:stCxn id="89" idx="3"/>
          </p:cNvCxnSpPr>
          <p:nvPr/>
        </p:nvCxnSpPr>
        <p:spPr>
          <a:xfrm>
            <a:off x="6396213" y="5197754"/>
            <a:ext cx="327143" cy="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7315951"/>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1 Başlık"/>
          <p:cNvSpPr>
            <a:spLocks noGrp="1"/>
          </p:cNvSpPr>
          <p:nvPr>
            <p:ph type="ctrTitle"/>
          </p:nvPr>
        </p:nvSpPr>
        <p:spPr>
          <a:xfrm>
            <a:off x="2195353" y="2130430"/>
            <a:ext cx="7801294" cy="1470025"/>
          </a:xfrm>
        </p:spPr>
        <p:txBody>
          <a:bodyPr/>
          <a:lstStyle/>
          <a:p>
            <a:pPr eaLnBrk="1" hangingPunct="1"/>
            <a:r>
              <a:rPr lang="tr-TR" dirty="0" smtClean="0"/>
              <a:t> </a:t>
            </a:r>
          </a:p>
        </p:txBody>
      </p:sp>
      <p:sp>
        <p:nvSpPr>
          <p:cNvPr id="18436" name="6 Metin kutusu"/>
          <p:cNvSpPr txBox="1">
            <a:spLocks noChangeArrowheads="1"/>
          </p:cNvSpPr>
          <p:nvPr/>
        </p:nvSpPr>
        <p:spPr bwMode="auto">
          <a:xfrm>
            <a:off x="2662830" y="2032506"/>
            <a:ext cx="7866014" cy="5251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810" b="1" i="0" u="none" strike="noStrike" kern="1200" cap="none" spc="0" normalizeH="0" baseline="0" noProof="0" dirty="0">
                <a:ln>
                  <a:noFill/>
                </a:ln>
                <a:solidFill>
                  <a:srgbClr val="FFFFFF"/>
                </a:solidFill>
                <a:effectLst/>
                <a:uLnTx/>
                <a:uFillTx/>
                <a:latin typeface="Roboto Light"/>
                <a:ea typeface="+mn-ea"/>
                <a:cs typeface="+mn-cs"/>
              </a:rPr>
              <a:t>KOSGEB GİRİŞİMCİLİK DESTEKLERİ</a:t>
            </a:r>
          </a:p>
        </p:txBody>
      </p:sp>
      <p:sp>
        <p:nvSpPr>
          <p:cNvPr id="18437" name="7 Metin kutusu"/>
          <p:cNvSpPr txBox="1">
            <a:spLocks noChangeArrowheads="1"/>
          </p:cNvSpPr>
          <p:nvPr/>
        </p:nvSpPr>
        <p:spPr bwMode="auto">
          <a:xfrm>
            <a:off x="3890732" y="3422649"/>
            <a:ext cx="6794264" cy="338554"/>
          </a:xfrm>
          <a:prstGeom prst="rect">
            <a:avLst/>
          </a:prstGeom>
          <a:noFill/>
          <a:ln w="9525">
            <a:noFill/>
            <a:miter lim="800000"/>
            <a:headEnd/>
            <a:tailEnd/>
          </a:ln>
        </p:spPr>
        <p:txBody>
          <a:bodyP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606" b="1" i="0" u="none" strike="noStrike" kern="1200" cap="none" spc="0" normalizeH="0" baseline="0" noProof="0" dirty="0">
                <a:ln>
                  <a:noFill/>
                </a:ln>
                <a:solidFill>
                  <a:srgbClr val="FFFFFF"/>
                </a:solidFill>
                <a:effectLst/>
                <a:uLnTx/>
                <a:uFillTx/>
                <a:latin typeface="Arial" charset="0"/>
                <a:ea typeface="+mn-ea"/>
                <a:cs typeface="Arial" charset="0"/>
              </a:rPr>
              <a:t> Eylül 2020</a:t>
            </a:r>
          </a:p>
        </p:txBody>
      </p:sp>
      <p:pic>
        <p:nvPicPr>
          <p:cNvPr id="8" name="Resim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8717548" cy="4741817"/>
          </a:xfrm>
          <a:prstGeom prst="rect">
            <a:avLst/>
          </a:prstGeom>
        </p:spPr>
      </p:pic>
      <p:sp>
        <p:nvSpPr>
          <p:cNvPr id="6" name="Dikdörtgen 5"/>
          <p:cNvSpPr/>
          <p:nvPr/>
        </p:nvSpPr>
        <p:spPr>
          <a:xfrm>
            <a:off x="3147934" y="3309614"/>
            <a:ext cx="9044066" cy="3650105"/>
          </a:xfrm>
          <a:prstGeom prst="rect">
            <a:avLst/>
          </a:prstGeom>
          <a:solidFill>
            <a:schemeClr val="tx2">
              <a:lumMod val="50000"/>
              <a:alpha val="9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4400" b="0" i="0" u="none" strike="noStrike" kern="1200" cap="none" spc="0" normalizeH="0" baseline="0" noProof="0" dirty="0" smtClean="0">
                <a:ln>
                  <a:noFill/>
                </a:ln>
                <a:solidFill>
                  <a:prstClr val="white"/>
                </a:solidFill>
                <a:effectLst/>
                <a:uLnTx/>
                <a:uFillTx/>
                <a:latin typeface="Roboto Black"/>
                <a:ea typeface="+mn-ea"/>
                <a:cs typeface="+mn-cs"/>
              </a:rPr>
              <a:t>YURTDIŞI PAZAR DESTEK PROGRAMI</a:t>
            </a:r>
            <a:endParaRPr kumimoji="0" lang="en-US" sz="4400" b="0" i="0" u="none" strike="noStrike" kern="1200" cap="none" spc="0" normalizeH="0" baseline="0" noProof="0" dirty="0">
              <a:ln>
                <a:noFill/>
              </a:ln>
              <a:solidFill>
                <a:prstClr val="white"/>
              </a:solidFill>
              <a:effectLst/>
              <a:uLnTx/>
              <a:uFillTx/>
              <a:latin typeface="Roboto Black"/>
              <a:ea typeface="+mn-ea"/>
              <a:cs typeface="+mn-cs"/>
            </a:endParaRPr>
          </a:p>
        </p:txBody>
      </p:sp>
    </p:spTree>
    <p:extLst>
      <p:ext uri="{BB962C8B-B14F-4D97-AF65-F5344CB8AC3E}">
        <p14:creationId xmlns:p14="http://schemas.microsoft.com/office/powerpoint/2010/main" val="39354693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Dikdörtgen 11">
            <a:extLst>
              <a:ext uri="{FF2B5EF4-FFF2-40B4-BE49-F238E27FC236}">
                <a16:creationId xmlns:a16="http://schemas.microsoft.com/office/drawing/2014/main" id="{F6ABEFEC-C981-4585-AF7B-177B518A9092}"/>
              </a:ext>
            </a:extLst>
          </p:cNvPr>
          <p:cNvSpPr/>
          <p:nvPr/>
        </p:nvSpPr>
        <p:spPr>
          <a:xfrm>
            <a:off x="6096000" y="3921285"/>
            <a:ext cx="5802296" cy="2435159"/>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Dikdörtgen 2">
            <a:extLst>
              <a:ext uri="{FF2B5EF4-FFF2-40B4-BE49-F238E27FC236}">
                <a16:creationId xmlns:a16="http://schemas.microsoft.com/office/drawing/2014/main" id="{6FC9B9F4-D0DB-4329-BDC7-5613B9CE3B7B}"/>
              </a:ext>
            </a:extLst>
          </p:cNvPr>
          <p:cNvSpPr/>
          <p:nvPr/>
        </p:nvSpPr>
        <p:spPr>
          <a:xfrm>
            <a:off x="6096000" y="1671965"/>
            <a:ext cx="5802296" cy="1925164"/>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a:ea typeface="+mn-ea"/>
              <a:cs typeface="+mn-cs"/>
            </a:endParaRPr>
          </a:p>
        </p:txBody>
      </p:sp>
      <p:pic>
        <p:nvPicPr>
          <p:cNvPr id="8" name="Resim 7"/>
          <p:cNvPicPr>
            <a:picLocks noChangeAspect="1"/>
          </p:cNvPicPr>
          <p:nvPr/>
        </p:nvPicPr>
        <p:blipFill rotWithShape="1">
          <a:blip r:embed="rId2" cstate="print">
            <a:extLst>
              <a:ext uri="{28A0092B-C50C-407E-A947-70E740481C1C}">
                <a14:useLocalDpi xmlns:a14="http://schemas.microsoft.com/office/drawing/2010/main" val="0"/>
              </a:ext>
            </a:extLst>
          </a:blip>
          <a:srcRect l="46910"/>
          <a:stretch/>
        </p:blipFill>
        <p:spPr>
          <a:xfrm>
            <a:off x="0" y="0"/>
            <a:ext cx="5891443" cy="6858000"/>
          </a:xfrm>
          <a:prstGeom prst="rect">
            <a:avLst/>
          </a:prstGeom>
        </p:spPr>
      </p:pic>
      <p:sp>
        <p:nvSpPr>
          <p:cNvPr id="11" name="Rectangle 7"/>
          <p:cNvSpPr/>
          <p:nvPr/>
        </p:nvSpPr>
        <p:spPr>
          <a:xfrm>
            <a:off x="6284019" y="2399924"/>
            <a:ext cx="5614277" cy="95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marR="0" lvl="0" indent="-342900" algn="l" defTabSz="914400" rtl="0" eaLnBrk="1" fontAlgn="auto" latinLnBrk="0" hangingPunct="1">
              <a:lnSpc>
                <a:spcPct val="100000"/>
              </a:lnSpc>
              <a:spcBef>
                <a:spcPts val="600"/>
              </a:spcBef>
              <a:spcAft>
                <a:spcPts val="600"/>
              </a:spcAft>
              <a:buClr>
                <a:srgbClr val="000099"/>
              </a:buClr>
              <a:buSzTx/>
              <a:buFont typeface="Wingdings" panose="05000000000000000000" pitchFamily="2" charset="2"/>
              <a:buChar char="ü"/>
              <a:tabLst/>
              <a:defRPr/>
            </a:pPr>
            <a:r>
              <a:rPr kumimoji="0" lang="tr-TR"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irişimciler (Sadece ar-ge ve </a:t>
            </a:r>
            <a:r>
              <a:rPr kumimoji="0" lang="tr-TR" sz="20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inovasyon</a:t>
            </a:r>
            <a:r>
              <a:rPr kumimoji="0" lang="tr-TR"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projeleri kapsamında)</a:t>
            </a:r>
          </a:p>
          <a:p>
            <a:pPr marL="342900" marR="0" lvl="0" indent="-342900" algn="l" defTabSz="914400" rtl="0" eaLnBrk="1" fontAlgn="auto" latinLnBrk="0" hangingPunct="1">
              <a:lnSpc>
                <a:spcPct val="100000"/>
              </a:lnSpc>
              <a:spcBef>
                <a:spcPts val="600"/>
              </a:spcBef>
              <a:spcAft>
                <a:spcPts val="600"/>
              </a:spcAft>
              <a:buClr>
                <a:srgbClr val="000099"/>
              </a:buClr>
              <a:buSzTx/>
              <a:buFont typeface="Wingdings" panose="05000000000000000000" pitchFamily="2" charset="2"/>
              <a:buChar char="ü"/>
              <a:tabLst/>
              <a:defRPr/>
            </a:pPr>
            <a:r>
              <a:rPr kumimoji="0" lang="tr-TR"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KOBİ’l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000" b="1" i="0" u="none" strike="noStrike" kern="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sp>
        <p:nvSpPr>
          <p:cNvPr id="13" name="Dikdörtgen 12"/>
          <p:cNvSpPr/>
          <p:nvPr/>
        </p:nvSpPr>
        <p:spPr>
          <a:xfrm>
            <a:off x="6213447" y="1671964"/>
            <a:ext cx="4045851"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a:noFill/>
                </a:ln>
                <a:solidFill>
                  <a:srgbClr val="0070C0"/>
                </a:solidFill>
                <a:effectLst/>
                <a:uLnTx/>
                <a:uFillTx/>
                <a:latin typeface="Times New Roman" panose="02020603050405020304" pitchFamily="18" charset="0"/>
                <a:ea typeface="+mn-ea"/>
                <a:cs typeface="Times New Roman" panose="02020603050405020304" pitchFamily="18" charset="0"/>
              </a:rPr>
              <a:t>Kimler Başvurabilir ?</a:t>
            </a: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7" name="Dikdörtgen 6"/>
          <p:cNvSpPr/>
          <p:nvPr/>
        </p:nvSpPr>
        <p:spPr>
          <a:xfrm>
            <a:off x="6276146" y="3921285"/>
            <a:ext cx="3635482"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a:noFill/>
                </a:ln>
                <a:solidFill>
                  <a:srgbClr val="F9A91C"/>
                </a:solidFill>
                <a:effectLst/>
                <a:uLnTx/>
                <a:uFillTx/>
                <a:latin typeface="Times New Roman" panose="02020603050405020304" pitchFamily="18" charset="0"/>
                <a:ea typeface="+mn-ea"/>
                <a:cs typeface="Times New Roman" panose="02020603050405020304" pitchFamily="18" charset="0"/>
              </a:rPr>
              <a:t>Proje Süresi Nedir?</a:t>
            </a:r>
            <a:endParaRPr kumimoji="0" lang="en-US" sz="3200" b="1" i="0" u="none" strike="noStrike" kern="1200" cap="none" spc="0" normalizeH="0" baseline="0" noProof="0" dirty="0">
              <a:ln>
                <a:noFill/>
              </a:ln>
              <a:solidFill>
                <a:srgbClr val="F9A91C"/>
              </a:solidFill>
              <a:effectLst/>
              <a:uLnTx/>
              <a:uFillTx/>
              <a:latin typeface="Times New Roman" panose="02020603050405020304" pitchFamily="18" charset="0"/>
              <a:ea typeface="+mn-ea"/>
              <a:cs typeface="Times New Roman" panose="02020603050405020304" pitchFamily="18" charset="0"/>
            </a:endParaRPr>
          </a:p>
        </p:txBody>
      </p:sp>
      <p:sp>
        <p:nvSpPr>
          <p:cNvPr id="2" name="Dikdörtgen 1"/>
          <p:cNvSpPr/>
          <p:nvPr/>
        </p:nvSpPr>
        <p:spPr>
          <a:xfrm>
            <a:off x="6300559" y="4700301"/>
            <a:ext cx="5639291" cy="1569660"/>
          </a:xfrm>
          <a:prstGeom prst="rect">
            <a:avLst/>
          </a:prstGeom>
        </p:spPr>
        <p:txBody>
          <a:bodyPr wrap="square">
            <a:spAutoFit/>
          </a:bodyPr>
          <a:lstStyle/>
          <a:p>
            <a:pPr marL="342900" marR="0" lvl="0" indent="-342900" algn="l" defTabSz="914400" rtl="0" eaLnBrk="1" fontAlgn="base" latinLnBrk="0" hangingPunct="1">
              <a:lnSpc>
                <a:spcPct val="120000"/>
              </a:lnSpc>
              <a:spcBef>
                <a:spcPct val="0"/>
              </a:spcBef>
              <a:spcAft>
                <a:spcPct val="0"/>
              </a:spcAft>
              <a:buClr>
                <a:srgbClr val="F9A91C"/>
              </a:buClr>
              <a:buSzPct val="125000"/>
              <a:buFont typeface="Wingdings" panose="05000000000000000000" pitchFamily="2" charset="2"/>
              <a:buChar char="ü"/>
              <a:tabLst>
                <a:tab pos="261938" algn="l"/>
              </a:tabLst>
              <a:defRPr/>
            </a:pPr>
            <a:r>
              <a:rPr kumimoji="0" lang="tr-TR"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En az 8, En fazla 24 ay</a:t>
            </a:r>
          </a:p>
          <a:p>
            <a:pPr marL="342900" marR="0" lvl="0" indent="-342900" algn="l" defTabSz="914400" rtl="0" eaLnBrk="1" fontAlgn="base" latinLnBrk="0" hangingPunct="1">
              <a:lnSpc>
                <a:spcPct val="120000"/>
              </a:lnSpc>
              <a:spcBef>
                <a:spcPct val="0"/>
              </a:spcBef>
              <a:spcAft>
                <a:spcPct val="0"/>
              </a:spcAft>
              <a:buClr>
                <a:srgbClr val="F9A91C"/>
              </a:buClr>
              <a:buSzPct val="125000"/>
              <a:buFont typeface="Wingdings" panose="05000000000000000000" pitchFamily="2" charset="2"/>
              <a:buChar char="ü"/>
              <a:tabLst>
                <a:tab pos="261938" algn="l"/>
              </a:tabLst>
              <a:defRPr/>
            </a:pPr>
            <a:endParaRPr kumimoji="0" lang="tr-TR"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342900" marR="0" lvl="0" indent="-342900" algn="l" defTabSz="914400" rtl="0" eaLnBrk="1" fontAlgn="base" latinLnBrk="0" hangingPunct="1">
              <a:lnSpc>
                <a:spcPct val="120000"/>
              </a:lnSpc>
              <a:spcBef>
                <a:spcPct val="0"/>
              </a:spcBef>
              <a:spcAft>
                <a:spcPct val="0"/>
              </a:spcAft>
              <a:buClr>
                <a:srgbClr val="F9A91C"/>
              </a:buClr>
              <a:buSzPct val="125000"/>
              <a:buFont typeface="Wingdings" panose="05000000000000000000" pitchFamily="2" charset="2"/>
              <a:buChar char="ü"/>
              <a:tabLst>
                <a:tab pos="261938" algn="l"/>
              </a:tabLst>
              <a:defRPr/>
            </a:pPr>
            <a:r>
              <a:rPr kumimoji="0" lang="tr-TR"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Kurul kararı ile 12 aya kadar ek süre verilebilir. Proje süresi toplamda 24 ayı geçemez.</a:t>
            </a:r>
          </a:p>
        </p:txBody>
      </p:sp>
      <p:sp>
        <p:nvSpPr>
          <p:cNvPr id="9" name="4 Metin kutusu"/>
          <p:cNvSpPr txBox="1"/>
          <p:nvPr/>
        </p:nvSpPr>
        <p:spPr>
          <a:xfrm>
            <a:off x="5728053" y="176679"/>
            <a:ext cx="5264237" cy="108093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r-TR" sz="3212" b="1" i="0" u="none" strike="noStrike" kern="1200" cap="none" spc="0" normalizeH="0" baseline="0" noProof="0" dirty="0">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Ar-Ge, </a:t>
            </a:r>
            <a:r>
              <a:rPr kumimoji="0" lang="tr-TR" sz="3212" b="1" i="0" u="none" strike="noStrike" kern="1200" cap="none" spc="0" normalizeH="0" baseline="0" noProof="0" dirty="0" err="1">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Ür</a:t>
            </a:r>
            <a:r>
              <a:rPr kumimoji="0" lang="tr-TR" sz="3212" b="1" i="0" u="none" strike="noStrike" kern="1200" cap="none" spc="0" normalizeH="0" baseline="0" noProof="0" dirty="0">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Ge ve </a:t>
            </a:r>
            <a:r>
              <a:rPr kumimoji="0" lang="tr-TR" sz="3212" b="1" i="0" u="none" strike="noStrike" kern="1200" cap="none" spc="0" normalizeH="0" baseline="0" noProof="0" dirty="0" err="1">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İnovasyon</a:t>
            </a:r>
            <a:r>
              <a:rPr kumimoji="0" lang="tr-TR" sz="3212" b="1" i="0" u="none" strike="noStrike" kern="1200" cap="none" spc="0" normalizeH="0" baseline="0" noProof="0" dirty="0">
                <a:ln>
                  <a:noFill/>
                </a:ln>
                <a:solidFill>
                  <a:srgbClr val="1F497D">
                    <a:lumMod val="75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 Destek Programı</a:t>
            </a:r>
          </a:p>
        </p:txBody>
      </p:sp>
      <p:pic>
        <p:nvPicPr>
          <p:cNvPr id="10" name="Picture 3"/>
          <p:cNvPicPr>
            <a:picLocks noChangeAspect="1" noChangeArrowheads="1"/>
          </p:cNvPicPr>
          <p:nvPr/>
        </p:nvPicPr>
        <p:blipFill>
          <a:blip r:embed="rId3" cstate="print"/>
          <a:srcRect/>
          <a:stretch>
            <a:fillRect/>
          </a:stretch>
        </p:blipFill>
        <p:spPr bwMode="auto">
          <a:xfrm>
            <a:off x="147153" y="176679"/>
            <a:ext cx="960106" cy="677217"/>
          </a:xfrm>
          <a:prstGeom prst="rect">
            <a:avLst/>
          </a:prstGeom>
          <a:noFill/>
          <a:ln w="9525">
            <a:noFill/>
            <a:miter lim="800000"/>
            <a:headEnd/>
            <a:tailEnd/>
          </a:ln>
        </p:spPr>
      </p:pic>
      <p:sp>
        <p:nvSpPr>
          <p:cNvPr id="5" name="Slayt Numarası Yer Tutucusu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07960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2"/>
          </p:nvPr>
        </p:nvSpPr>
        <p:spPr>
          <a:xfrm>
            <a:off x="8704272" y="6041314"/>
            <a:ext cx="2560320" cy="365125"/>
          </a:xfrm>
        </p:spPr>
        <p:txBody>
          <a:bodyPr/>
          <a:lstStyle/>
          <a:p>
            <a:pPr defTabSz="1097280">
              <a:defRPr/>
            </a:pPr>
            <a:fld id="{FF16F97C-866D-4F85-A1F6-DDF39F62CB6A}" type="slidenum">
              <a:rPr lang="en-CA">
                <a:solidFill>
                  <a:prstClr val="black"/>
                </a:solidFill>
                <a:latin typeface="Frutiger 45 Light"/>
                <a:ea typeface="ヒラギノ角ゴ Pro W3" pitchFamily="1" charset="-128"/>
              </a:rPr>
              <a:pPr defTabSz="1097280">
                <a:defRPr/>
              </a:pPr>
              <a:t>80</a:t>
            </a:fld>
            <a:endParaRPr lang="en-CA" dirty="0">
              <a:solidFill>
                <a:prstClr val="black"/>
              </a:solidFill>
              <a:latin typeface="Frutiger 45 Light"/>
              <a:ea typeface="ヒラギノ角ゴ Pro W3" pitchFamily="1" charset="-128"/>
            </a:endParaRPr>
          </a:p>
        </p:txBody>
      </p:sp>
      <p:sp>
        <p:nvSpPr>
          <p:cNvPr id="36" name="Yuvarlatılmış Dikdörtgen 35"/>
          <p:cNvSpPr/>
          <p:nvPr/>
        </p:nvSpPr>
        <p:spPr>
          <a:xfrm>
            <a:off x="880785" y="4652815"/>
            <a:ext cx="4406890" cy="1973340"/>
          </a:xfrm>
          <a:prstGeom prst="roundRect">
            <a:avLst/>
          </a:prstGeom>
          <a:ln/>
        </p:spPr>
        <p:style>
          <a:lnRef idx="1">
            <a:schemeClr val="accent1"/>
          </a:lnRef>
          <a:fillRef idx="2">
            <a:schemeClr val="accent1"/>
          </a:fillRef>
          <a:effectRef idx="1">
            <a:schemeClr val="accent1"/>
          </a:effectRef>
          <a:fontRef idx="minor">
            <a:schemeClr val="dk1"/>
          </a:fontRef>
        </p:style>
        <p:txBody>
          <a:bodyPr lIns="109716" tIns="54857" rIns="109716" bIns="54857" rtlCol="0" anchor="ctr"/>
          <a:lstStyle/>
          <a:p>
            <a:pPr defTabSz="1097280" fontAlgn="base">
              <a:spcBef>
                <a:spcPct val="0"/>
              </a:spcBef>
              <a:spcAft>
                <a:spcPct val="0"/>
              </a:spcAft>
            </a:pPr>
            <a:endParaRPr lang="tr-TR" sz="1440" dirty="0">
              <a:solidFill>
                <a:prstClr val="black"/>
              </a:solidFill>
              <a:latin typeface="Frutiger 45 Light"/>
            </a:endParaRPr>
          </a:p>
        </p:txBody>
      </p:sp>
      <p:sp>
        <p:nvSpPr>
          <p:cNvPr id="37" name="Yuvarlatılmış Dikdörtgen 36"/>
          <p:cNvSpPr/>
          <p:nvPr/>
        </p:nvSpPr>
        <p:spPr>
          <a:xfrm>
            <a:off x="5544370" y="3356996"/>
            <a:ext cx="5736206" cy="3129634"/>
          </a:xfrm>
          <a:prstGeom prst="roundRect">
            <a:avLst/>
          </a:prstGeom>
          <a:ln/>
        </p:spPr>
        <p:style>
          <a:lnRef idx="1">
            <a:schemeClr val="accent1"/>
          </a:lnRef>
          <a:fillRef idx="2">
            <a:schemeClr val="accent1"/>
          </a:fillRef>
          <a:effectRef idx="1">
            <a:schemeClr val="accent1"/>
          </a:effectRef>
          <a:fontRef idx="minor">
            <a:schemeClr val="dk1"/>
          </a:fontRef>
        </p:style>
        <p:txBody>
          <a:bodyPr lIns="109716" tIns="54857" rIns="109716" bIns="54857" rtlCol="0" anchor="ctr"/>
          <a:lstStyle/>
          <a:p>
            <a:pPr algn="ctr" defTabSz="1097280" fontAlgn="base">
              <a:spcBef>
                <a:spcPct val="0"/>
              </a:spcBef>
              <a:spcAft>
                <a:spcPct val="0"/>
              </a:spcAft>
            </a:pPr>
            <a:endParaRPr lang="tr-TR" sz="2160" b="1" dirty="0">
              <a:solidFill>
                <a:prstClr val="black"/>
              </a:solidFill>
              <a:latin typeface="Frutiger 45 Light"/>
            </a:endParaRPr>
          </a:p>
          <a:p>
            <a:pPr algn="ctr" defTabSz="1097280" fontAlgn="base">
              <a:spcBef>
                <a:spcPct val="0"/>
              </a:spcBef>
              <a:spcAft>
                <a:spcPct val="0"/>
              </a:spcAft>
            </a:pPr>
            <a:endParaRPr lang="tr-TR" sz="2160" b="1" dirty="0">
              <a:solidFill>
                <a:prstClr val="black"/>
              </a:solidFill>
              <a:latin typeface="Frutiger 45 Light"/>
            </a:endParaRPr>
          </a:p>
          <a:p>
            <a:pPr defTabSz="1097280" fontAlgn="base">
              <a:spcBef>
                <a:spcPct val="0"/>
              </a:spcBef>
              <a:spcAft>
                <a:spcPct val="0"/>
              </a:spcAft>
            </a:pPr>
            <a:endParaRPr lang="tr-TR" sz="1440" dirty="0">
              <a:solidFill>
                <a:prstClr val="black"/>
              </a:solidFill>
              <a:latin typeface="Frutiger 45 Light"/>
            </a:endParaRPr>
          </a:p>
        </p:txBody>
      </p:sp>
      <p:sp>
        <p:nvSpPr>
          <p:cNvPr id="43" name="Yuvarlatılmış Dikdörtgen 42"/>
          <p:cNvSpPr/>
          <p:nvPr/>
        </p:nvSpPr>
        <p:spPr>
          <a:xfrm>
            <a:off x="894755" y="1825163"/>
            <a:ext cx="4428298" cy="2484666"/>
          </a:xfrm>
          <a:prstGeom prst="roundRect">
            <a:avLst/>
          </a:prstGeom>
          <a:ln/>
        </p:spPr>
        <p:style>
          <a:lnRef idx="1">
            <a:schemeClr val="accent1"/>
          </a:lnRef>
          <a:fillRef idx="2">
            <a:schemeClr val="accent1"/>
          </a:fillRef>
          <a:effectRef idx="1">
            <a:schemeClr val="accent1"/>
          </a:effectRef>
          <a:fontRef idx="minor">
            <a:schemeClr val="dk1"/>
          </a:fontRef>
        </p:style>
        <p:txBody>
          <a:bodyPr lIns="109716" tIns="54857" rIns="109716" bIns="54857" rtlCol="0" anchor="ctr"/>
          <a:lstStyle/>
          <a:p>
            <a:pPr defTabSz="1097280" fontAlgn="base">
              <a:spcBef>
                <a:spcPct val="0"/>
              </a:spcBef>
              <a:spcAft>
                <a:spcPct val="0"/>
              </a:spcAft>
            </a:pPr>
            <a:r>
              <a:rPr lang="tr-TR" sz="1440" dirty="0">
                <a:solidFill>
                  <a:prstClr val="black"/>
                </a:solidFill>
                <a:latin typeface="Frutiger 45 Light"/>
              </a:rPr>
              <a:t> </a:t>
            </a:r>
          </a:p>
        </p:txBody>
      </p:sp>
      <p:sp>
        <p:nvSpPr>
          <p:cNvPr id="44" name="Yuvarlatılmış Dikdörtgen 43"/>
          <p:cNvSpPr/>
          <p:nvPr/>
        </p:nvSpPr>
        <p:spPr>
          <a:xfrm>
            <a:off x="5507599" y="642361"/>
            <a:ext cx="5772978" cy="2570616"/>
          </a:xfrm>
          <a:prstGeom prst="roundRect">
            <a:avLst/>
          </a:prstGeom>
          <a:ln/>
        </p:spPr>
        <p:style>
          <a:lnRef idx="1">
            <a:schemeClr val="accent1"/>
          </a:lnRef>
          <a:fillRef idx="2">
            <a:schemeClr val="accent1"/>
          </a:fillRef>
          <a:effectRef idx="1">
            <a:schemeClr val="accent1"/>
          </a:effectRef>
          <a:fontRef idx="minor">
            <a:schemeClr val="dk1"/>
          </a:fontRef>
        </p:style>
        <p:txBody>
          <a:bodyPr lIns="109716" tIns="54857" rIns="109716" bIns="54857" rtlCol="0" anchor="ctr"/>
          <a:lstStyle/>
          <a:p>
            <a:pPr algn="ctr" defTabSz="1097280" fontAlgn="base">
              <a:spcBef>
                <a:spcPct val="0"/>
              </a:spcBef>
              <a:spcAft>
                <a:spcPct val="0"/>
              </a:spcAft>
            </a:pPr>
            <a:r>
              <a:rPr lang="tr-TR" sz="2160" b="1" dirty="0">
                <a:solidFill>
                  <a:srgbClr val="FF3300"/>
                </a:solidFill>
                <a:latin typeface="Frutiger 45 Light"/>
              </a:rPr>
              <a:t>   </a:t>
            </a:r>
          </a:p>
        </p:txBody>
      </p:sp>
      <p:sp>
        <p:nvSpPr>
          <p:cNvPr id="46" name="Metin kutusu 45"/>
          <p:cNvSpPr txBox="1"/>
          <p:nvPr/>
        </p:nvSpPr>
        <p:spPr>
          <a:xfrm>
            <a:off x="1381926" y="1839113"/>
            <a:ext cx="3246505" cy="443184"/>
          </a:xfrm>
          <a:prstGeom prst="rect">
            <a:avLst/>
          </a:prstGeom>
        </p:spPr>
        <p:style>
          <a:lnRef idx="2">
            <a:schemeClr val="accent1"/>
          </a:lnRef>
          <a:fillRef idx="1">
            <a:schemeClr val="lt1"/>
          </a:fillRef>
          <a:effectRef idx="0">
            <a:schemeClr val="accent1"/>
          </a:effectRef>
          <a:fontRef idx="minor">
            <a:schemeClr val="dk1"/>
          </a:fontRef>
        </p:style>
        <p:txBody>
          <a:bodyPr wrap="square" lIns="109716" tIns="54857" rIns="109716" bIns="54857" rtlCol="0">
            <a:spAutoFit/>
          </a:bodyPr>
          <a:lstStyle/>
          <a:p>
            <a:pPr algn="ctr" defTabSz="1097280" fontAlgn="base">
              <a:spcBef>
                <a:spcPct val="0"/>
              </a:spcBef>
              <a:spcAft>
                <a:spcPct val="0"/>
              </a:spcAft>
            </a:pPr>
            <a:r>
              <a:rPr lang="tr-TR" sz="2160" b="1" dirty="0">
                <a:solidFill>
                  <a:srgbClr val="00B0F0"/>
                </a:solidFill>
                <a:latin typeface="Frutiger 45 Light"/>
              </a:rPr>
              <a:t>Amacı ve Kapsamı</a:t>
            </a:r>
          </a:p>
        </p:txBody>
      </p:sp>
      <p:sp>
        <p:nvSpPr>
          <p:cNvPr id="48" name="Metin kutusu 47"/>
          <p:cNvSpPr txBox="1"/>
          <p:nvPr/>
        </p:nvSpPr>
        <p:spPr>
          <a:xfrm>
            <a:off x="6451945" y="679280"/>
            <a:ext cx="3850296" cy="443184"/>
          </a:xfrm>
          <a:prstGeom prst="rect">
            <a:avLst/>
          </a:prstGeom>
        </p:spPr>
        <p:style>
          <a:lnRef idx="2">
            <a:schemeClr val="accent2"/>
          </a:lnRef>
          <a:fillRef idx="1">
            <a:schemeClr val="lt1"/>
          </a:fillRef>
          <a:effectRef idx="0">
            <a:schemeClr val="accent2"/>
          </a:effectRef>
          <a:fontRef idx="minor">
            <a:schemeClr val="dk1"/>
          </a:fontRef>
        </p:style>
        <p:txBody>
          <a:bodyPr wrap="square" lIns="109716" tIns="54857" rIns="109716" bIns="54857" rtlCol="0">
            <a:spAutoFit/>
          </a:bodyPr>
          <a:lstStyle/>
          <a:p>
            <a:pPr algn="ctr" defTabSz="1097280" fontAlgn="base">
              <a:spcBef>
                <a:spcPct val="0"/>
              </a:spcBef>
              <a:spcAft>
                <a:spcPct val="0"/>
              </a:spcAft>
            </a:pPr>
            <a:r>
              <a:rPr lang="tr-TR" sz="2160" b="1" dirty="0">
                <a:solidFill>
                  <a:srgbClr val="FF3300"/>
                </a:solidFill>
                <a:latin typeface="Frutiger 45 Light"/>
              </a:rPr>
              <a:t>Destek Kalemleri</a:t>
            </a:r>
          </a:p>
        </p:txBody>
      </p:sp>
      <p:sp>
        <p:nvSpPr>
          <p:cNvPr id="52" name="Metin kutusu 51"/>
          <p:cNvSpPr txBox="1"/>
          <p:nvPr/>
        </p:nvSpPr>
        <p:spPr>
          <a:xfrm>
            <a:off x="6451945" y="3545665"/>
            <a:ext cx="3850297" cy="443184"/>
          </a:xfrm>
          <a:prstGeom prst="rect">
            <a:avLst/>
          </a:prstGeom>
          <a:ln>
            <a:solidFill>
              <a:srgbClr val="0CA446"/>
            </a:solidFill>
          </a:ln>
        </p:spPr>
        <p:style>
          <a:lnRef idx="2">
            <a:schemeClr val="accent3"/>
          </a:lnRef>
          <a:fillRef idx="1">
            <a:schemeClr val="lt1"/>
          </a:fillRef>
          <a:effectRef idx="0">
            <a:schemeClr val="accent3"/>
          </a:effectRef>
          <a:fontRef idx="minor">
            <a:schemeClr val="dk1"/>
          </a:fontRef>
        </p:style>
        <p:txBody>
          <a:bodyPr wrap="square" lIns="109716" tIns="54857" rIns="109716" bIns="54857" rtlCol="0">
            <a:spAutoFit/>
          </a:bodyPr>
          <a:lstStyle/>
          <a:p>
            <a:pPr algn="ctr" defTabSz="1097280" fontAlgn="base">
              <a:spcBef>
                <a:spcPct val="0"/>
              </a:spcBef>
              <a:spcAft>
                <a:spcPct val="0"/>
              </a:spcAft>
            </a:pPr>
            <a:r>
              <a:rPr lang="tr-TR" sz="2160" b="1" dirty="0">
                <a:solidFill>
                  <a:srgbClr val="00B050"/>
                </a:solidFill>
                <a:latin typeface="Frutiger 45 Light"/>
              </a:rPr>
              <a:t>Destek Özellikleri</a:t>
            </a:r>
          </a:p>
        </p:txBody>
      </p:sp>
      <p:sp>
        <p:nvSpPr>
          <p:cNvPr id="53" name="Metin kutusu 52"/>
          <p:cNvSpPr txBox="1"/>
          <p:nvPr/>
        </p:nvSpPr>
        <p:spPr>
          <a:xfrm>
            <a:off x="1381927" y="4791374"/>
            <a:ext cx="3246505" cy="443184"/>
          </a:xfrm>
          <a:prstGeom prst="rect">
            <a:avLst/>
          </a:prstGeom>
          <a:ln>
            <a:solidFill>
              <a:srgbClr val="D1621D"/>
            </a:solidFill>
          </a:ln>
        </p:spPr>
        <p:style>
          <a:lnRef idx="2">
            <a:schemeClr val="accent6"/>
          </a:lnRef>
          <a:fillRef idx="1">
            <a:schemeClr val="lt1"/>
          </a:fillRef>
          <a:effectRef idx="0">
            <a:schemeClr val="accent6"/>
          </a:effectRef>
          <a:fontRef idx="minor">
            <a:schemeClr val="dk1"/>
          </a:fontRef>
        </p:style>
        <p:txBody>
          <a:bodyPr wrap="square" lIns="109716" tIns="54857" rIns="109716" bIns="54857" rtlCol="0">
            <a:spAutoFit/>
          </a:bodyPr>
          <a:lstStyle/>
          <a:p>
            <a:pPr defTabSz="1097280" fontAlgn="base">
              <a:spcBef>
                <a:spcPct val="0"/>
              </a:spcBef>
              <a:spcAft>
                <a:spcPct val="0"/>
              </a:spcAft>
            </a:pPr>
            <a:r>
              <a:rPr lang="tr-TR" sz="2160" b="1" dirty="0">
                <a:solidFill>
                  <a:srgbClr val="F79646">
                    <a:lumMod val="75000"/>
                  </a:srgbClr>
                </a:solidFill>
                <a:latin typeface="Frutiger 45 Light"/>
              </a:rPr>
              <a:t>   </a:t>
            </a:r>
            <a:r>
              <a:rPr lang="tr-TR" sz="2160" b="1" dirty="0" smtClean="0">
                <a:solidFill>
                  <a:srgbClr val="D1621D"/>
                </a:solidFill>
                <a:latin typeface="Frutiger 45 Light"/>
              </a:rPr>
              <a:t>Kimler başvurabilir</a:t>
            </a:r>
            <a:r>
              <a:rPr lang="tr-TR" sz="2160" b="1" dirty="0">
                <a:solidFill>
                  <a:srgbClr val="D1621D"/>
                </a:solidFill>
                <a:latin typeface="Frutiger 45 Light"/>
              </a:rPr>
              <a:t>?</a:t>
            </a:r>
          </a:p>
        </p:txBody>
      </p:sp>
      <p:sp>
        <p:nvSpPr>
          <p:cNvPr id="59" name="Metin kutusu 58"/>
          <p:cNvSpPr txBox="1"/>
          <p:nvPr/>
        </p:nvSpPr>
        <p:spPr>
          <a:xfrm>
            <a:off x="948664" y="2142738"/>
            <a:ext cx="4320480" cy="1809712"/>
          </a:xfrm>
          <a:prstGeom prst="rect">
            <a:avLst/>
          </a:prstGeom>
          <a:noFill/>
        </p:spPr>
        <p:txBody>
          <a:bodyPr wrap="square" lIns="109716" tIns="54857" rIns="109716" bIns="54857" rtlCol="0">
            <a:spAutoFit/>
          </a:bodyPr>
          <a:lstStyle/>
          <a:p>
            <a:pPr algn="just" defTabSz="1097280" fontAlgn="base">
              <a:spcBef>
                <a:spcPct val="0"/>
              </a:spcBef>
              <a:spcAft>
                <a:spcPct val="0"/>
              </a:spcAft>
            </a:pPr>
            <a:endParaRPr lang="tr-TR" sz="1440" dirty="0">
              <a:solidFill>
                <a:prstClr val="black"/>
              </a:solidFill>
              <a:latin typeface="Calibri" pitchFamily="34" charset="0"/>
              <a:ea typeface="ヒラギノ角ゴ Pro W3" pitchFamily="1" charset="-128"/>
            </a:endParaRPr>
          </a:p>
          <a:p>
            <a:pPr algn="just" defTabSz="1097280" fontAlgn="base">
              <a:spcBef>
                <a:spcPct val="0"/>
              </a:spcBef>
              <a:spcAft>
                <a:spcPct val="0"/>
              </a:spcAft>
            </a:pPr>
            <a:r>
              <a:rPr lang="tr-TR" sz="1920" dirty="0">
                <a:solidFill>
                  <a:prstClr val="black"/>
                </a:solidFill>
                <a:latin typeface="Calibri" pitchFamily="34" charset="0"/>
                <a:ea typeface="ヒラギノ角ゴ Pro W3" pitchFamily="1" charset="-128"/>
              </a:rPr>
              <a:t>Ülkenin uluslararası hedefleri doğrultusunda, küçük ve orta ölçekli işletmelerin uluslararası pazara açılmaları ve ihracat kapasitelerinin geliştirilmesini </a:t>
            </a:r>
          </a:p>
          <a:p>
            <a:pPr algn="just" defTabSz="1097280" fontAlgn="base">
              <a:spcBef>
                <a:spcPct val="0"/>
              </a:spcBef>
              <a:spcAft>
                <a:spcPct val="0"/>
              </a:spcAft>
            </a:pPr>
            <a:r>
              <a:rPr lang="tr-TR" sz="1920" dirty="0">
                <a:solidFill>
                  <a:prstClr val="black"/>
                </a:solidFill>
                <a:latin typeface="Calibri" pitchFamily="34" charset="0"/>
                <a:ea typeface="ヒラギノ角ゴ Pro W3" pitchFamily="1" charset="-128"/>
              </a:rPr>
              <a:t>sağlamak.</a:t>
            </a:r>
          </a:p>
        </p:txBody>
      </p:sp>
      <p:sp>
        <p:nvSpPr>
          <p:cNvPr id="60" name="Metin kutusu 59"/>
          <p:cNvSpPr txBox="1"/>
          <p:nvPr/>
        </p:nvSpPr>
        <p:spPr>
          <a:xfrm>
            <a:off x="5654141" y="1087824"/>
            <a:ext cx="5386229" cy="2110820"/>
          </a:xfrm>
          <a:prstGeom prst="rect">
            <a:avLst/>
          </a:prstGeom>
          <a:noFill/>
        </p:spPr>
        <p:txBody>
          <a:bodyPr wrap="square" lIns="109716" tIns="54857" rIns="109716" bIns="54857" rtlCol="0">
            <a:spAutoFit/>
          </a:bodyPr>
          <a:lstStyle/>
          <a:p>
            <a:pPr algn="just" defTabSz="1097280" fontAlgn="base">
              <a:spcBef>
                <a:spcPts val="720"/>
              </a:spcBef>
              <a:spcAft>
                <a:spcPct val="0"/>
              </a:spcAft>
              <a:tabLst>
                <a:tab pos="217144" algn="l"/>
              </a:tabLst>
            </a:pPr>
            <a:r>
              <a:rPr lang="tr-TR" sz="1680" b="1" dirty="0">
                <a:solidFill>
                  <a:srgbClr val="FF0000"/>
                </a:solidFill>
                <a:latin typeface="Calibri" pitchFamily="34" charset="0"/>
                <a:ea typeface="ヒラギノ角ゴ Pro W3" pitchFamily="1" charset="-128"/>
              </a:rPr>
              <a:t>a)</a:t>
            </a:r>
            <a:r>
              <a:rPr lang="tr-TR" sz="1680" dirty="0">
                <a:solidFill>
                  <a:srgbClr val="FF0000"/>
                </a:solidFill>
                <a:latin typeface="Calibri" pitchFamily="34" charset="0"/>
                <a:ea typeface="ヒラギノ角ゴ Pro W3" pitchFamily="1" charset="-128"/>
              </a:rPr>
              <a:t>	</a:t>
            </a:r>
            <a:r>
              <a:rPr lang="tr-TR" sz="1680" dirty="0">
                <a:solidFill>
                  <a:prstClr val="black"/>
                </a:solidFill>
                <a:latin typeface="Calibri" pitchFamily="34" charset="0"/>
                <a:ea typeface="ヒラギノ角ゴ Pro W3" pitchFamily="1" charset="-128"/>
              </a:rPr>
              <a:t>Personel gideri desteği</a:t>
            </a:r>
          </a:p>
          <a:p>
            <a:pPr algn="just" defTabSz="1097280" fontAlgn="base">
              <a:spcBef>
                <a:spcPts val="720"/>
              </a:spcBef>
              <a:spcAft>
                <a:spcPct val="0"/>
              </a:spcAft>
              <a:tabLst>
                <a:tab pos="217144" algn="l"/>
              </a:tabLst>
            </a:pPr>
            <a:r>
              <a:rPr lang="tr-TR" sz="1680" b="1" dirty="0">
                <a:solidFill>
                  <a:srgbClr val="FF0000"/>
                </a:solidFill>
                <a:latin typeface="Calibri" pitchFamily="34" charset="0"/>
                <a:ea typeface="ヒラギノ角ゴ Pro W3" pitchFamily="1" charset="-128"/>
              </a:rPr>
              <a:t>b)	</a:t>
            </a:r>
            <a:r>
              <a:rPr lang="tr-TR" sz="1680" dirty="0">
                <a:solidFill>
                  <a:prstClr val="black"/>
                </a:solidFill>
                <a:latin typeface="Calibri" pitchFamily="34" charset="0"/>
                <a:ea typeface="ヒラギノ角ゴ Pro W3" pitchFamily="1" charset="-128"/>
              </a:rPr>
              <a:t>Yazılım ve donanım giderleri desteği</a:t>
            </a:r>
          </a:p>
          <a:p>
            <a:pPr algn="just" defTabSz="1097280" fontAlgn="base">
              <a:spcBef>
                <a:spcPts val="720"/>
              </a:spcBef>
              <a:spcAft>
                <a:spcPct val="0"/>
              </a:spcAft>
              <a:tabLst>
                <a:tab pos="217144" algn="l"/>
              </a:tabLst>
            </a:pPr>
            <a:r>
              <a:rPr lang="tr-TR" sz="1680" b="1" dirty="0">
                <a:solidFill>
                  <a:srgbClr val="FF0000"/>
                </a:solidFill>
                <a:latin typeface="Calibri" pitchFamily="34" charset="0"/>
                <a:ea typeface="ヒラギノ角ゴ Pro W3" pitchFamily="1" charset="-128"/>
              </a:rPr>
              <a:t>c)	</a:t>
            </a:r>
            <a:r>
              <a:rPr lang="tr-TR" sz="1680" dirty="0">
                <a:solidFill>
                  <a:prstClr val="black"/>
                </a:solidFill>
                <a:latin typeface="Calibri" pitchFamily="34" charset="0"/>
                <a:ea typeface="ヒラギノ角ゴ Pro W3" pitchFamily="1" charset="-128"/>
              </a:rPr>
              <a:t>Tanıtım giderleri desteği</a:t>
            </a:r>
          </a:p>
          <a:p>
            <a:pPr algn="just" defTabSz="1097280" fontAlgn="base">
              <a:spcBef>
                <a:spcPts val="720"/>
              </a:spcBef>
              <a:spcAft>
                <a:spcPct val="0"/>
              </a:spcAft>
              <a:tabLst>
                <a:tab pos="217144" algn="l"/>
              </a:tabLst>
            </a:pPr>
            <a:r>
              <a:rPr lang="tr-TR" sz="1680" b="1" dirty="0">
                <a:solidFill>
                  <a:srgbClr val="FF0000"/>
                </a:solidFill>
                <a:latin typeface="Calibri" pitchFamily="34" charset="0"/>
                <a:ea typeface="ヒラギノ角ゴ Pro W3" pitchFamily="1" charset="-128"/>
              </a:rPr>
              <a:t>ç)</a:t>
            </a:r>
            <a:r>
              <a:rPr lang="tr-TR" sz="1680" dirty="0">
                <a:solidFill>
                  <a:prstClr val="black"/>
                </a:solidFill>
                <a:latin typeface="Calibri" pitchFamily="34" charset="0"/>
                <a:ea typeface="ヒラギノ角ゴ Pro W3" pitchFamily="1" charset="-128"/>
              </a:rPr>
              <a:t> Yurt dışı fuar ve seyahat giderleri desteği</a:t>
            </a:r>
          </a:p>
          <a:p>
            <a:pPr algn="just" defTabSz="1097280" fontAlgn="base">
              <a:spcBef>
                <a:spcPts val="720"/>
              </a:spcBef>
              <a:spcAft>
                <a:spcPct val="0"/>
              </a:spcAft>
              <a:tabLst>
                <a:tab pos="217144" algn="l"/>
              </a:tabLst>
            </a:pPr>
            <a:r>
              <a:rPr lang="tr-TR" sz="1680" b="1" dirty="0">
                <a:solidFill>
                  <a:srgbClr val="FF0000"/>
                </a:solidFill>
                <a:latin typeface="Calibri" pitchFamily="34" charset="0"/>
                <a:ea typeface="ヒラギノ角ゴ Pro W3" pitchFamily="1" charset="-128"/>
              </a:rPr>
              <a:t>d)</a:t>
            </a:r>
            <a:r>
              <a:rPr lang="tr-TR" sz="1680" dirty="0">
                <a:solidFill>
                  <a:srgbClr val="FF0000"/>
                </a:solidFill>
                <a:latin typeface="Calibri" pitchFamily="34" charset="0"/>
                <a:ea typeface="ヒラギノ角ゴ Pro W3" pitchFamily="1" charset="-128"/>
              </a:rPr>
              <a:t> </a:t>
            </a:r>
            <a:r>
              <a:rPr lang="tr-TR" sz="1680" dirty="0">
                <a:solidFill>
                  <a:prstClr val="black"/>
                </a:solidFill>
                <a:latin typeface="Calibri" pitchFamily="34" charset="0"/>
                <a:ea typeface="ヒラギノ角ゴ Pro W3" pitchFamily="1" charset="-128"/>
              </a:rPr>
              <a:t>Test analiz ve belgelendirme giderleri desteği</a:t>
            </a:r>
          </a:p>
          <a:p>
            <a:pPr algn="just" defTabSz="1097280" fontAlgn="base">
              <a:spcBef>
                <a:spcPts val="720"/>
              </a:spcBef>
              <a:spcAft>
                <a:spcPct val="0"/>
              </a:spcAft>
              <a:tabLst>
                <a:tab pos="217144" algn="l"/>
              </a:tabLst>
            </a:pPr>
            <a:r>
              <a:rPr lang="tr-TR" sz="1680" b="1" dirty="0">
                <a:solidFill>
                  <a:srgbClr val="FF0000"/>
                </a:solidFill>
                <a:latin typeface="Calibri" pitchFamily="34" charset="0"/>
                <a:ea typeface="ヒラギノ角ゴ Pro W3" pitchFamily="1" charset="-128"/>
              </a:rPr>
              <a:t>e)</a:t>
            </a:r>
            <a:r>
              <a:rPr lang="tr-TR" sz="1680" dirty="0">
                <a:solidFill>
                  <a:srgbClr val="FF0000"/>
                </a:solidFill>
                <a:latin typeface="Calibri" pitchFamily="34" charset="0"/>
                <a:ea typeface="ヒラギノ角ゴ Pro W3" pitchFamily="1" charset="-128"/>
              </a:rPr>
              <a:t>	 </a:t>
            </a:r>
            <a:r>
              <a:rPr lang="tr-TR" sz="1680" dirty="0">
                <a:solidFill>
                  <a:prstClr val="black"/>
                </a:solidFill>
                <a:latin typeface="Calibri" pitchFamily="34" charset="0"/>
                <a:ea typeface="ヒラギノ角ゴ Pro W3" pitchFamily="1" charset="-128"/>
              </a:rPr>
              <a:t>Hizmet alımı giderleri desteği</a:t>
            </a:r>
          </a:p>
        </p:txBody>
      </p:sp>
      <p:sp>
        <p:nvSpPr>
          <p:cNvPr id="31" name="Metin kutusu 30"/>
          <p:cNvSpPr txBox="1"/>
          <p:nvPr/>
        </p:nvSpPr>
        <p:spPr>
          <a:xfrm>
            <a:off x="5622671" y="4049055"/>
            <a:ext cx="5823072" cy="2437576"/>
          </a:xfrm>
          <a:prstGeom prst="rect">
            <a:avLst/>
          </a:prstGeom>
          <a:noFill/>
        </p:spPr>
        <p:txBody>
          <a:bodyPr wrap="square" lIns="109716" tIns="54857" rIns="109716" bIns="54857" rtlCol="0">
            <a:spAutoFit/>
          </a:bodyPr>
          <a:lstStyle/>
          <a:p>
            <a:pPr defTabSz="1097280" fontAlgn="base">
              <a:lnSpc>
                <a:spcPct val="150000"/>
              </a:lnSpc>
              <a:spcBef>
                <a:spcPct val="0"/>
              </a:spcBef>
              <a:spcAft>
                <a:spcPct val="0"/>
              </a:spcAft>
            </a:pPr>
            <a:r>
              <a:rPr lang="tr-TR" sz="1680" b="1" dirty="0">
                <a:solidFill>
                  <a:srgbClr val="0CA446"/>
                </a:solidFill>
                <a:latin typeface="Calibri" pitchFamily="34" charset="0"/>
                <a:ea typeface="ヒラギノ角ゴ Pro W3" pitchFamily="1" charset="-128"/>
              </a:rPr>
              <a:t>Destek Türü:	</a:t>
            </a:r>
            <a:r>
              <a:rPr lang="tr-TR" sz="1680" dirty="0">
                <a:solidFill>
                  <a:prstClr val="black"/>
                </a:solidFill>
                <a:latin typeface="Calibri" pitchFamily="34" charset="0"/>
                <a:ea typeface="ヒラギノ角ゴ Pro W3" pitchFamily="1" charset="-128"/>
              </a:rPr>
              <a:t>Hibe ve Geri Ödemeli</a:t>
            </a:r>
          </a:p>
          <a:p>
            <a:pPr defTabSz="1097280" fontAlgn="base">
              <a:lnSpc>
                <a:spcPct val="150000"/>
              </a:lnSpc>
              <a:spcBef>
                <a:spcPct val="0"/>
              </a:spcBef>
              <a:spcAft>
                <a:spcPct val="0"/>
              </a:spcAft>
            </a:pPr>
            <a:r>
              <a:rPr lang="tr-TR" sz="1680" b="1" dirty="0">
                <a:solidFill>
                  <a:srgbClr val="0CA446"/>
                </a:solidFill>
                <a:latin typeface="Calibri" pitchFamily="34" charset="0"/>
                <a:ea typeface="ヒラギノ角ゴ Pro W3" pitchFamily="1" charset="-128"/>
              </a:rPr>
              <a:t>Destek Miktarı:</a:t>
            </a:r>
            <a:r>
              <a:rPr lang="tr-TR" sz="1680" b="1" dirty="0">
                <a:solidFill>
                  <a:prstClr val="black"/>
                </a:solidFill>
                <a:latin typeface="Calibri" pitchFamily="34" charset="0"/>
                <a:ea typeface="ヒラギノ角ゴ Pro W3" pitchFamily="1" charset="-128"/>
              </a:rPr>
              <a:t>	</a:t>
            </a:r>
            <a:r>
              <a:rPr lang="tr-TR" sz="1680" dirty="0">
                <a:solidFill>
                  <a:prstClr val="black"/>
                </a:solidFill>
                <a:latin typeface="Calibri" pitchFamily="34" charset="0"/>
                <a:ea typeface="ヒラギノ角ゴ Pro W3" pitchFamily="1" charset="-128"/>
              </a:rPr>
              <a:t>300.000 TL  </a:t>
            </a:r>
          </a:p>
          <a:p>
            <a:pPr defTabSz="1097280" fontAlgn="base">
              <a:lnSpc>
                <a:spcPct val="150000"/>
              </a:lnSpc>
              <a:spcBef>
                <a:spcPct val="0"/>
              </a:spcBef>
              <a:spcAft>
                <a:spcPct val="0"/>
              </a:spcAft>
            </a:pPr>
            <a:r>
              <a:rPr lang="tr-TR" sz="1680" b="1" dirty="0">
                <a:solidFill>
                  <a:srgbClr val="0CA446"/>
                </a:solidFill>
                <a:latin typeface="Calibri" pitchFamily="34" charset="0"/>
                <a:ea typeface="ヒラギノ角ゴ Pro W3" pitchFamily="1" charset="-128"/>
              </a:rPr>
              <a:t>Destek Oranı:</a:t>
            </a:r>
            <a:r>
              <a:rPr lang="tr-TR" sz="1680" b="1" dirty="0">
                <a:solidFill>
                  <a:prstClr val="black"/>
                </a:solidFill>
                <a:latin typeface="Calibri" pitchFamily="34" charset="0"/>
                <a:ea typeface="ヒラギノ角ゴ Pro W3" pitchFamily="1" charset="-128"/>
              </a:rPr>
              <a:t>                     </a:t>
            </a:r>
            <a:r>
              <a:rPr lang="tr-TR" sz="1680" dirty="0">
                <a:solidFill>
                  <a:prstClr val="black"/>
                </a:solidFill>
                <a:latin typeface="Calibri" pitchFamily="34" charset="0"/>
                <a:ea typeface="ヒラギノ角ゴ Pro W3" pitchFamily="1" charset="-128"/>
              </a:rPr>
              <a:t>%100 (</a:t>
            </a:r>
            <a:r>
              <a:rPr lang="de-DE" sz="1680" dirty="0">
                <a:solidFill>
                  <a:prstClr val="black"/>
                </a:solidFill>
                <a:latin typeface="Calibri" pitchFamily="34" charset="0"/>
                <a:ea typeface="ヒラギノ角ゴ Pro W3" pitchFamily="1" charset="-128"/>
              </a:rPr>
              <a:t>%</a:t>
            </a:r>
            <a:r>
              <a:rPr lang="tr-TR" sz="1680" dirty="0">
                <a:solidFill>
                  <a:prstClr val="black"/>
                </a:solidFill>
                <a:latin typeface="Calibri" pitchFamily="34" charset="0"/>
                <a:ea typeface="ヒラギノ角ゴ Pro W3" pitchFamily="1" charset="-128"/>
              </a:rPr>
              <a:t> 70 Geri Ödemesiz, </a:t>
            </a:r>
          </a:p>
          <a:p>
            <a:pPr defTabSz="1097280" fontAlgn="base">
              <a:lnSpc>
                <a:spcPct val="150000"/>
              </a:lnSpc>
              <a:spcBef>
                <a:spcPct val="0"/>
              </a:spcBef>
              <a:spcAft>
                <a:spcPct val="0"/>
              </a:spcAft>
            </a:pPr>
            <a:r>
              <a:rPr lang="tr-TR" sz="1680" dirty="0">
                <a:solidFill>
                  <a:prstClr val="black"/>
                </a:solidFill>
                <a:latin typeface="Calibri" pitchFamily="34" charset="0"/>
                <a:ea typeface="ヒラギノ角ゴ Pro W3" pitchFamily="1" charset="-128"/>
              </a:rPr>
              <a:t>                                               %30 Geri Ödemeli)</a:t>
            </a:r>
            <a:endParaRPr lang="de-DE" sz="1680" dirty="0">
              <a:solidFill>
                <a:prstClr val="black"/>
              </a:solidFill>
              <a:latin typeface="Calibri" pitchFamily="34" charset="0"/>
              <a:ea typeface="ヒラギノ角ゴ Pro W3" pitchFamily="1" charset="-128"/>
            </a:endParaRPr>
          </a:p>
          <a:p>
            <a:pPr defTabSz="1097280" fontAlgn="base">
              <a:lnSpc>
                <a:spcPct val="150000"/>
              </a:lnSpc>
              <a:spcBef>
                <a:spcPct val="0"/>
              </a:spcBef>
              <a:spcAft>
                <a:spcPct val="0"/>
              </a:spcAft>
            </a:pPr>
            <a:r>
              <a:rPr lang="tr-TR" sz="1680" b="1" dirty="0">
                <a:solidFill>
                  <a:srgbClr val="0AA649"/>
                </a:solidFill>
                <a:latin typeface="Calibri" pitchFamily="34" charset="0"/>
                <a:ea typeface="ヒラギノ角ゴ Pro W3" pitchFamily="1" charset="-128"/>
              </a:rPr>
              <a:t>Başvuru Dönemi:	</a:t>
            </a:r>
            <a:r>
              <a:rPr lang="tr-TR" sz="1680" dirty="0">
                <a:solidFill>
                  <a:prstClr val="black"/>
                </a:solidFill>
                <a:latin typeface="Calibri" pitchFamily="34" charset="0"/>
                <a:ea typeface="ヒラギノ角ゴ Pro W3" pitchFamily="1" charset="-128"/>
              </a:rPr>
              <a:t>Sürekli</a:t>
            </a:r>
          </a:p>
          <a:p>
            <a:pPr defTabSz="1097280" fontAlgn="base">
              <a:lnSpc>
                <a:spcPct val="150000"/>
              </a:lnSpc>
              <a:spcBef>
                <a:spcPct val="0"/>
              </a:spcBef>
              <a:spcAft>
                <a:spcPct val="0"/>
              </a:spcAft>
            </a:pPr>
            <a:r>
              <a:rPr lang="es-ES" sz="1680" b="1" dirty="0">
                <a:solidFill>
                  <a:srgbClr val="0AA649"/>
                </a:solidFill>
                <a:latin typeface="Calibri" pitchFamily="34" charset="0"/>
                <a:ea typeface="ヒラギノ角ゴ Pro W3" pitchFamily="1" charset="-128"/>
              </a:rPr>
              <a:t>Destek Süresi: </a:t>
            </a:r>
            <a:r>
              <a:rPr lang="tr-TR" sz="1680" b="1" dirty="0">
                <a:solidFill>
                  <a:srgbClr val="0AA649"/>
                </a:solidFill>
                <a:latin typeface="Calibri" pitchFamily="34" charset="0"/>
                <a:ea typeface="ヒラギノ角ゴ Pro W3" pitchFamily="1" charset="-128"/>
              </a:rPr>
              <a:t>                  </a:t>
            </a:r>
            <a:r>
              <a:rPr lang="es-ES" sz="1680" dirty="0">
                <a:solidFill>
                  <a:prstClr val="black"/>
                </a:solidFill>
                <a:latin typeface="Calibri" pitchFamily="34" charset="0"/>
                <a:ea typeface="ヒラギノ角ゴ Pro W3" pitchFamily="1" charset="-128"/>
              </a:rPr>
              <a:t>En az </a:t>
            </a:r>
            <a:r>
              <a:rPr lang="tr-TR" sz="1680" dirty="0">
                <a:solidFill>
                  <a:prstClr val="black"/>
                </a:solidFill>
                <a:latin typeface="Calibri" pitchFamily="34" charset="0"/>
                <a:ea typeface="ヒラギノ角ゴ Pro W3" pitchFamily="1" charset="-128"/>
              </a:rPr>
              <a:t>8</a:t>
            </a:r>
            <a:r>
              <a:rPr lang="es-ES" sz="1680" dirty="0">
                <a:solidFill>
                  <a:prstClr val="black"/>
                </a:solidFill>
                <a:latin typeface="Calibri" pitchFamily="34" charset="0"/>
                <a:ea typeface="ヒラギノ角ゴ Pro W3" pitchFamily="1" charset="-128"/>
              </a:rPr>
              <a:t>, </a:t>
            </a:r>
            <a:r>
              <a:rPr lang="tr-TR" sz="1680" dirty="0">
                <a:solidFill>
                  <a:prstClr val="black"/>
                </a:solidFill>
                <a:latin typeface="Calibri" pitchFamily="34" charset="0"/>
                <a:ea typeface="ヒラギノ角ゴ Pro W3" pitchFamily="1" charset="-128"/>
              </a:rPr>
              <a:t>E</a:t>
            </a:r>
            <a:r>
              <a:rPr lang="es-ES" sz="1680" dirty="0">
                <a:solidFill>
                  <a:prstClr val="black"/>
                </a:solidFill>
                <a:latin typeface="Calibri" pitchFamily="34" charset="0"/>
                <a:ea typeface="ヒラギノ角ゴ Pro W3" pitchFamily="1" charset="-128"/>
              </a:rPr>
              <a:t>n fazla 24 ay</a:t>
            </a:r>
            <a:endParaRPr lang="tr-TR" sz="1680" dirty="0">
              <a:solidFill>
                <a:prstClr val="black"/>
              </a:solidFill>
              <a:latin typeface="Calibri" pitchFamily="34" charset="0"/>
              <a:ea typeface="ヒラギノ角ゴ Pro W3" pitchFamily="1" charset="-128"/>
            </a:endParaRPr>
          </a:p>
        </p:txBody>
      </p:sp>
      <p:sp>
        <p:nvSpPr>
          <p:cNvPr id="27" name="Metin kutusu 26"/>
          <p:cNvSpPr txBox="1"/>
          <p:nvPr/>
        </p:nvSpPr>
        <p:spPr>
          <a:xfrm>
            <a:off x="974634" y="5364602"/>
            <a:ext cx="4348418" cy="1495780"/>
          </a:xfrm>
          <a:prstGeom prst="rect">
            <a:avLst/>
          </a:prstGeom>
          <a:noFill/>
        </p:spPr>
        <p:txBody>
          <a:bodyPr wrap="square" lIns="109716" tIns="54857" rIns="109716" bIns="54857" rtlCol="0">
            <a:spAutoFit/>
          </a:bodyPr>
          <a:lstStyle/>
          <a:p>
            <a:pPr marL="205716" indent="-205716" algn="just" defTabSz="1097280" fontAlgn="base">
              <a:spcBef>
                <a:spcPct val="0"/>
              </a:spcBef>
              <a:spcAft>
                <a:spcPct val="0"/>
              </a:spcAft>
              <a:buFont typeface="Wingdings" pitchFamily="2" charset="2"/>
              <a:buChar char="ü"/>
            </a:pPr>
            <a:r>
              <a:rPr lang="tr-TR" sz="1920" dirty="0">
                <a:solidFill>
                  <a:prstClr val="black"/>
                </a:solidFill>
                <a:latin typeface="Calibri" pitchFamily="34" charset="0"/>
                <a:ea typeface="ヒラギノ角ゴ Pro W3" pitchFamily="1" charset="-128"/>
              </a:rPr>
              <a:t>KOSGEB veri tabanına kayıtlı, güncel KOBİ Beyannamesi bulunan, bilanço esasına göre defter tutan ve son mali yıl verileri onaylı KOBİ’ler</a:t>
            </a:r>
          </a:p>
          <a:p>
            <a:pPr marL="205716" indent="-205716" algn="just" defTabSz="1097280" fontAlgn="base">
              <a:spcBef>
                <a:spcPct val="0"/>
              </a:spcBef>
              <a:spcAft>
                <a:spcPct val="0"/>
              </a:spcAft>
              <a:buFont typeface="Wingdings" pitchFamily="2" charset="2"/>
              <a:buChar char="ü"/>
            </a:pPr>
            <a:endParaRPr lang="tr-TR" sz="1320" i="1" dirty="0">
              <a:solidFill>
                <a:prstClr val="black"/>
              </a:solidFill>
              <a:latin typeface="Calibri" pitchFamily="34" charset="0"/>
              <a:ea typeface="ヒラギノ角ゴ Pro W3" pitchFamily="1" charset="-128"/>
            </a:endParaRPr>
          </a:p>
        </p:txBody>
      </p:sp>
      <p:sp>
        <p:nvSpPr>
          <p:cNvPr id="28" name="Yuvarlatılmış Dikdörtgen 27"/>
          <p:cNvSpPr/>
          <p:nvPr/>
        </p:nvSpPr>
        <p:spPr>
          <a:xfrm>
            <a:off x="1246574" y="679281"/>
            <a:ext cx="3602886" cy="905611"/>
          </a:xfrm>
          <a:prstGeom prst="roundRect">
            <a:avLst/>
          </a:prstGeom>
        </p:spPr>
        <p:style>
          <a:lnRef idx="1">
            <a:schemeClr val="dk1"/>
          </a:lnRef>
          <a:fillRef idx="2">
            <a:schemeClr val="dk1"/>
          </a:fillRef>
          <a:effectRef idx="1">
            <a:schemeClr val="dk1"/>
          </a:effectRef>
          <a:fontRef idx="minor">
            <a:schemeClr val="dk1"/>
          </a:fontRef>
        </p:style>
        <p:txBody>
          <a:bodyPr lIns="109716" tIns="54857" rIns="109716" bIns="54857" rtlCol="0" anchor="ctr"/>
          <a:lstStyle/>
          <a:p>
            <a:pPr algn="ctr" defTabSz="1097280" fontAlgn="base">
              <a:spcBef>
                <a:spcPct val="0"/>
              </a:spcBef>
              <a:spcAft>
                <a:spcPct val="0"/>
              </a:spcAft>
            </a:pPr>
            <a:r>
              <a:rPr lang="tr-TR" sz="1920" b="1" u="sng" dirty="0">
                <a:solidFill>
                  <a:prstClr val="black"/>
                </a:solidFill>
                <a:latin typeface="Frutiger 45 Light"/>
              </a:rPr>
              <a:t>Destek Alanı</a:t>
            </a:r>
          </a:p>
          <a:p>
            <a:pPr algn="ctr" defTabSz="1097280" fontAlgn="base">
              <a:spcBef>
                <a:spcPct val="0"/>
              </a:spcBef>
              <a:spcAft>
                <a:spcPct val="0"/>
              </a:spcAft>
            </a:pPr>
            <a:r>
              <a:rPr lang="tr-TR" sz="1920" dirty="0">
                <a:solidFill>
                  <a:prstClr val="black"/>
                </a:solidFill>
                <a:latin typeface="Frutiger 45 Light"/>
              </a:rPr>
              <a:t>İhracata Başlama ve </a:t>
            </a:r>
          </a:p>
          <a:p>
            <a:pPr algn="ctr" defTabSz="1097280" fontAlgn="base">
              <a:spcBef>
                <a:spcPct val="0"/>
              </a:spcBef>
              <a:spcAft>
                <a:spcPct val="0"/>
              </a:spcAft>
            </a:pPr>
            <a:r>
              <a:rPr lang="tr-TR" sz="1920" dirty="0">
                <a:solidFill>
                  <a:prstClr val="black"/>
                </a:solidFill>
                <a:latin typeface="Frutiger 45 Light"/>
              </a:rPr>
              <a:t>İhracat Kapasitesi Artırımı </a:t>
            </a:r>
          </a:p>
        </p:txBody>
      </p:sp>
      <p:sp>
        <p:nvSpPr>
          <p:cNvPr id="17" name="Başlık 1"/>
          <p:cNvSpPr txBox="1">
            <a:spLocks/>
          </p:cNvSpPr>
          <p:nvPr/>
        </p:nvSpPr>
        <p:spPr bwMode="auto">
          <a:xfrm>
            <a:off x="-39082" y="59026"/>
            <a:ext cx="7787640" cy="537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853" tIns="42926" rIns="85853" bIns="42926" numCol="1" anchor="ctr" anchorCtr="0" compatLnSpc="1">
            <a:prstTxWarp prst="textNoShape">
              <a:avLst/>
            </a:prstTxWarp>
          </a:bodyPr>
          <a:lstStyle>
            <a:lvl1pPr algn="ctr" rtl="0" eaLnBrk="1" fontAlgn="base" hangingPunct="1">
              <a:spcBef>
                <a:spcPct val="0"/>
              </a:spcBef>
              <a:spcAft>
                <a:spcPct val="0"/>
              </a:spcAft>
              <a:defRPr sz="3400" kern="1200">
                <a:solidFill>
                  <a:schemeClr val="tx1"/>
                </a:solidFill>
                <a:latin typeface="+mj-lt"/>
                <a:ea typeface="+mj-ea"/>
                <a:cs typeface="+mj-cs"/>
              </a:defRPr>
            </a:lvl1pPr>
            <a:lvl2pPr algn="ctr" rtl="0" eaLnBrk="1" fontAlgn="base" hangingPunct="1">
              <a:spcBef>
                <a:spcPct val="0"/>
              </a:spcBef>
              <a:spcAft>
                <a:spcPct val="0"/>
              </a:spcAft>
              <a:defRPr sz="3400">
                <a:solidFill>
                  <a:schemeClr val="tx1"/>
                </a:solidFill>
                <a:latin typeface="Frutiger 95 Ultra Black" pitchFamily="50" charset="0"/>
              </a:defRPr>
            </a:lvl2pPr>
            <a:lvl3pPr algn="ctr" rtl="0" eaLnBrk="1" fontAlgn="base" hangingPunct="1">
              <a:spcBef>
                <a:spcPct val="0"/>
              </a:spcBef>
              <a:spcAft>
                <a:spcPct val="0"/>
              </a:spcAft>
              <a:defRPr sz="3400">
                <a:solidFill>
                  <a:schemeClr val="tx1"/>
                </a:solidFill>
                <a:latin typeface="Frutiger 95 Ultra Black" pitchFamily="50" charset="0"/>
              </a:defRPr>
            </a:lvl3pPr>
            <a:lvl4pPr algn="ctr" rtl="0" eaLnBrk="1" fontAlgn="base" hangingPunct="1">
              <a:spcBef>
                <a:spcPct val="0"/>
              </a:spcBef>
              <a:spcAft>
                <a:spcPct val="0"/>
              </a:spcAft>
              <a:defRPr sz="3400">
                <a:solidFill>
                  <a:schemeClr val="tx1"/>
                </a:solidFill>
                <a:latin typeface="Frutiger 95 Ultra Black" pitchFamily="50" charset="0"/>
              </a:defRPr>
            </a:lvl4pPr>
            <a:lvl5pPr algn="ctr" rtl="0" eaLnBrk="1" fontAlgn="base" hangingPunct="1">
              <a:spcBef>
                <a:spcPct val="0"/>
              </a:spcBef>
              <a:spcAft>
                <a:spcPct val="0"/>
              </a:spcAft>
              <a:defRPr sz="3400">
                <a:solidFill>
                  <a:schemeClr val="tx1"/>
                </a:solidFill>
                <a:latin typeface="Frutiger 95 Ultra Black" pitchFamily="50" charset="0"/>
              </a:defRPr>
            </a:lvl5pPr>
            <a:lvl6pPr marL="357721" algn="ctr" rtl="0" eaLnBrk="1" fontAlgn="base" hangingPunct="1">
              <a:spcBef>
                <a:spcPct val="0"/>
              </a:spcBef>
              <a:spcAft>
                <a:spcPct val="0"/>
              </a:spcAft>
              <a:defRPr sz="3400">
                <a:solidFill>
                  <a:schemeClr val="tx1"/>
                </a:solidFill>
                <a:latin typeface="Frutiger 95 Ultra Black" pitchFamily="50" charset="0"/>
              </a:defRPr>
            </a:lvl6pPr>
            <a:lvl7pPr marL="715442" algn="ctr" rtl="0" eaLnBrk="1" fontAlgn="base" hangingPunct="1">
              <a:spcBef>
                <a:spcPct val="0"/>
              </a:spcBef>
              <a:spcAft>
                <a:spcPct val="0"/>
              </a:spcAft>
              <a:defRPr sz="3400">
                <a:solidFill>
                  <a:schemeClr val="tx1"/>
                </a:solidFill>
                <a:latin typeface="Frutiger 95 Ultra Black" pitchFamily="50" charset="0"/>
              </a:defRPr>
            </a:lvl7pPr>
            <a:lvl8pPr marL="1073161" algn="ctr" rtl="0" eaLnBrk="1" fontAlgn="base" hangingPunct="1">
              <a:spcBef>
                <a:spcPct val="0"/>
              </a:spcBef>
              <a:spcAft>
                <a:spcPct val="0"/>
              </a:spcAft>
              <a:defRPr sz="3400">
                <a:solidFill>
                  <a:schemeClr val="tx1"/>
                </a:solidFill>
                <a:latin typeface="Frutiger 95 Ultra Black" pitchFamily="50" charset="0"/>
              </a:defRPr>
            </a:lvl8pPr>
            <a:lvl9pPr marL="1430881" algn="ctr" rtl="0" eaLnBrk="1" fontAlgn="base" hangingPunct="1">
              <a:spcBef>
                <a:spcPct val="0"/>
              </a:spcBef>
              <a:spcAft>
                <a:spcPct val="0"/>
              </a:spcAft>
              <a:defRPr sz="3400">
                <a:solidFill>
                  <a:schemeClr val="tx1"/>
                </a:solidFill>
                <a:latin typeface="Frutiger 95 Ultra Black" pitchFamily="50" charset="0"/>
              </a:defRPr>
            </a:lvl9pPr>
          </a:lstStyle>
          <a:p>
            <a:pPr defTabSz="1097280"/>
            <a:r>
              <a:rPr lang="tr-TR" sz="2640" b="1">
                <a:solidFill>
                  <a:srgbClr val="00759E">
                    <a:lumMod val="60000"/>
                    <a:lumOff val="40000"/>
                  </a:srgbClr>
                </a:solidFill>
                <a:latin typeface="Calibri" pitchFamily="34" charset="0"/>
                <a:ea typeface="Roboto Black" panose="02000000000000000000" pitchFamily="2" charset="0"/>
              </a:rPr>
              <a:t>Yurt Dışı Pazar Destek Programı</a:t>
            </a:r>
            <a:endParaRPr lang="tr-TR" sz="2280" b="1" dirty="0">
              <a:solidFill>
                <a:srgbClr val="00B0F0"/>
              </a:solidFill>
              <a:latin typeface="Frutiger 45 Light"/>
              <a:cs typeface="Arial Tur" pitchFamily="34" charset="0"/>
            </a:endParaRPr>
          </a:p>
        </p:txBody>
      </p:sp>
    </p:spTree>
    <p:extLst>
      <p:ext uri="{BB962C8B-B14F-4D97-AF65-F5344CB8AC3E}">
        <p14:creationId xmlns:p14="http://schemas.microsoft.com/office/powerpoint/2010/main" val="591713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defTabSz="1026574"/>
            <a:fld id="{7C1868C5-B491-42BF-9F5C-46095BC3F40A}" type="slidenum">
              <a:rPr lang="tr-TR">
                <a:solidFill>
                  <a:prstClr val="black"/>
                </a:solidFill>
                <a:latin typeface="Segoe UI"/>
                <a:ea typeface="ヒラギノ角ゴ Pro W3" pitchFamily="1" charset="-128"/>
              </a:rPr>
              <a:pPr defTabSz="1026574"/>
              <a:t>81</a:t>
            </a:fld>
            <a:endParaRPr lang="tr-TR" dirty="0">
              <a:solidFill>
                <a:prstClr val="black"/>
              </a:solidFill>
              <a:latin typeface="Segoe UI"/>
              <a:ea typeface="ヒラギノ角ゴ Pro W3" pitchFamily="1" charset="-128"/>
            </a:endParaRPr>
          </a:p>
        </p:txBody>
      </p:sp>
      <p:sp>
        <p:nvSpPr>
          <p:cNvPr id="3" name="İçerik Yer Tutucusu 2"/>
          <p:cNvSpPr>
            <a:spLocks noGrp="1"/>
          </p:cNvSpPr>
          <p:nvPr>
            <p:ph idx="4294967295"/>
          </p:nvPr>
        </p:nvSpPr>
        <p:spPr>
          <a:xfrm>
            <a:off x="1257062" y="1179196"/>
            <a:ext cx="10325338" cy="4852034"/>
          </a:xfrm>
        </p:spPr>
        <p:txBody>
          <a:bodyPr>
            <a:normAutofit/>
          </a:bodyPr>
          <a:lstStyle/>
          <a:p>
            <a:pPr algn="just">
              <a:buFont typeface="Wingdings" panose="05000000000000000000" pitchFamily="2" charset="2"/>
              <a:buChar char="Ø"/>
            </a:pPr>
            <a:r>
              <a:rPr lang="tr-TR" sz="2400" dirty="0">
                <a:latin typeface="Calibri" panose="020F0502020204030204" pitchFamily="34" charset="0"/>
                <a:ea typeface="Arial" charset="-94"/>
                <a:cs typeface="Calibri" panose="020F0502020204030204" pitchFamily="34" charset="0"/>
              </a:rPr>
              <a:t>Program kapsamında desteklenecek proje süresi en az 8 ay ve en çok 24 aydır. </a:t>
            </a:r>
          </a:p>
          <a:p>
            <a:pPr algn="just">
              <a:buFont typeface="Wingdings" panose="05000000000000000000" pitchFamily="2" charset="2"/>
              <a:buChar char="Ø"/>
            </a:pPr>
            <a:endParaRPr lang="tr-TR" sz="2400" dirty="0">
              <a:latin typeface="Calibri" panose="020F0502020204030204" pitchFamily="34" charset="0"/>
              <a:ea typeface="Arial" charset="-94"/>
              <a:cs typeface="Calibri" panose="020F0502020204030204" pitchFamily="34" charset="0"/>
            </a:endParaRPr>
          </a:p>
          <a:p>
            <a:pPr algn="just">
              <a:buFont typeface="Wingdings" panose="05000000000000000000" pitchFamily="2" charset="2"/>
              <a:buChar char="Ø"/>
            </a:pPr>
            <a:r>
              <a:rPr lang="tr-TR" sz="2400" dirty="0">
                <a:latin typeface="Calibri" panose="020F0502020204030204" pitchFamily="34" charset="0"/>
                <a:ea typeface="Arial" charset="-94"/>
                <a:cs typeface="Calibri" panose="020F0502020204030204" pitchFamily="34" charset="0"/>
              </a:rPr>
              <a:t>Proje kapsamında verilecek desteğin üst limiti,  geri ödemesiz  ve geri ödemeli olmak üzere 300.000 TL’dir. </a:t>
            </a:r>
          </a:p>
          <a:p>
            <a:pPr algn="just">
              <a:buFont typeface="Wingdings" panose="05000000000000000000" pitchFamily="2" charset="2"/>
              <a:buChar char="Ø"/>
            </a:pPr>
            <a:endParaRPr lang="tr-TR" sz="2400" dirty="0">
              <a:solidFill>
                <a:srgbClr val="FF0000"/>
              </a:solidFill>
              <a:latin typeface="Calibri" panose="020F0502020204030204" pitchFamily="34" charset="0"/>
              <a:ea typeface="Arial" charset="-94"/>
              <a:cs typeface="Calibri" panose="020F0502020204030204" pitchFamily="34" charset="0"/>
            </a:endParaRPr>
          </a:p>
          <a:p>
            <a:pPr algn="just">
              <a:buFont typeface="Wingdings" panose="05000000000000000000" pitchFamily="2" charset="2"/>
              <a:buChar char="Ø"/>
            </a:pPr>
            <a:r>
              <a:rPr lang="tr-TR" sz="2400" dirty="0">
                <a:latin typeface="Calibri" panose="020F0502020204030204" pitchFamily="34" charset="0"/>
                <a:ea typeface="Arial" charset="-94"/>
                <a:cs typeface="Calibri" panose="020F0502020204030204" pitchFamily="34" charset="0"/>
              </a:rPr>
              <a:t>Proje giderleri için destek oranı, %70’i (yetmiş) geri ödemesiz ve  %30’u (otuz) geri ödemeli olarak uygulanır. </a:t>
            </a:r>
          </a:p>
          <a:p>
            <a:pPr algn="just"/>
            <a:endParaRPr lang="tr-TR" sz="1320" dirty="0">
              <a:ea typeface="Arial" charset="-94"/>
              <a:cs typeface="Arial" charset="-94"/>
            </a:endParaRPr>
          </a:p>
          <a:p>
            <a:pPr marL="0" indent="0" algn="just">
              <a:buNone/>
            </a:pPr>
            <a:endParaRPr lang="tr-TR" sz="1320" dirty="0">
              <a:ea typeface="Arial" charset="-94"/>
              <a:cs typeface="Arial" charset="-94"/>
            </a:endParaRPr>
          </a:p>
          <a:p>
            <a:pPr marL="0" indent="0" algn="ctr">
              <a:buNone/>
            </a:pPr>
            <a:r>
              <a:rPr lang="tr-TR" sz="1320" dirty="0">
                <a:solidFill>
                  <a:srgbClr val="FF0000"/>
                </a:solidFill>
                <a:latin typeface="Verdana" panose="020B0604030504040204" pitchFamily="34" charset="0"/>
                <a:ea typeface="Verdana" panose="020B0604030504040204" pitchFamily="34" charset="0"/>
                <a:cs typeface="Verdana" panose="020B0604030504040204" pitchFamily="34" charset="0"/>
              </a:rPr>
              <a:t>Program kapsamında, işletmeler bu destekten sadece 1 (bir) kez yararlanabilirler.</a:t>
            </a:r>
          </a:p>
          <a:p>
            <a:pPr marL="0" indent="0" algn="just">
              <a:buNone/>
            </a:pPr>
            <a:endParaRPr lang="tr-TR" sz="1440" dirty="0">
              <a:latin typeface="Calibri" panose="020F0502020204030204" pitchFamily="34" charset="0"/>
              <a:ea typeface="Arial" charset="-94"/>
              <a:cs typeface="Arial" charset="-94"/>
            </a:endParaRPr>
          </a:p>
          <a:p>
            <a:pPr marL="0" indent="0" algn="just">
              <a:buNone/>
            </a:pPr>
            <a:endParaRPr lang="tr-TR" sz="1440" dirty="0">
              <a:latin typeface="Calibri" panose="020F0502020204030204" pitchFamily="34" charset="0"/>
              <a:ea typeface="Arial" charset="-94"/>
              <a:cs typeface="Arial" charset="-94"/>
            </a:endParaRPr>
          </a:p>
          <a:p>
            <a:pPr marL="0" indent="0">
              <a:buNone/>
            </a:pPr>
            <a:endParaRPr lang="tr-TR" sz="2400" u="sng" dirty="0">
              <a:latin typeface="Calibri" pitchFamily="34" charset="0"/>
            </a:endParaRPr>
          </a:p>
        </p:txBody>
      </p:sp>
      <p:sp>
        <p:nvSpPr>
          <p:cNvPr id="5" name="Dikdörtgen 4"/>
          <p:cNvSpPr/>
          <p:nvPr/>
        </p:nvSpPr>
        <p:spPr>
          <a:xfrm>
            <a:off x="2207826" y="1182451"/>
            <a:ext cx="8320760" cy="751498"/>
          </a:xfrm>
          <a:prstGeom prst="rect">
            <a:avLst/>
          </a:prstGeom>
        </p:spPr>
        <p:txBody>
          <a:bodyPr wrap="square" lIns="85861" tIns="42931" rIns="85861" bIns="42931">
            <a:spAutoFit/>
          </a:bodyPr>
          <a:lstStyle/>
          <a:p>
            <a:pPr defTabSz="1026574"/>
            <a:endParaRPr lang="tr-TR" sz="2160" dirty="0">
              <a:solidFill>
                <a:prstClr val="black"/>
              </a:solidFill>
              <a:latin typeface="Calibri" pitchFamily="34" charset="0"/>
              <a:ea typeface="Arial" charset="-94"/>
              <a:cs typeface="Arial" charset="-94"/>
            </a:endParaRPr>
          </a:p>
          <a:p>
            <a:pPr defTabSz="1026574"/>
            <a:endParaRPr lang="tr-TR" sz="2160" dirty="0">
              <a:solidFill>
                <a:prstClr val="black"/>
              </a:solidFill>
              <a:latin typeface="Calibri" pitchFamily="34" charset="0"/>
              <a:ea typeface="Arial" charset="-94"/>
              <a:cs typeface="Arial" charset="-94"/>
            </a:endParaRPr>
          </a:p>
        </p:txBody>
      </p:sp>
      <p:sp>
        <p:nvSpPr>
          <p:cNvPr id="6" name="Başlık 1"/>
          <p:cNvSpPr txBox="1">
            <a:spLocks/>
          </p:cNvSpPr>
          <p:nvPr/>
        </p:nvSpPr>
        <p:spPr bwMode="auto">
          <a:xfrm>
            <a:off x="-39082" y="299089"/>
            <a:ext cx="7787640" cy="537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853" tIns="42926" rIns="85853" bIns="42926" numCol="1" anchor="ctr" anchorCtr="0" compatLnSpc="1">
            <a:prstTxWarp prst="textNoShape">
              <a:avLst/>
            </a:prstTxWarp>
          </a:bodyPr>
          <a:lstStyle>
            <a:lvl1pPr algn="ctr" rtl="0" eaLnBrk="1" fontAlgn="base" hangingPunct="1">
              <a:spcBef>
                <a:spcPct val="0"/>
              </a:spcBef>
              <a:spcAft>
                <a:spcPct val="0"/>
              </a:spcAft>
              <a:defRPr sz="3400" kern="1200">
                <a:solidFill>
                  <a:schemeClr val="tx1"/>
                </a:solidFill>
                <a:latin typeface="+mj-lt"/>
                <a:ea typeface="+mj-ea"/>
                <a:cs typeface="+mj-cs"/>
              </a:defRPr>
            </a:lvl1pPr>
            <a:lvl2pPr algn="ctr" rtl="0" eaLnBrk="1" fontAlgn="base" hangingPunct="1">
              <a:spcBef>
                <a:spcPct val="0"/>
              </a:spcBef>
              <a:spcAft>
                <a:spcPct val="0"/>
              </a:spcAft>
              <a:defRPr sz="3400">
                <a:solidFill>
                  <a:schemeClr val="tx1"/>
                </a:solidFill>
                <a:latin typeface="Frutiger 95 Ultra Black" pitchFamily="50" charset="0"/>
              </a:defRPr>
            </a:lvl2pPr>
            <a:lvl3pPr algn="ctr" rtl="0" eaLnBrk="1" fontAlgn="base" hangingPunct="1">
              <a:spcBef>
                <a:spcPct val="0"/>
              </a:spcBef>
              <a:spcAft>
                <a:spcPct val="0"/>
              </a:spcAft>
              <a:defRPr sz="3400">
                <a:solidFill>
                  <a:schemeClr val="tx1"/>
                </a:solidFill>
                <a:latin typeface="Frutiger 95 Ultra Black" pitchFamily="50" charset="0"/>
              </a:defRPr>
            </a:lvl3pPr>
            <a:lvl4pPr algn="ctr" rtl="0" eaLnBrk="1" fontAlgn="base" hangingPunct="1">
              <a:spcBef>
                <a:spcPct val="0"/>
              </a:spcBef>
              <a:spcAft>
                <a:spcPct val="0"/>
              </a:spcAft>
              <a:defRPr sz="3400">
                <a:solidFill>
                  <a:schemeClr val="tx1"/>
                </a:solidFill>
                <a:latin typeface="Frutiger 95 Ultra Black" pitchFamily="50" charset="0"/>
              </a:defRPr>
            </a:lvl4pPr>
            <a:lvl5pPr algn="ctr" rtl="0" eaLnBrk="1" fontAlgn="base" hangingPunct="1">
              <a:spcBef>
                <a:spcPct val="0"/>
              </a:spcBef>
              <a:spcAft>
                <a:spcPct val="0"/>
              </a:spcAft>
              <a:defRPr sz="3400">
                <a:solidFill>
                  <a:schemeClr val="tx1"/>
                </a:solidFill>
                <a:latin typeface="Frutiger 95 Ultra Black" pitchFamily="50" charset="0"/>
              </a:defRPr>
            </a:lvl5pPr>
            <a:lvl6pPr marL="357721" algn="ctr" rtl="0" eaLnBrk="1" fontAlgn="base" hangingPunct="1">
              <a:spcBef>
                <a:spcPct val="0"/>
              </a:spcBef>
              <a:spcAft>
                <a:spcPct val="0"/>
              </a:spcAft>
              <a:defRPr sz="3400">
                <a:solidFill>
                  <a:schemeClr val="tx1"/>
                </a:solidFill>
                <a:latin typeface="Frutiger 95 Ultra Black" pitchFamily="50" charset="0"/>
              </a:defRPr>
            </a:lvl6pPr>
            <a:lvl7pPr marL="715442" algn="ctr" rtl="0" eaLnBrk="1" fontAlgn="base" hangingPunct="1">
              <a:spcBef>
                <a:spcPct val="0"/>
              </a:spcBef>
              <a:spcAft>
                <a:spcPct val="0"/>
              </a:spcAft>
              <a:defRPr sz="3400">
                <a:solidFill>
                  <a:schemeClr val="tx1"/>
                </a:solidFill>
                <a:latin typeface="Frutiger 95 Ultra Black" pitchFamily="50" charset="0"/>
              </a:defRPr>
            </a:lvl7pPr>
            <a:lvl8pPr marL="1073161" algn="ctr" rtl="0" eaLnBrk="1" fontAlgn="base" hangingPunct="1">
              <a:spcBef>
                <a:spcPct val="0"/>
              </a:spcBef>
              <a:spcAft>
                <a:spcPct val="0"/>
              </a:spcAft>
              <a:defRPr sz="3400">
                <a:solidFill>
                  <a:schemeClr val="tx1"/>
                </a:solidFill>
                <a:latin typeface="Frutiger 95 Ultra Black" pitchFamily="50" charset="0"/>
              </a:defRPr>
            </a:lvl8pPr>
            <a:lvl9pPr marL="1430881" algn="ctr" rtl="0" eaLnBrk="1" fontAlgn="base" hangingPunct="1">
              <a:spcBef>
                <a:spcPct val="0"/>
              </a:spcBef>
              <a:spcAft>
                <a:spcPct val="0"/>
              </a:spcAft>
              <a:defRPr sz="3400">
                <a:solidFill>
                  <a:schemeClr val="tx1"/>
                </a:solidFill>
                <a:latin typeface="Frutiger 95 Ultra Black" pitchFamily="50" charset="0"/>
              </a:defRPr>
            </a:lvl9pPr>
          </a:lstStyle>
          <a:p>
            <a:pPr defTabSz="1097280"/>
            <a:r>
              <a:rPr lang="tr-TR" sz="2640" b="1" dirty="0">
                <a:solidFill>
                  <a:srgbClr val="00759E">
                    <a:lumMod val="60000"/>
                    <a:lumOff val="40000"/>
                  </a:srgbClr>
                </a:solidFill>
                <a:latin typeface="Calibri" pitchFamily="34" charset="0"/>
                <a:ea typeface="Roboto Black" panose="02000000000000000000" pitchFamily="2" charset="0"/>
              </a:rPr>
              <a:t>Yurt Dışı Pazar Destek Programı</a:t>
            </a:r>
            <a:endParaRPr lang="tr-TR" sz="2280" b="1" dirty="0">
              <a:solidFill>
                <a:srgbClr val="00B0F0"/>
              </a:solidFill>
              <a:latin typeface="Frutiger 45 Light"/>
              <a:cs typeface="Arial Tur" pitchFamily="34" charset="0"/>
            </a:endParaRPr>
          </a:p>
        </p:txBody>
      </p:sp>
    </p:spTree>
    <p:extLst>
      <p:ext uri="{BB962C8B-B14F-4D97-AF65-F5344CB8AC3E}">
        <p14:creationId xmlns:p14="http://schemas.microsoft.com/office/powerpoint/2010/main" val="17057800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1026574"/>
            <a:fld id="{7C1868C5-B491-42BF-9F5C-46095BC3F40A}" type="slidenum">
              <a:rPr lang="tr-TR">
                <a:solidFill>
                  <a:srgbClr val="445469">
                    <a:tint val="75000"/>
                  </a:srgbClr>
                </a:solidFill>
                <a:latin typeface="Segoe UI"/>
                <a:ea typeface="ヒラギノ角ゴ Pro W3" pitchFamily="1" charset="-128"/>
              </a:rPr>
              <a:pPr defTabSz="1026574"/>
              <a:t>82</a:t>
            </a:fld>
            <a:endParaRPr lang="tr-TR" dirty="0">
              <a:solidFill>
                <a:srgbClr val="445469">
                  <a:tint val="75000"/>
                </a:srgbClr>
              </a:solidFill>
              <a:latin typeface="Segoe UI"/>
              <a:ea typeface="ヒラギノ角ゴ Pro W3" pitchFamily="1" charset="-128"/>
            </a:endParaRPr>
          </a:p>
        </p:txBody>
      </p:sp>
      <p:sp>
        <p:nvSpPr>
          <p:cNvPr id="7" name="Metin kutusu 4"/>
          <p:cNvSpPr txBox="1"/>
          <p:nvPr/>
        </p:nvSpPr>
        <p:spPr>
          <a:xfrm>
            <a:off x="4064593" y="145436"/>
            <a:ext cx="6649555" cy="50286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102642" tIns="51320" rIns="102642" bIns="51320" rtlCol="0">
            <a:spAutoFit/>
          </a:bodyPr>
          <a:lstStyle/>
          <a:p>
            <a:pPr algn="ctr" defTabSz="1026574"/>
            <a:r>
              <a:rPr lang="tr-TR" sz="2280" b="1" dirty="0">
                <a:solidFill>
                  <a:prstClr val="white"/>
                </a:solidFill>
                <a:latin typeface="Calibri" panose="020F0502020204030204" pitchFamily="34" charset="0"/>
              </a:rPr>
              <a:t>Desteklenecek Proje Giderleri</a:t>
            </a:r>
          </a:p>
        </p:txBody>
      </p:sp>
      <p:graphicFrame>
        <p:nvGraphicFramePr>
          <p:cNvPr id="8" name="Diyagram 7"/>
          <p:cNvGraphicFramePr/>
          <p:nvPr>
            <p:extLst/>
          </p:nvPr>
        </p:nvGraphicFramePr>
        <p:xfrm>
          <a:off x="1430153" y="836713"/>
          <a:ext cx="9409459" cy="54438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2678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1026574"/>
            <a:fld id="{7C1868C5-B491-42BF-9F5C-46095BC3F40A}" type="slidenum">
              <a:rPr lang="tr-TR">
                <a:solidFill>
                  <a:srgbClr val="445469">
                    <a:tint val="75000"/>
                  </a:srgbClr>
                </a:solidFill>
                <a:latin typeface="Segoe UI"/>
                <a:ea typeface="ヒラギノ角ゴ Pro W3" pitchFamily="1" charset="-128"/>
              </a:rPr>
              <a:pPr defTabSz="1026574"/>
              <a:t>83</a:t>
            </a:fld>
            <a:endParaRPr lang="tr-TR" dirty="0">
              <a:solidFill>
                <a:srgbClr val="445469">
                  <a:tint val="75000"/>
                </a:srgbClr>
              </a:solidFill>
              <a:latin typeface="Segoe UI"/>
              <a:ea typeface="ヒラギノ角ゴ Pro W3" pitchFamily="1" charset="-128"/>
            </a:endParaRPr>
          </a:p>
        </p:txBody>
      </p:sp>
      <p:sp>
        <p:nvSpPr>
          <p:cNvPr id="7" name="Metin kutusu 4"/>
          <p:cNvSpPr txBox="1"/>
          <p:nvPr/>
        </p:nvSpPr>
        <p:spPr>
          <a:xfrm>
            <a:off x="3999567" y="59026"/>
            <a:ext cx="6454422" cy="564153"/>
          </a:xfrm>
          <a:prstGeom prst="roundRect">
            <a:avLst/>
          </a:prstGeom>
        </p:spPr>
        <p:style>
          <a:lnRef idx="1">
            <a:schemeClr val="accent5"/>
          </a:lnRef>
          <a:fillRef idx="3">
            <a:schemeClr val="accent5"/>
          </a:fillRef>
          <a:effectRef idx="2">
            <a:schemeClr val="accent5"/>
          </a:effectRef>
          <a:fontRef idx="minor">
            <a:schemeClr val="lt1"/>
          </a:fontRef>
        </p:style>
        <p:txBody>
          <a:bodyPr wrap="square" lIns="102642" tIns="51320" rIns="102642" bIns="51320" rtlCol="0">
            <a:spAutoFit/>
          </a:bodyPr>
          <a:lstStyle/>
          <a:p>
            <a:pPr algn="ctr" defTabSz="1026574"/>
            <a:r>
              <a:rPr lang="tr-TR" sz="2640" b="1" dirty="0">
                <a:solidFill>
                  <a:prstClr val="white"/>
                </a:solidFill>
                <a:latin typeface="Calibri" panose="020F0502020204030204" pitchFamily="34" charset="0"/>
              </a:rPr>
              <a:t>Desteklenecek Proje Giderleri</a:t>
            </a:r>
          </a:p>
        </p:txBody>
      </p:sp>
      <p:graphicFrame>
        <p:nvGraphicFramePr>
          <p:cNvPr id="8" name="Diyagram 7"/>
          <p:cNvGraphicFramePr/>
          <p:nvPr>
            <p:extLst/>
          </p:nvPr>
        </p:nvGraphicFramePr>
        <p:xfrm>
          <a:off x="1430153" y="750302"/>
          <a:ext cx="10152247" cy="58758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71351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1026574"/>
            <a:fld id="{7C1868C5-B491-42BF-9F5C-46095BC3F40A}" type="slidenum">
              <a:rPr lang="tr-TR">
                <a:solidFill>
                  <a:srgbClr val="445469">
                    <a:tint val="75000"/>
                  </a:srgbClr>
                </a:solidFill>
                <a:latin typeface="Segoe UI"/>
                <a:ea typeface="ヒラギノ角ゴ Pro W3" pitchFamily="1" charset="-128"/>
              </a:rPr>
              <a:pPr defTabSz="1026574"/>
              <a:t>84</a:t>
            </a:fld>
            <a:endParaRPr lang="tr-TR" dirty="0">
              <a:solidFill>
                <a:srgbClr val="445469">
                  <a:tint val="75000"/>
                </a:srgbClr>
              </a:solidFill>
              <a:latin typeface="Segoe UI"/>
              <a:ea typeface="ヒラギノ角ゴ Pro W3" pitchFamily="1" charset="-128"/>
            </a:endParaRPr>
          </a:p>
        </p:txBody>
      </p:sp>
      <p:sp>
        <p:nvSpPr>
          <p:cNvPr id="7" name="Metin kutusu 4"/>
          <p:cNvSpPr txBox="1"/>
          <p:nvPr/>
        </p:nvSpPr>
        <p:spPr>
          <a:xfrm>
            <a:off x="3999567" y="286468"/>
            <a:ext cx="6454422" cy="564153"/>
          </a:xfrm>
          <a:prstGeom prst="roundRect">
            <a:avLst/>
          </a:prstGeom>
        </p:spPr>
        <p:style>
          <a:lnRef idx="1">
            <a:schemeClr val="accent5"/>
          </a:lnRef>
          <a:fillRef idx="3">
            <a:schemeClr val="accent5"/>
          </a:fillRef>
          <a:effectRef idx="2">
            <a:schemeClr val="accent5"/>
          </a:effectRef>
          <a:fontRef idx="minor">
            <a:schemeClr val="lt1"/>
          </a:fontRef>
        </p:style>
        <p:txBody>
          <a:bodyPr wrap="square" lIns="102642" tIns="51320" rIns="102642" bIns="51320" rtlCol="0">
            <a:spAutoFit/>
          </a:bodyPr>
          <a:lstStyle/>
          <a:p>
            <a:pPr algn="ctr" defTabSz="1026574"/>
            <a:r>
              <a:rPr lang="tr-TR" sz="2640" b="1" dirty="0">
                <a:solidFill>
                  <a:prstClr val="white"/>
                </a:solidFill>
                <a:latin typeface="Calibri" panose="020F0502020204030204" pitchFamily="34" charset="0"/>
              </a:rPr>
              <a:t>Desteklenecek Proje Giderleri</a:t>
            </a:r>
          </a:p>
        </p:txBody>
      </p:sp>
      <p:graphicFrame>
        <p:nvGraphicFramePr>
          <p:cNvPr id="8" name="Diyagram 7"/>
          <p:cNvGraphicFramePr/>
          <p:nvPr>
            <p:extLst/>
          </p:nvPr>
        </p:nvGraphicFramePr>
        <p:xfrm>
          <a:off x="1430153" y="1109827"/>
          <a:ext cx="9409459" cy="51707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677484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1026574"/>
            <a:fld id="{7C1868C5-B491-42BF-9F5C-46095BC3F40A}" type="slidenum">
              <a:rPr lang="tr-TR">
                <a:solidFill>
                  <a:srgbClr val="445469">
                    <a:tint val="75000"/>
                  </a:srgbClr>
                </a:solidFill>
                <a:latin typeface="Segoe UI"/>
                <a:ea typeface="ヒラギノ角ゴ Pro W3" pitchFamily="1" charset="-128"/>
              </a:rPr>
              <a:pPr defTabSz="1026574"/>
              <a:t>85</a:t>
            </a:fld>
            <a:endParaRPr lang="tr-TR" dirty="0">
              <a:solidFill>
                <a:srgbClr val="445469">
                  <a:tint val="75000"/>
                </a:srgbClr>
              </a:solidFill>
              <a:latin typeface="Segoe UI"/>
              <a:ea typeface="ヒラギノ角ゴ Pro W3" pitchFamily="1" charset="-128"/>
            </a:endParaRPr>
          </a:p>
        </p:txBody>
      </p:sp>
      <p:sp>
        <p:nvSpPr>
          <p:cNvPr id="7" name="Metin kutusu 4"/>
          <p:cNvSpPr txBox="1"/>
          <p:nvPr/>
        </p:nvSpPr>
        <p:spPr>
          <a:xfrm>
            <a:off x="4014617" y="306909"/>
            <a:ext cx="6454422" cy="564153"/>
          </a:xfrm>
          <a:prstGeom prst="roundRect">
            <a:avLst/>
          </a:prstGeom>
        </p:spPr>
        <p:style>
          <a:lnRef idx="1">
            <a:schemeClr val="accent5"/>
          </a:lnRef>
          <a:fillRef idx="3">
            <a:schemeClr val="accent5"/>
          </a:fillRef>
          <a:effectRef idx="2">
            <a:schemeClr val="accent5"/>
          </a:effectRef>
          <a:fontRef idx="minor">
            <a:schemeClr val="lt1"/>
          </a:fontRef>
        </p:style>
        <p:txBody>
          <a:bodyPr wrap="square" lIns="102642" tIns="51320" rIns="102642" bIns="51320" rtlCol="0">
            <a:spAutoFit/>
          </a:bodyPr>
          <a:lstStyle/>
          <a:p>
            <a:pPr algn="ctr" defTabSz="1026574"/>
            <a:r>
              <a:rPr lang="tr-TR" sz="2640" b="1" dirty="0">
                <a:solidFill>
                  <a:prstClr val="white"/>
                </a:solidFill>
                <a:latin typeface="Calibri" panose="020F0502020204030204" pitchFamily="34" charset="0"/>
              </a:rPr>
              <a:t>Desteklenecek Proje Giderleri</a:t>
            </a:r>
          </a:p>
        </p:txBody>
      </p:sp>
      <p:graphicFrame>
        <p:nvGraphicFramePr>
          <p:cNvPr id="8" name="Diyagram 7"/>
          <p:cNvGraphicFramePr/>
          <p:nvPr>
            <p:extLst/>
          </p:nvPr>
        </p:nvGraphicFramePr>
        <p:xfrm>
          <a:off x="1430153" y="1109827"/>
          <a:ext cx="9409459" cy="51707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41524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1026574"/>
            <a:fld id="{7C1868C5-B491-42BF-9F5C-46095BC3F40A}" type="slidenum">
              <a:rPr lang="tr-TR">
                <a:solidFill>
                  <a:srgbClr val="445469">
                    <a:tint val="75000"/>
                  </a:srgbClr>
                </a:solidFill>
                <a:latin typeface="Segoe UI"/>
                <a:ea typeface="ヒラギノ角ゴ Pro W3" pitchFamily="1" charset="-128"/>
              </a:rPr>
              <a:pPr defTabSz="1026574"/>
              <a:t>86</a:t>
            </a:fld>
            <a:endParaRPr lang="tr-TR" dirty="0">
              <a:solidFill>
                <a:srgbClr val="445469">
                  <a:tint val="75000"/>
                </a:srgbClr>
              </a:solidFill>
              <a:latin typeface="Segoe UI"/>
              <a:ea typeface="ヒラギノ角ゴ Pro W3" pitchFamily="1" charset="-128"/>
            </a:endParaRPr>
          </a:p>
        </p:txBody>
      </p:sp>
      <p:sp>
        <p:nvSpPr>
          <p:cNvPr id="7" name="Metin kutusu 4"/>
          <p:cNvSpPr txBox="1"/>
          <p:nvPr/>
        </p:nvSpPr>
        <p:spPr>
          <a:xfrm>
            <a:off x="4144742" y="309013"/>
            <a:ext cx="6454422" cy="564153"/>
          </a:xfrm>
          <a:prstGeom prst="roundRect">
            <a:avLst/>
          </a:prstGeom>
        </p:spPr>
        <p:style>
          <a:lnRef idx="1">
            <a:schemeClr val="accent5"/>
          </a:lnRef>
          <a:fillRef idx="3">
            <a:schemeClr val="accent5"/>
          </a:fillRef>
          <a:effectRef idx="2">
            <a:schemeClr val="accent5"/>
          </a:effectRef>
          <a:fontRef idx="minor">
            <a:schemeClr val="lt1"/>
          </a:fontRef>
        </p:style>
        <p:txBody>
          <a:bodyPr wrap="square" lIns="102642" tIns="51320" rIns="102642" bIns="51320" rtlCol="0">
            <a:spAutoFit/>
          </a:bodyPr>
          <a:lstStyle/>
          <a:p>
            <a:pPr algn="ctr" defTabSz="1026574"/>
            <a:r>
              <a:rPr lang="tr-TR" sz="2640" b="1" dirty="0">
                <a:solidFill>
                  <a:prstClr val="white"/>
                </a:solidFill>
                <a:latin typeface="Calibri" panose="020F0502020204030204" pitchFamily="34" charset="0"/>
              </a:rPr>
              <a:t>Desteklenecek Proje Giderleri</a:t>
            </a:r>
          </a:p>
        </p:txBody>
      </p:sp>
      <p:graphicFrame>
        <p:nvGraphicFramePr>
          <p:cNvPr id="8" name="Diyagram 7"/>
          <p:cNvGraphicFramePr/>
          <p:nvPr>
            <p:extLst/>
          </p:nvPr>
        </p:nvGraphicFramePr>
        <p:xfrm>
          <a:off x="1430153" y="1109827"/>
          <a:ext cx="9804350" cy="51707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6788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Yuvarlatılmış Dikdörtgen 3"/>
          <p:cNvSpPr/>
          <p:nvPr/>
        </p:nvSpPr>
        <p:spPr>
          <a:xfrm>
            <a:off x="6559948" y="1032953"/>
            <a:ext cx="1358783" cy="508445"/>
          </a:xfrm>
          <a:prstGeom prst="roundRect">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lIns="85588" tIns="42794" rIns="85588" bIns="42794" rtlCol="0" anchor="ctr"/>
          <a:lstStyle/>
          <a:p>
            <a:pPr algn="ctr" defTabSz="1097280" fontAlgn="base">
              <a:spcBef>
                <a:spcPct val="0"/>
              </a:spcBef>
              <a:spcAft>
                <a:spcPct val="0"/>
              </a:spcAft>
            </a:pPr>
            <a:r>
              <a:rPr lang="tr-TR" sz="1560" dirty="0">
                <a:solidFill>
                  <a:srgbClr val="F6F8F8">
                    <a:lumMod val="10000"/>
                  </a:srgbClr>
                </a:solidFill>
                <a:latin typeface="Calibri" panose="020F0502020204030204" pitchFamily="34" charset="0"/>
                <a:ea typeface="ヒラギノ角ゴ Pro W3" pitchFamily="1" charset="-128"/>
              </a:rPr>
              <a:t>Proje</a:t>
            </a:r>
          </a:p>
          <a:p>
            <a:pPr algn="ctr" defTabSz="1097280" fontAlgn="base">
              <a:spcBef>
                <a:spcPct val="0"/>
              </a:spcBef>
              <a:spcAft>
                <a:spcPct val="0"/>
              </a:spcAft>
            </a:pPr>
            <a:r>
              <a:rPr lang="tr-TR" sz="1560" dirty="0">
                <a:solidFill>
                  <a:srgbClr val="F6F8F8">
                    <a:lumMod val="10000"/>
                  </a:srgbClr>
                </a:solidFill>
                <a:latin typeface="Calibri" panose="020F0502020204030204" pitchFamily="34" charset="0"/>
                <a:ea typeface="ヒラギノ角ゴ Pro W3" pitchFamily="1" charset="-128"/>
              </a:rPr>
              <a:t>Başvurusu</a:t>
            </a:r>
          </a:p>
        </p:txBody>
      </p:sp>
      <p:sp>
        <p:nvSpPr>
          <p:cNvPr id="11" name="Dikdörtgen 10"/>
          <p:cNvSpPr/>
          <p:nvPr/>
        </p:nvSpPr>
        <p:spPr>
          <a:xfrm>
            <a:off x="5551649" y="2464952"/>
            <a:ext cx="1358783" cy="443087"/>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lIns="85588" tIns="42794" rIns="85588" bIns="42794" rtlCol="0" anchor="ctr"/>
          <a:lstStyle/>
          <a:p>
            <a:pPr algn="ctr" defTabSz="1097280" fontAlgn="base">
              <a:spcBef>
                <a:spcPct val="0"/>
              </a:spcBef>
              <a:spcAft>
                <a:spcPct val="0"/>
              </a:spcAft>
            </a:pPr>
            <a:r>
              <a:rPr lang="tr-TR" sz="1560" dirty="0">
                <a:solidFill>
                  <a:srgbClr val="F6F8F8">
                    <a:lumMod val="10000"/>
                  </a:srgbClr>
                </a:solidFill>
                <a:latin typeface="Calibri" panose="020F0502020204030204" pitchFamily="34" charset="0"/>
                <a:ea typeface="ヒラギノ角ゴ Pro W3" pitchFamily="1" charset="-128"/>
              </a:rPr>
              <a:t>Ön İnceleme</a:t>
            </a:r>
          </a:p>
        </p:txBody>
      </p:sp>
      <p:sp>
        <p:nvSpPr>
          <p:cNvPr id="33" name="Akış Çizelgesi: Karar 32"/>
          <p:cNvSpPr/>
          <p:nvPr/>
        </p:nvSpPr>
        <p:spPr>
          <a:xfrm>
            <a:off x="4913229" y="3706189"/>
            <a:ext cx="2592854" cy="838602"/>
          </a:xfrm>
          <a:prstGeom prst="flowChartDecision">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lIns="85588" tIns="42794" rIns="85588" bIns="42794" rtlCol="0" anchor="ctr"/>
          <a:lstStyle/>
          <a:p>
            <a:pPr algn="ctr" defTabSz="1097280" fontAlgn="base">
              <a:spcBef>
                <a:spcPct val="0"/>
              </a:spcBef>
              <a:spcAft>
                <a:spcPct val="0"/>
              </a:spcAft>
            </a:pPr>
            <a:r>
              <a:rPr lang="tr-TR" sz="1440" dirty="0">
                <a:solidFill>
                  <a:sysClr val="windowText" lastClr="000000"/>
                </a:solidFill>
                <a:latin typeface="Calibri"/>
                <a:ea typeface="ヒラギノ角ゴ Pro W3" pitchFamily="1" charset="-128"/>
              </a:rPr>
              <a:t>Değerlendirme</a:t>
            </a:r>
          </a:p>
        </p:txBody>
      </p:sp>
      <p:sp>
        <p:nvSpPr>
          <p:cNvPr id="40" name="Dikdörtgen 39"/>
          <p:cNvSpPr/>
          <p:nvPr/>
        </p:nvSpPr>
        <p:spPr>
          <a:xfrm>
            <a:off x="4620041" y="1014538"/>
            <a:ext cx="1358783" cy="508445"/>
          </a:xfrm>
          <a:prstGeom prst="rect">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lIns="85588" tIns="42794" rIns="85588" bIns="42794" rtlCol="0" anchor="ctr"/>
          <a:lstStyle/>
          <a:p>
            <a:pPr algn="ctr" defTabSz="1097280" fontAlgn="base">
              <a:spcBef>
                <a:spcPct val="0"/>
              </a:spcBef>
              <a:spcAft>
                <a:spcPct val="0"/>
              </a:spcAft>
            </a:pPr>
            <a:r>
              <a:rPr lang="tr-TR" sz="1560" dirty="0">
                <a:solidFill>
                  <a:srgbClr val="F6F8F8">
                    <a:lumMod val="10000"/>
                  </a:srgbClr>
                </a:solidFill>
                <a:latin typeface="Calibri" panose="020F0502020204030204" pitchFamily="34" charset="0"/>
                <a:ea typeface="ヒラギノ角ゴ Pro W3" pitchFamily="1" charset="-128"/>
              </a:rPr>
              <a:t>Taahhütname</a:t>
            </a:r>
          </a:p>
        </p:txBody>
      </p:sp>
      <p:sp>
        <p:nvSpPr>
          <p:cNvPr id="43" name="Metin kutusu 42"/>
          <p:cNvSpPr txBox="1"/>
          <p:nvPr/>
        </p:nvSpPr>
        <p:spPr>
          <a:xfrm>
            <a:off x="5536493" y="3102989"/>
            <a:ext cx="687847" cy="252623"/>
          </a:xfrm>
          <a:prstGeom prst="rect">
            <a:avLst/>
          </a:prstGeom>
          <a:noFill/>
        </p:spPr>
        <p:txBody>
          <a:bodyPr wrap="square" lIns="85588" tIns="42794" rIns="85588" bIns="42794" rtlCol="0">
            <a:spAutoFit/>
          </a:bodyPr>
          <a:lstStyle/>
          <a:p>
            <a:pPr algn="ctr" defTabSz="1097280" fontAlgn="base">
              <a:spcBef>
                <a:spcPct val="0"/>
              </a:spcBef>
              <a:spcAft>
                <a:spcPct val="0"/>
              </a:spcAft>
            </a:pPr>
            <a:r>
              <a:rPr lang="tr-TR" sz="1080" b="1" dirty="0">
                <a:solidFill>
                  <a:srgbClr val="445469">
                    <a:lumMod val="50000"/>
                  </a:srgbClr>
                </a:solidFill>
                <a:latin typeface="Calibri" panose="020F0502020204030204" pitchFamily="34" charset="0"/>
                <a:ea typeface="ヒラギノ角ゴ Pro W3" pitchFamily="1" charset="-128"/>
              </a:rPr>
              <a:t>kabul</a:t>
            </a:r>
          </a:p>
        </p:txBody>
      </p:sp>
      <p:cxnSp>
        <p:nvCxnSpPr>
          <p:cNvPr id="46" name="Düz Ok Bağlayıcısı 45"/>
          <p:cNvCxnSpPr/>
          <p:nvPr/>
        </p:nvCxnSpPr>
        <p:spPr>
          <a:xfrm>
            <a:off x="5875556" y="4454026"/>
            <a:ext cx="4861" cy="6726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Düz Ok Bağlayıcısı 48"/>
          <p:cNvCxnSpPr/>
          <p:nvPr/>
        </p:nvCxnSpPr>
        <p:spPr>
          <a:xfrm>
            <a:off x="6231041" y="2885125"/>
            <a:ext cx="13768" cy="79393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4" name="Akış Çizelgesi: El İle Girdi 93"/>
          <p:cNvSpPr/>
          <p:nvPr/>
        </p:nvSpPr>
        <p:spPr>
          <a:xfrm>
            <a:off x="3198225" y="2464951"/>
            <a:ext cx="1416450" cy="619002"/>
          </a:xfrm>
          <a:prstGeom prst="flowChartManualInpu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588" tIns="42794" rIns="85588" bIns="42794" numCol="1" spcCol="0" rtlCol="0" fromWordArt="0" anchor="ctr" anchorCtr="0" forceAA="0" compatLnSpc="1">
            <a:prstTxWarp prst="textNoShape">
              <a:avLst/>
            </a:prstTxWarp>
            <a:noAutofit/>
          </a:bodyPr>
          <a:lstStyle/>
          <a:p>
            <a:pPr algn="ctr" defTabSz="1097280" fontAlgn="base">
              <a:spcBef>
                <a:spcPct val="0"/>
              </a:spcBef>
              <a:spcAft>
                <a:spcPct val="0"/>
              </a:spcAft>
            </a:pPr>
            <a:r>
              <a:rPr lang="tr-TR" sz="1440" dirty="0">
                <a:solidFill>
                  <a:srgbClr val="445469">
                    <a:lumMod val="50000"/>
                  </a:srgbClr>
                </a:solidFill>
                <a:latin typeface="Calibri" panose="020F0502020204030204" pitchFamily="34" charset="0"/>
              </a:rPr>
              <a:t>Uygulama Birimi</a:t>
            </a:r>
          </a:p>
        </p:txBody>
      </p:sp>
      <p:cxnSp>
        <p:nvCxnSpPr>
          <p:cNvPr id="6" name="Dirsek Bağlayıcısı 5"/>
          <p:cNvCxnSpPr>
            <a:stCxn id="94" idx="3"/>
          </p:cNvCxnSpPr>
          <p:nvPr/>
        </p:nvCxnSpPr>
        <p:spPr>
          <a:xfrm flipV="1">
            <a:off x="4614675" y="2774451"/>
            <a:ext cx="950330" cy="1"/>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sp>
        <p:nvSpPr>
          <p:cNvPr id="65" name="Metin kutusu 64"/>
          <p:cNvSpPr txBox="1"/>
          <p:nvPr/>
        </p:nvSpPr>
        <p:spPr>
          <a:xfrm>
            <a:off x="6441639" y="4664053"/>
            <a:ext cx="687847" cy="252623"/>
          </a:xfrm>
          <a:prstGeom prst="rect">
            <a:avLst/>
          </a:prstGeom>
          <a:noFill/>
        </p:spPr>
        <p:txBody>
          <a:bodyPr wrap="square" lIns="85588" tIns="42794" rIns="85588" bIns="42794" rtlCol="0">
            <a:spAutoFit/>
          </a:bodyPr>
          <a:lstStyle/>
          <a:p>
            <a:pPr algn="ctr" defTabSz="1097280" fontAlgn="base">
              <a:spcBef>
                <a:spcPct val="0"/>
              </a:spcBef>
              <a:spcAft>
                <a:spcPct val="0"/>
              </a:spcAft>
            </a:pPr>
            <a:r>
              <a:rPr lang="tr-TR" sz="1080" b="1" dirty="0">
                <a:solidFill>
                  <a:srgbClr val="445469">
                    <a:lumMod val="50000"/>
                  </a:srgbClr>
                </a:solidFill>
                <a:latin typeface="Calibri" panose="020F0502020204030204" pitchFamily="34" charset="0"/>
                <a:ea typeface="ヒラギノ角ゴ Pro W3" pitchFamily="1" charset="-128"/>
              </a:rPr>
              <a:t>ret</a:t>
            </a:r>
          </a:p>
        </p:txBody>
      </p:sp>
      <p:sp>
        <p:nvSpPr>
          <p:cNvPr id="67" name="Metin kutusu 66"/>
          <p:cNvSpPr txBox="1"/>
          <p:nvPr/>
        </p:nvSpPr>
        <p:spPr>
          <a:xfrm>
            <a:off x="5221081" y="4670167"/>
            <a:ext cx="687847" cy="252623"/>
          </a:xfrm>
          <a:prstGeom prst="rect">
            <a:avLst/>
          </a:prstGeom>
          <a:noFill/>
        </p:spPr>
        <p:txBody>
          <a:bodyPr wrap="square" lIns="85588" tIns="42794" rIns="85588" bIns="42794" rtlCol="0">
            <a:spAutoFit/>
          </a:bodyPr>
          <a:lstStyle/>
          <a:p>
            <a:pPr algn="ctr" defTabSz="1097280" fontAlgn="base">
              <a:spcBef>
                <a:spcPct val="0"/>
              </a:spcBef>
              <a:spcAft>
                <a:spcPct val="0"/>
              </a:spcAft>
            </a:pPr>
            <a:r>
              <a:rPr lang="tr-TR" sz="1080" b="1" dirty="0">
                <a:solidFill>
                  <a:srgbClr val="445469">
                    <a:lumMod val="50000"/>
                  </a:srgbClr>
                </a:solidFill>
                <a:latin typeface="Calibri" panose="020F0502020204030204" pitchFamily="34" charset="0"/>
                <a:ea typeface="ヒラギノ角ゴ Pro W3" pitchFamily="1" charset="-128"/>
              </a:rPr>
              <a:t>kabul</a:t>
            </a:r>
          </a:p>
        </p:txBody>
      </p:sp>
      <p:sp>
        <p:nvSpPr>
          <p:cNvPr id="35" name="Metin kutusu 34"/>
          <p:cNvSpPr txBox="1"/>
          <p:nvPr/>
        </p:nvSpPr>
        <p:spPr>
          <a:xfrm>
            <a:off x="738605" y="1244906"/>
            <a:ext cx="2459620" cy="1563751"/>
          </a:xfrm>
          <a:prstGeom prst="rect">
            <a:avLst/>
          </a:prstGeom>
          <a:noFill/>
        </p:spPr>
        <p:txBody>
          <a:bodyPr wrap="square" lIns="85588" tIns="42794" rIns="85588" bIns="42794" rtlCol="0">
            <a:spAutoFit/>
          </a:bodyPr>
          <a:lstStyle>
            <a:defPPr>
              <a:defRPr lang="en-US"/>
            </a:defPPr>
            <a:lvl1pPr algn="ctr">
              <a:defRPr sz="2400" b="1">
                <a:solidFill>
                  <a:schemeClr val="tx1">
                    <a:lumMod val="50000"/>
                  </a:schemeClr>
                </a:solidFill>
                <a:latin typeface="Calibri" panose="020F0502020204030204" pitchFamily="34" charset="0"/>
              </a:defRPr>
            </a:lvl1pPr>
          </a:lstStyle>
          <a:p>
            <a:pPr defTabSz="1097280" fontAlgn="base">
              <a:spcBef>
                <a:spcPct val="0"/>
              </a:spcBef>
              <a:spcAft>
                <a:spcPct val="0"/>
              </a:spcAft>
            </a:pPr>
            <a:r>
              <a:rPr lang="tr-TR" dirty="0">
                <a:solidFill>
                  <a:prstClr val="black">
                    <a:lumMod val="50000"/>
                  </a:prstClr>
                </a:solidFill>
                <a:ea typeface="ヒラギノ角ゴ Pro W3" pitchFamily="1" charset="-128"/>
              </a:rPr>
              <a:t>Proje Başvuru Kontrol Değerlendirme</a:t>
            </a:r>
          </a:p>
          <a:p>
            <a:pPr defTabSz="1097280" fontAlgn="base">
              <a:spcBef>
                <a:spcPct val="0"/>
              </a:spcBef>
              <a:spcAft>
                <a:spcPct val="0"/>
              </a:spcAft>
            </a:pPr>
            <a:r>
              <a:rPr lang="tr-TR" dirty="0">
                <a:solidFill>
                  <a:prstClr val="black">
                    <a:lumMod val="50000"/>
                  </a:prstClr>
                </a:solidFill>
                <a:ea typeface="ヒラギノ角ゴ Pro W3" pitchFamily="1" charset="-128"/>
              </a:rPr>
              <a:t>İş Akışı</a:t>
            </a:r>
          </a:p>
        </p:txBody>
      </p:sp>
      <p:sp>
        <p:nvSpPr>
          <p:cNvPr id="16" name="Slayt Numarası Yer Tutucusu 15"/>
          <p:cNvSpPr>
            <a:spLocks noGrp="1"/>
          </p:cNvSpPr>
          <p:nvPr>
            <p:ph type="sldNum" sz="quarter" idx="12"/>
          </p:nvPr>
        </p:nvSpPr>
        <p:spPr/>
        <p:txBody>
          <a:bodyPr/>
          <a:lstStyle/>
          <a:p>
            <a:pPr defTabSz="1097280"/>
            <a:fld id="{7C1868C5-B491-42BF-9F5C-46095BC3F40A}" type="slidenum">
              <a:rPr lang="tr-TR">
                <a:solidFill>
                  <a:prstClr val="black"/>
                </a:solidFill>
                <a:latin typeface="Frutiger 45 Light"/>
                <a:ea typeface="ヒラギノ角ゴ Pro W3" pitchFamily="1" charset="-128"/>
              </a:rPr>
              <a:pPr defTabSz="1097280"/>
              <a:t>87</a:t>
            </a:fld>
            <a:endParaRPr lang="tr-TR" dirty="0">
              <a:solidFill>
                <a:prstClr val="black"/>
              </a:solidFill>
              <a:latin typeface="Frutiger 45 Light"/>
              <a:ea typeface="ヒラギノ角ゴ Pro W3" pitchFamily="1" charset="-128"/>
            </a:endParaRPr>
          </a:p>
        </p:txBody>
      </p:sp>
      <p:sp>
        <p:nvSpPr>
          <p:cNvPr id="37" name="Akış Çizelgesi: El İle Girdi 36"/>
          <p:cNvSpPr/>
          <p:nvPr/>
        </p:nvSpPr>
        <p:spPr>
          <a:xfrm>
            <a:off x="3201434" y="3815987"/>
            <a:ext cx="1416450" cy="619002"/>
          </a:xfrm>
          <a:prstGeom prst="flowChartManualInpu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588" tIns="42794" rIns="85588" bIns="42794" numCol="1" spcCol="0" rtlCol="0" fromWordArt="0" anchor="ctr" anchorCtr="0" forceAA="0" compatLnSpc="1">
            <a:prstTxWarp prst="textNoShape">
              <a:avLst/>
            </a:prstTxWarp>
            <a:noAutofit/>
          </a:bodyPr>
          <a:lstStyle/>
          <a:p>
            <a:pPr algn="ctr" defTabSz="1097280" fontAlgn="base">
              <a:spcBef>
                <a:spcPct val="0"/>
              </a:spcBef>
              <a:spcAft>
                <a:spcPct val="0"/>
              </a:spcAft>
            </a:pPr>
            <a:r>
              <a:rPr lang="tr-TR" sz="1440" dirty="0">
                <a:solidFill>
                  <a:srgbClr val="445469">
                    <a:lumMod val="50000"/>
                  </a:srgbClr>
                </a:solidFill>
                <a:latin typeface="Calibri" panose="020F0502020204030204" pitchFamily="34" charset="0"/>
              </a:rPr>
              <a:t>Kurul</a:t>
            </a:r>
          </a:p>
        </p:txBody>
      </p:sp>
      <p:cxnSp>
        <p:nvCxnSpPr>
          <p:cNvPr id="9" name="Düz Ok Bağlayıcısı 8"/>
          <p:cNvCxnSpPr>
            <a:stCxn id="37" idx="3"/>
            <a:endCxn id="33" idx="1"/>
          </p:cNvCxnSpPr>
          <p:nvPr/>
        </p:nvCxnSpPr>
        <p:spPr>
          <a:xfrm>
            <a:off x="4617884" y="4125489"/>
            <a:ext cx="295345"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1" name="Düz Ok Bağlayıcısı 80"/>
          <p:cNvCxnSpPr>
            <a:stCxn id="11" idx="3"/>
            <a:endCxn id="83" idx="1"/>
          </p:cNvCxnSpPr>
          <p:nvPr/>
        </p:nvCxnSpPr>
        <p:spPr>
          <a:xfrm>
            <a:off x="6910432" y="2686495"/>
            <a:ext cx="657817" cy="328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3" name="Yuvarlatılmış Dikdörtgen 82"/>
          <p:cNvSpPr/>
          <p:nvPr/>
        </p:nvSpPr>
        <p:spPr>
          <a:xfrm>
            <a:off x="7568249" y="2494431"/>
            <a:ext cx="1097280" cy="39069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fontAlgn="base">
              <a:spcBef>
                <a:spcPct val="0"/>
              </a:spcBef>
              <a:spcAft>
                <a:spcPct val="0"/>
              </a:spcAft>
            </a:pPr>
            <a:r>
              <a:rPr lang="tr-TR" sz="1320" dirty="0">
                <a:solidFill>
                  <a:prstClr val="black"/>
                </a:solidFill>
                <a:latin typeface="Frutiger 45 Light"/>
              </a:rPr>
              <a:t>İşletmeye bildirme</a:t>
            </a:r>
          </a:p>
        </p:txBody>
      </p:sp>
      <p:sp>
        <p:nvSpPr>
          <p:cNvPr id="86" name="Metin kutusu 85"/>
          <p:cNvSpPr txBox="1"/>
          <p:nvPr/>
        </p:nvSpPr>
        <p:spPr>
          <a:xfrm>
            <a:off x="6880402" y="2464952"/>
            <a:ext cx="687847" cy="252623"/>
          </a:xfrm>
          <a:prstGeom prst="rect">
            <a:avLst/>
          </a:prstGeom>
          <a:noFill/>
        </p:spPr>
        <p:txBody>
          <a:bodyPr wrap="square" lIns="85588" tIns="42794" rIns="85588" bIns="42794" rtlCol="0">
            <a:spAutoFit/>
          </a:bodyPr>
          <a:lstStyle/>
          <a:p>
            <a:pPr algn="ctr" defTabSz="1097280" fontAlgn="base">
              <a:spcBef>
                <a:spcPct val="0"/>
              </a:spcBef>
              <a:spcAft>
                <a:spcPct val="0"/>
              </a:spcAft>
            </a:pPr>
            <a:r>
              <a:rPr lang="tr-TR" sz="1080" b="1" dirty="0">
                <a:solidFill>
                  <a:srgbClr val="445469">
                    <a:lumMod val="50000"/>
                  </a:srgbClr>
                </a:solidFill>
                <a:latin typeface="Calibri" panose="020F0502020204030204" pitchFamily="34" charset="0"/>
                <a:ea typeface="ヒラギノ角ゴ Pro W3" pitchFamily="1" charset="-128"/>
              </a:rPr>
              <a:t>Revizyon</a:t>
            </a:r>
          </a:p>
        </p:txBody>
      </p:sp>
      <p:sp>
        <p:nvSpPr>
          <p:cNvPr id="181" name="Metin kutusu 180"/>
          <p:cNvSpPr txBox="1"/>
          <p:nvPr/>
        </p:nvSpPr>
        <p:spPr>
          <a:xfrm>
            <a:off x="7239339" y="3439999"/>
            <a:ext cx="687847" cy="252623"/>
          </a:xfrm>
          <a:prstGeom prst="rect">
            <a:avLst/>
          </a:prstGeom>
          <a:noFill/>
        </p:spPr>
        <p:txBody>
          <a:bodyPr wrap="square" lIns="85588" tIns="42794" rIns="85588" bIns="42794" rtlCol="0">
            <a:spAutoFit/>
          </a:bodyPr>
          <a:lstStyle/>
          <a:p>
            <a:pPr algn="ctr" defTabSz="1097280" fontAlgn="base">
              <a:spcBef>
                <a:spcPct val="0"/>
              </a:spcBef>
              <a:spcAft>
                <a:spcPct val="0"/>
              </a:spcAft>
            </a:pPr>
            <a:r>
              <a:rPr lang="tr-TR" sz="1080" b="1" dirty="0">
                <a:solidFill>
                  <a:srgbClr val="445469">
                    <a:lumMod val="50000"/>
                  </a:srgbClr>
                </a:solidFill>
                <a:latin typeface="Calibri" panose="020F0502020204030204" pitchFamily="34" charset="0"/>
                <a:ea typeface="ヒラギノ角ゴ Pro W3" pitchFamily="1" charset="-128"/>
              </a:rPr>
              <a:t>Revizyon</a:t>
            </a:r>
          </a:p>
        </p:txBody>
      </p:sp>
      <p:cxnSp>
        <p:nvCxnSpPr>
          <p:cNvPr id="206" name="Düz Ok Bağlayıcısı 205"/>
          <p:cNvCxnSpPr/>
          <p:nvPr/>
        </p:nvCxnSpPr>
        <p:spPr>
          <a:xfrm flipH="1">
            <a:off x="6559948" y="4454026"/>
            <a:ext cx="8177" cy="6726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09" name="Yuvarlatılmış Dikdörtgen 208"/>
          <p:cNvSpPr/>
          <p:nvPr/>
        </p:nvSpPr>
        <p:spPr>
          <a:xfrm>
            <a:off x="5607305" y="5126705"/>
            <a:ext cx="1204702" cy="58191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fontAlgn="base">
              <a:spcBef>
                <a:spcPct val="0"/>
              </a:spcBef>
              <a:spcAft>
                <a:spcPct val="0"/>
              </a:spcAft>
            </a:pPr>
            <a:r>
              <a:rPr lang="tr-TR" sz="1320" dirty="0">
                <a:solidFill>
                  <a:prstClr val="black"/>
                </a:solidFill>
                <a:latin typeface="Frutiger 45 Light"/>
              </a:rPr>
              <a:t>İşletmeye bildirme</a:t>
            </a:r>
          </a:p>
        </p:txBody>
      </p:sp>
      <p:cxnSp>
        <p:nvCxnSpPr>
          <p:cNvPr id="234" name="Dirsek Bağlayıcısı 233"/>
          <p:cNvCxnSpPr>
            <a:stCxn id="33" idx="3"/>
            <a:endCxn id="83" idx="2"/>
          </p:cNvCxnSpPr>
          <p:nvPr/>
        </p:nvCxnSpPr>
        <p:spPr>
          <a:xfrm flipV="1">
            <a:off x="7506083" y="2885126"/>
            <a:ext cx="610806" cy="1240364"/>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235" name="Yuvarlatılmış Dikdörtgen 234"/>
          <p:cNvSpPr/>
          <p:nvPr/>
        </p:nvSpPr>
        <p:spPr>
          <a:xfrm>
            <a:off x="7927186" y="5163439"/>
            <a:ext cx="1358783" cy="508445"/>
          </a:xfrm>
          <a:prstGeom prst="roundRect">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lIns="85588" tIns="42794" rIns="85588" bIns="42794" rtlCol="0" anchor="ctr"/>
          <a:lstStyle/>
          <a:p>
            <a:pPr algn="ctr" defTabSz="1097280" fontAlgn="base">
              <a:spcBef>
                <a:spcPct val="0"/>
              </a:spcBef>
              <a:spcAft>
                <a:spcPct val="0"/>
              </a:spcAft>
            </a:pPr>
            <a:r>
              <a:rPr lang="tr-TR" sz="1560" dirty="0">
                <a:solidFill>
                  <a:srgbClr val="F6F8F8">
                    <a:lumMod val="10000"/>
                  </a:srgbClr>
                </a:solidFill>
                <a:latin typeface="Calibri" panose="020F0502020204030204" pitchFamily="34" charset="0"/>
                <a:ea typeface="ヒラギノ角ゴ Pro W3" pitchFamily="1" charset="-128"/>
              </a:rPr>
              <a:t>Uygulama Birimine İtiraz</a:t>
            </a:r>
          </a:p>
        </p:txBody>
      </p:sp>
      <p:cxnSp>
        <p:nvCxnSpPr>
          <p:cNvPr id="237" name="Düz Ok Bağlayıcısı 236"/>
          <p:cNvCxnSpPr/>
          <p:nvPr/>
        </p:nvCxnSpPr>
        <p:spPr>
          <a:xfrm flipV="1">
            <a:off x="6812006" y="5417662"/>
            <a:ext cx="1106724" cy="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 name="Artı 4"/>
          <p:cNvSpPr/>
          <p:nvPr/>
        </p:nvSpPr>
        <p:spPr>
          <a:xfrm>
            <a:off x="6096000" y="1095941"/>
            <a:ext cx="345638" cy="345638"/>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fontAlgn="base">
              <a:spcBef>
                <a:spcPct val="0"/>
              </a:spcBef>
              <a:spcAft>
                <a:spcPct val="0"/>
              </a:spcAft>
            </a:pPr>
            <a:endParaRPr lang="tr-TR" sz="2160">
              <a:solidFill>
                <a:prstClr val="white"/>
              </a:solidFill>
              <a:latin typeface="Frutiger 45 Light"/>
            </a:endParaRPr>
          </a:p>
        </p:txBody>
      </p:sp>
      <p:sp>
        <p:nvSpPr>
          <p:cNvPr id="20" name="Aşağı Ok 19"/>
          <p:cNvSpPr/>
          <p:nvPr/>
        </p:nvSpPr>
        <p:spPr>
          <a:xfrm>
            <a:off x="6209656" y="1665002"/>
            <a:ext cx="145573" cy="76622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fontAlgn="base">
              <a:spcBef>
                <a:spcPct val="0"/>
              </a:spcBef>
              <a:spcAft>
                <a:spcPct val="0"/>
              </a:spcAft>
            </a:pPr>
            <a:endParaRPr lang="tr-TR" sz="2160">
              <a:solidFill>
                <a:prstClr val="white"/>
              </a:solidFill>
              <a:latin typeface="Frutiger 45 Light"/>
            </a:endParaRPr>
          </a:p>
        </p:txBody>
      </p:sp>
      <p:sp>
        <p:nvSpPr>
          <p:cNvPr id="28" name="Başlık 1"/>
          <p:cNvSpPr txBox="1">
            <a:spLocks/>
          </p:cNvSpPr>
          <p:nvPr/>
        </p:nvSpPr>
        <p:spPr bwMode="auto">
          <a:xfrm>
            <a:off x="-39082" y="299089"/>
            <a:ext cx="7787640" cy="537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853" tIns="42926" rIns="85853" bIns="42926" numCol="1" anchor="ctr" anchorCtr="0" compatLnSpc="1">
            <a:prstTxWarp prst="textNoShape">
              <a:avLst/>
            </a:prstTxWarp>
          </a:bodyPr>
          <a:lstStyle>
            <a:lvl1pPr algn="ctr" rtl="0" eaLnBrk="1" fontAlgn="base" hangingPunct="1">
              <a:spcBef>
                <a:spcPct val="0"/>
              </a:spcBef>
              <a:spcAft>
                <a:spcPct val="0"/>
              </a:spcAft>
              <a:defRPr sz="3400" kern="1200">
                <a:solidFill>
                  <a:schemeClr val="tx1"/>
                </a:solidFill>
                <a:latin typeface="+mj-lt"/>
                <a:ea typeface="+mj-ea"/>
                <a:cs typeface="+mj-cs"/>
              </a:defRPr>
            </a:lvl1pPr>
            <a:lvl2pPr algn="ctr" rtl="0" eaLnBrk="1" fontAlgn="base" hangingPunct="1">
              <a:spcBef>
                <a:spcPct val="0"/>
              </a:spcBef>
              <a:spcAft>
                <a:spcPct val="0"/>
              </a:spcAft>
              <a:defRPr sz="3400">
                <a:solidFill>
                  <a:schemeClr val="tx1"/>
                </a:solidFill>
                <a:latin typeface="Frutiger 95 Ultra Black" pitchFamily="50" charset="0"/>
              </a:defRPr>
            </a:lvl2pPr>
            <a:lvl3pPr algn="ctr" rtl="0" eaLnBrk="1" fontAlgn="base" hangingPunct="1">
              <a:spcBef>
                <a:spcPct val="0"/>
              </a:spcBef>
              <a:spcAft>
                <a:spcPct val="0"/>
              </a:spcAft>
              <a:defRPr sz="3400">
                <a:solidFill>
                  <a:schemeClr val="tx1"/>
                </a:solidFill>
                <a:latin typeface="Frutiger 95 Ultra Black" pitchFamily="50" charset="0"/>
              </a:defRPr>
            </a:lvl3pPr>
            <a:lvl4pPr algn="ctr" rtl="0" eaLnBrk="1" fontAlgn="base" hangingPunct="1">
              <a:spcBef>
                <a:spcPct val="0"/>
              </a:spcBef>
              <a:spcAft>
                <a:spcPct val="0"/>
              </a:spcAft>
              <a:defRPr sz="3400">
                <a:solidFill>
                  <a:schemeClr val="tx1"/>
                </a:solidFill>
                <a:latin typeface="Frutiger 95 Ultra Black" pitchFamily="50" charset="0"/>
              </a:defRPr>
            </a:lvl4pPr>
            <a:lvl5pPr algn="ctr" rtl="0" eaLnBrk="1" fontAlgn="base" hangingPunct="1">
              <a:spcBef>
                <a:spcPct val="0"/>
              </a:spcBef>
              <a:spcAft>
                <a:spcPct val="0"/>
              </a:spcAft>
              <a:defRPr sz="3400">
                <a:solidFill>
                  <a:schemeClr val="tx1"/>
                </a:solidFill>
                <a:latin typeface="Frutiger 95 Ultra Black" pitchFamily="50" charset="0"/>
              </a:defRPr>
            </a:lvl5pPr>
            <a:lvl6pPr marL="357721" algn="ctr" rtl="0" eaLnBrk="1" fontAlgn="base" hangingPunct="1">
              <a:spcBef>
                <a:spcPct val="0"/>
              </a:spcBef>
              <a:spcAft>
                <a:spcPct val="0"/>
              </a:spcAft>
              <a:defRPr sz="3400">
                <a:solidFill>
                  <a:schemeClr val="tx1"/>
                </a:solidFill>
                <a:latin typeface="Frutiger 95 Ultra Black" pitchFamily="50" charset="0"/>
              </a:defRPr>
            </a:lvl6pPr>
            <a:lvl7pPr marL="715442" algn="ctr" rtl="0" eaLnBrk="1" fontAlgn="base" hangingPunct="1">
              <a:spcBef>
                <a:spcPct val="0"/>
              </a:spcBef>
              <a:spcAft>
                <a:spcPct val="0"/>
              </a:spcAft>
              <a:defRPr sz="3400">
                <a:solidFill>
                  <a:schemeClr val="tx1"/>
                </a:solidFill>
                <a:latin typeface="Frutiger 95 Ultra Black" pitchFamily="50" charset="0"/>
              </a:defRPr>
            </a:lvl7pPr>
            <a:lvl8pPr marL="1073161" algn="ctr" rtl="0" eaLnBrk="1" fontAlgn="base" hangingPunct="1">
              <a:spcBef>
                <a:spcPct val="0"/>
              </a:spcBef>
              <a:spcAft>
                <a:spcPct val="0"/>
              </a:spcAft>
              <a:defRPr sz="3400">
                <a:solidFill>
                  <a:schemeClr val="tx1"/>
                </a:solidFill>
                <a:latin typeface="Frutiger 95 Ultra Black" pitchFamily="50" charset="0"/>
              </a:defRPr>
            </a:lvl8pPr>
            <a:lvl9pPr marL="1430881" algn="ctr" rtl="0" eaLnBrk="1" fontAlgn="base" hangingPunct="1">
              <a:spcBef>
                <a:spcPct val="0"/>
              </a:spcBef>
              <a:spcAft>
                <a:spcPct val="0"/>
              </a:spcAft>
              <a:defRPr sz="3400">
                <a:solidFill>
                  <a:schemeClr val="tx1"/>
                </a:solidFill>
                <a:latin typeface="Frutiger 95 Ultra Black" pitchFamily="50" charset="0"/>
              </a:defRPr>
            </a:lvl9pPr>
          </a:lstStyle>
          <a:p>
            <a:pPr defTabSz="1097280"/>
            <a:r>
              <a:rPr lang="tr-TR" sz="2640" b="1" dirty="0">
                <a:solidFill>
                  <a:srgbClr val="00759E">
                    <a:lumMod val="60000"/>
                    <a:lumOff val="40000"/>
                  </a:srgbClr>
                </a:solidFill>
                <a:latin typeface="Calibri" pitchFamily="34" charset="0"/>
                <a:ea typeface="Roboto Black" panose="02000000000000000000" pitchFamily="2" charset="0"/>
              </a:rPr>
              <a:t>Yurt Dışı Pazar Destek Programı</a:t>
            </a:r>
            <a:endParaRPr lang="tr-TR" sz="2280" b="1" dirty="0">
              <a:solidFill>
                <a:srgbClr val="00B0F0"/>
              </a:solidFill>
              <a:latin typeface="Frutiger 45 Light"/>
              <a:cs typeface="Arial Tur" pitchFamily="34" charset="0"/>
            </a:endParaRPr>
          </a:p>
        </p:txBody>
      </p:sp>
    </p:spTree>
    <p:extLst>
      <p:ext uri="{BB962C8B-B14F-4D97-AF65-F5344CB8AC3E}">
        <p14:creationId xmlns:p14="http://schemas.microsoft.com/office/powerpoint/2010/main" val="6970149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Yuvarlatılmış Dikdörtgen 3"/>
          <p:cNvSpPr/>
          <p:nvPr/>
        </p:nvSpPr>
        <p:spPr>
          <a:xfrm>
            <a:off x="5536495" y="817711"/>
            <a:ext cx="1358783" cy="508445"/>
          </a:xfrm>
          <a:prstGeom prst="roundRect">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lIns="85588" tIns="42794" rIns="85588" bIns="42794" rtlCol="0" anchor="ctr"/>
          <a:lstStyle/>
          <a:p>
            <a:pPr algn="ctr" defTabSz="1097280" fontAlgn="base">
              <a:spcBef>
                <a:spcPct val="0"/>
              </a:spcBef>
              <a:spcAft>
                <a:spcPct val="0"/>
              </a:spcAft>
            </a:pPr>
            <a:r>
              <a:rPr lang="tr-TR" sz="1560" dirty="0">
                <a:solidFill>
                  <a:srgbClr val="F6F8F8">
                    <a:lumMod val="10000"/>
                  </a:srgbClr>
                </a:solidFill>
                <a:latin typeface="Calibri" panose="020F0502020204030204" pitchFamily="34" charset="0"/>
                <a:ea typeface="ヒラギノ角ゴ Pro W3" pitchFamily="1" charset="-128"/>
              </a:rPr>
              <a:t>Uygulama Birimine İtiraz</a:t>
            </a:r>
          </a:p>
        </p:txBody>
      </p:sp>
      <p:sp>
        <p:nvSpPr>
          <p:cNvPr id="11" name="Dikdörtgen 10"/>
          <p:cNvSpPr/>
          <p:nvPr/>
        </p:nvSpPr>
        <p:spPr>
          <a:xfrm>
            <a:off x="5536495" y="2808659"/>
            <a:ext cx="1358783" cy="443087"/>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lIns="85588" tIns="42794" rIns="85588" bIns="42794" rtlCol="0" anchor="ctr"/>
          <a:lstStyle/>
          <a:p>
            <a:pPr algn="ctr" defTabSz="1097280" fontAlgn="base">
              <a:spcBef>
                <a:spcPct val="0"/>
              </a:spcBef>
              <a:spcAft>
                <a:spcPct val="0"/>
              </a:spcAft>
            </a:pPr>
            <a:r>
              <a:rPr lang="tr-TR" sz="1560" dirty="0">
                <a:solidFill>
                  <a:srgbClr val="F6F8F8">
                    <a:lumMod val="10000"/>
                  </a:srgbClr>
                </a:solidFill>
                <a:latin typeface="Calibri" panose="020F0502020204030204" pitchFamily="34" charset="0"/>
                <a:ea typeface="ヒラギノ角ゴ Pro W3" pitchFamily="1" charset="-128"/>
              </a:rPr>
              <a:t>İtiraz Kurulu</a:t>
            </a:r>
          </a:p>
        </p:txBody>
      </p:sp>
      <p:sp>
        <p:nvSpPr>
          <p:cNvPr id="33" name="Akış Çizelgesi: Karar 32"/>
          <p:cNvSpPr/>
          <p:nvPr/>
        </p:nvSpPr>
        <p:spPr>
          <a:xfrm>
            <a:off x="4913875" y="3668164"/>
            <a:ext cx="2592854" cy="838602"/>
          </a:xfrm>
          <a:prstGeom prst="flowChartDecision">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lIns="85588" tIns="42794" rIns="85588" bIns="42794" rtlCol="0" anchor="ctr"/>
          <a:lstStyle/>
          <a:p>
            <a:pPr algn="ctr" defTabSz="1097280" fontAlgn="base">
              <a:spcBef>
                <a:spcPct val="0"/>
              </a:spcBef>
              <a:spcAft>
                <a:spcPct val="0"/>
              </a:spcAft>
            </a:pPr>
            <a:r>
              <a:rPr lang="tr-TR" sz="1440" dirty="0">
                <a:solidFill>
                  <a:sysClr val="windowText" lastClr="000000"/>
                </a:solidFill>
                <a:latin typeface="Calibri"/>
                <a:ea typeface="ヒラギノ角ゴ Pro W3" pitchFamily="1" charset="-128"/>
              </a:rPr>
              <a:t>Değerlendirme</a:t>
            </a:r>
          </a:p>
        </p:txBody>
      </p:sp>
      <p:sp>
        <p:nvSpPr>
          <p:cNvPr id="40" name="Dikdörtgen 39"/>
          <p:cNvSpPr/>
          <p:nvPr/>
        </p:nvSpPr>
        <p:spPr>
          <a:xfrm>
            <a:off x="4528334" y="4941634"/>
            <a:ext cx="1358783" cy="654629"/>
          </a:xfrm>
          <a:prstGeom prst="rect">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lIns="85588" tIns="42794" rIns="85588" bIns="42794" rtlCol="0" anchor="ctr"/>
          <a:lstStyle/>
          <a:p>
            <a:pPr algn="ctr" defTabSz="1097280" fontAlgn="base">
              <a:spcBef>
                <a:spcPct val="0"/>
              </a:spcBef>
              <a:spcAft>
                <a:spcPct val="0"/>
              </a:spcAft>
            </a:pPr>
            <a:r>
              <a:rPr lang="tr-TR" sz="1560" dirty="0">
                <a:solidFill>
                  <a:srgbClr val="F6F8F8">
                    <a:lumMod val="10000"/>
                  </a:srgbClr>
                </a:solidFill>
                <a:latin typeface="Calibri" panose="020F0502020204030204" pitchFamily="34" charset="0"/>
                <a:ea typeface="ヒラギノ角ゴ Pro W3" pitchFamily="1" charset="-128"/>
              </a:rPr>
              <a:t>Uygulama Birimine Bildirme</a:t>
            </a:r>
          </a:p>
        </p:txBody>
      </p:sp>
      <p:cxnSp>
        <p:nvCxnSpPr>
          <p:cNvPr id="46" name="Düz Ok Bağlayıcısı 45"/>
          <p:cNvCxnSpPr/>
          <p:nvPr/>
        </p:nvCxnSpPr>
        <p:spPr>
          <a:xfrm flipH="1">
            <a:off x="5425902" y="4465915"/>
            <a:ext cx="526502" cy="40639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4" name="Akış Çizelgesi: El İle Girdi 93"/>
          <p:cNvSpPr/>
          <p:nvPr/>
        </p:nvSpPr>
        <p:spPr>
          <a:xfrm>
            <a:off x="3231089" y="2732785"/>
            <a:ext cx="1416450" cy="619002"/>
          </a:xfrm>
          <a:prstGeom prst="flowChartManualInpu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588" tIns="42794" rIns="85588" bIns="42794" numCol="1" spcCol="0" rtlCol="0" fromWordArt="0" anchor="ctr" anchorCtr="0" forceAA="0" compatLnSpc="1">
            <a:prstTxWarp prst="textNoShape">
              <a:avLst/>
            </a:prstTxWarp>
            <a:noAutofit/>
          </a:bodyPr>
          <a:lstStyle/>
          <a:p>
            <a:pPr algn="ctr" defTabSz="1097280" fontAlgn="base">
              <a:spcBef>
                <a:spcPct val="0"/>
              </a:spcBef>
              <a:spcAft>
                <a:spcPct val="0"/>
              </a:spcAft>
            </a:pPr>
            <a:r>
              <a:rPr lang="tr-TR" sz="1440" dirty="0">
                <a:solidFill>
                  <a:srgbClr val="445469">
                    <a:lumMod val="50000"/>
                  </a:srgbClr>
                </a:solidFill>
                <a:latin typeface="Calibri" panose="020F0502020204030204" pitchFamily="34" charset="0"/>
              </a:rPr>
              <a:t>Başkanlık Birimi</a:t>
            </a:r>
          </a:p>
        </p:txBody>
      </p:sp>
      <p:cxnSp>
        <p:nvCxnSpPr>
          <p:cNvPr id="6" name="Dirsek Bağlayıcısı 5"/>
          <p:cNvCxnSpPr>
            <a:cxnSpLocks/>
          </p:cNvCxnSpPr>
          <p:nvPr/>
        </p:nvCxnSpPr>
        <p:spPr>
          <a:xfrm flipV="1">
            <a:off x="4647539" y="3028153"/>
            <a:ext cx="885268" cy="14132"/>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65" name="Metin kutusu 64"/>
          <p:cNvSpPr txBox="1"/>
          <p:nvPr/>
        </p:nvSpPr>
        <p:spPr>
          <a:xfrm>
            <a:off x="7162806" y="4465915"/>
            <a:ext cx="687847" cy="252623"/>
          </a:xfrm>
          <a:prstGeom prst="rect">
            <a:avLst/>
          </a:prstGeom>
          <a:noFill/>
        </p:spPr>
        <p:txBody>
          <a:bodyPr wrap="square" lIns="85588" tIns="42794" rIns="85588" bIns="42794" rtlCol="0">
            <a:spAutoFit/>
          </a:bodyPr>
          <a:lstStyle/>
          <a:p>
            <a:pPr algn="ctr" defTabSz="1097280" fontAlgn="base">
              <a:spcBef>
                <a:spcPct val="0"/>
              </a:spcBef>
              <a:spcAft>
                <a:spcPct val="0"/>
              </a:spcAft>
            </a:pPr>
            <a:r>
              <a:rPr lang="tr-TR" sz="1080" b="1" dirty="0">
                <a:solidFill>
                  <a:srgbClr val="445469">
                    <a:lumMod val="50000"/>
                  </a:srgbClr>
                </a:solidFill>
                <a:latin typeface="Calibri" panose="020F0502020204030204" pitchFamily="34" charset="0"/>
                <a:ea typeface="ヒラギノ角ゴ Pro W3" pitchFamily="1" charset="-128"/>
              </a:rPr>
              <a:t>ret</a:t>
            </a:r>
          </a:p>
        </p:txBody>
      </p:sp>
      <p:sp>
        <p:nvSpPr>
          <p:cNvPr id="67" name="Metin kutusu 66"/>
          <p:cNvSpPr txBox="1"/>
          <p:nvPr/>
        </p:nvSpPr>
        <p:spPr>
          <a:xfrm>
            <a:off x="4863802" y="4465915"/>
            <a:ext cx="687847" cy="252623"/>
          </a:xfrm>
          <a:prstGeom prst="rect">
            <a:avLst/>
          </a:prstGeom>
          <a:noFill/>
        </p:spPr>
        <p:txBody>
          <a:bodyPr wrap="square" lIns="85588" tIns="42794" rIns="85588" bIns="42794" rtlCol="0">
            <a:spAutoFit/>
          </a:bodyPr>
          <a:lstStyle/>
          <a:p>
            <a:pPr algn="ctr" defTabSz="1097280" fontAlgn="base">
              <a:spcBef>
                <a:spcPct val="0"/>
              </a:spcBef>
              <a:spcAft>
                <a:spcPct val="0"/>
              </a:spcAft>
            </a:pPr>
            <a:r>
              <a:rPr lang="tr-TR" sz="1080" b="1" dirty="0">
                <a:solidFill>
                  <a:srgbClr val="445469">
                    <a:lumMod val="50000"/>
                  </a:srgbClr>
                </a:solidFill>
                <a:latin typeface="Calibri" panose="020F0502020204030204" pitchFamily="34" charset="0"/>
                <a:ea typeface="ヒラギノ角ゴ Pro W3" pitchFamily="1" charset="-128"/>
              </a:rPr>
              <a:t>kabul</a:t>
            </a:r>
          </a:p>
        </p:txBody>
      </p:sp>
      <p:sp>
        <p:nvSpPr>
          <p:cNvPr id="35" name="Metin kutusu 34"/>
          <p:cNvSpPr txBox="1"/>
          <p:nvPr/>
        </p:nvSpPr>
        <p:spPr>
          <a:xfrm>
            <a:off x="477221" y="1244907"/>
            <a:ext cx="2721004" cy="1194419"/>
          </a:xfrm>
          <a:prstGeom prst="rect">
            <a:avLst/>
          </a:prstGeom>
          <a:noFill/>
        </p:spPr>
        <p:txBody>
          <a:bodyPr wrap="square" lIns="85588" tIns="42794" rIns="85588" bIns="42794" rtlCol="0">
            <a:spAutoFit/>
          </a:bodyPr>
          <a:lstStyle>
            <a:defPPr>
              <a:defRPr lang="en-US"/>
            </a:defPPr>
            <a:lvl1pPr algn="ctr">
              <a:defRPr sz="2400" b="1">
                <a:solidFill>
                  <a:schemeClr val="tx1">
                    <a:lumMod val="50000"/>
                  </a:schemeClr>
                </a:solidFill>
                <a:latin typeface="Calibri" panose="020F0502020204030204" pitchFamily="34" charset="0"/>
              </a:defRPr>
            </a:lvl1pPr>
          </a:lstStyle>
          <a:p>
            <a:pPr defTabSz="1097280" fontAlgn="base">
              <a:spcBef>
                <a:spcPct val="0"/>
              </a:spcBef>
              <a:spcAft>
                <a:spcPct val="0"/>
              </a:spcAft>
            </a:pPr>
            <a:r>
              <a:rPr lang="tr-TR" dirty="0">
                <a:solidFill>
                  <a:prstClr val="black">
                    <a:lumMod val="50000"/>
                  </a:prstClr>
                </a:solidFill>
                <a:ea typeface="ヒラギノ角ゴ Pro W3" pitchFamily="1" charset="-128"/>
              </a:rPr>
              <a:t>İşletme İtirazı Değerlendirme</a:t>
            </a:r>
          </a:p>
          <a:p>
            <a:pPr defTabSz="1097280" fontAlgn="base">
              <a:spcBef>
                <a:spcPct val="0"/>
              </a:spcBef>
              <a:spcAft>
                <a:spcPct val="0"/>
              </a:spcAft>
            </a:pPr>
            <a:r>
              <a:rPr lang="tr-TR" dirty="0">
                <a:solidFill>
                  <a:prstClr val="black">
                    <a:lumMod val="50000"/>
                  </a:prstClr>
                </a:solidFill>
                <a:ea typeface="ヒラギノ角ゴ Pro W3" pitchFamily="1" charset="-128"/>
              </a:rPr>
              <a:t>İş Akışı</a:t>
            </a:r>
          </a:p>
        </p:txBody>
      </p:sp>
      <p:sp>
        <p:nvSpPr>
          <p:cNvPr id="16" name="Slayt Numarası Yer Tutucusu 15"/>
          <p:cNvSpPr>
            <a:spLocks noGrp="1"/>
          </p:cNvSpPr>
          <p:nvPr>
            <p:ph type="sldNum" sz="quarter" idx="12"/>
          </p:nvPr>
        </p:nvSpPr>
        <p:spPr/>
        <p:txBody>
          <a:bodyPr/>
          <a:lstStyle/>
          <a:p>
            <a:pPr defTabSz="1097280"/>
            <a:fld id="{7C1868C5-B491-42BF-9F5C-46095BC3F40A}" type="slidenum">
              <a:rPr lang="tr-TR">
                <a:solidFill>
                  <a:prstClr val="black"/>
                </a:solidFill>
                <a:latin typeface="Frutiger 45 Light"/>
                <a:ea typeface="ヒラギノ角ゴ Pro W3" pitchFamily="1" charset="-128"/>
              </a:rPr>
              <a:pPr defTabSz="1097280"/>
              <a:t>88</a:t>
            </a:fld>
            <a:endParaRPr lang="tr-TR" dirty="0">
              <a:solidFill>
                <a:prstClr val="black"/>
              </a:solidFill>
              <a:latin typeface="Frutiger 45 Light"/>
              <a:ea typeface="ヒラギノ角ゴ Pro W3" pitchFamily="1" charset="-128"/>
            </a:endParaRPr>
          </a:p>
        </p:txBody>
      </p:sp>
      <p:cxnSp>
        <p:nvCxnSpPr>
          <p:cNvPr id="206" name="Düz Ok Bağlayıcısı 205"/>
          <p:cNvCxnSpPr/>
          <p:nvPr/>
        </p:nvCxnSpPr>
        <p:spPr>
          <a:xfrm>
            <a:off x="6535374" y="4452450"/>
            <a:ext cx="719806" cy="40639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09" name="Yuvarlatılmış Dikdörtgen 208"/>
          <p:cNvSpPr/>
          <p:nvPr/>
        </p:nvSpPr>
        <p:spPr>
          <a:xfrm>
            <a:off x="6787277" y="4933132"/>
            <a:ext cx="1298150" cy="698167"/>
          </a:xfrm>
          <a:prstGeom prst="roundRect">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lIns="85588" tIns="42794" rIns="85588" bIns="42794" rtlCol="0" anchor="ctr"/>
          <a:lstStyle/>
          <a:p>
            <a:pPr algn="ctr" defTabSz="1097280" fontAlgn="base">
              <a:spcBef>
                <a:spcPct val="0"/>
              </a:spcBef>
              <a:spcAft>
                <a:spcPct val="0"/>
              </a:spcAft>
            </a:pPr>
            <a:r>
              <a:rPr lang="tr-TR" sz="1560" dirty="0">
                <a:solidFill>
                  <a:srgbClr val="F6F8F8">
                    <a:lumMod val="10000"/>
                  </a:srgbClr>
                </a:solidFill>
                <a:latin typeface="Calibri" panose="020F0502020204030204" pitchFamily="34" charset="0"/>
                <a:ea typeface="ヒラギノ角ゴ Pro W3" pitchFamily="1" charset="-128"/>
              </a:rPr>
              <a:t>İşletmeye bildirme</a:t>
            </a:r>
          </a:p>
        </p:txBody>
      </p:sp>
      <p:sp>
        <p:nvSpPr>
          <p:cNvPr id="235" name="Yuvarlatılmış Dikdörtgen 234"/>
          <p:cNvSpPr/>
          <p:nvPr/>
        </p:nvSpPr>
        <p:spPr>
          <a:xfrm>
            <a:off x="5291877" y="1771608"/>
            <a:ext cx="1808306" cy="508445"/>
          </a:xfrm>
          <a:prstGeom prst="roundRect">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lIns="85588" tIns="42794" rIns="85588" bIns="42794" rtlCol="0" anchor="ctr"/>
          <a:lstStyle/>
          <a:p>
            <a:pPr algn="ctr" defTabSz="1097280" fontAlgn="base">
              <a:spcBef>
                <a:spcPct val="0"/>
              </a:spcBef>
              <a:spcAft>
                <a:spcPct val="0"/>
              </a:spcAft>
            </a:pPr>
            <a:r>
              <a:rPr lang="tr-TR" sz="1560" dirty="0">
                <a:solidFill>
                  <a:srgbClr val="F6F8F8">
                    <a:lumMod val="10000"/>
                  </a:srgbClr>
                </a:solidFill>
                <a:latin typeface="Calibri" panose="020F0502020204030204" pitchFamily="34" charset="0"/>
                <a:ea typeface="ヒラギノ角ゴ Pro W3" pitchFamily="1" charset="-128"/>
              </a:rPr>
              <a:t>Başkanlık Birimine iletme</a:t>
            </a:r>
          </a:p>
        </p:txBody>
      </p:sp>
      <p:cxnSp>
        <p:nvCxnSpPr>
          <p:cNvPr id="5" name="Düz Ok Bağlayıcısı 4"/>
          <p:cNvCxnSpPr/>
          <p:nvPr/>
        </p:nvCxnSpPr>
        <p:spPr>
          <a:xfrm flipH="1">
            <a:off x="6196030" y="1389149"/>
            <a:ext cx="1" cy="40678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Düz Ok Bağlayıcısı 17"/>
          <p:cNvCxnSpPr>
            <a:stCxn id="11" idx="2"/>
            <a:endCxn id="33" idx="0"/>
          </p:cNvCxnSpPr>
          <p:nvPr/>
        </p:nvCxnSpPr>
        <p:spPr>
          <a:xfrm flipH="1">
            <a:off x="6210303" y="3251746"/>
            <a:ext cx="5584" cy="41641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Düz Ok Bağlayıcısı 25"/>
          <p:cNvCxnSpPr>
            <a:endCxn id="11" idx="0"/>
          </p:cNvCxnSpPr>
          <p:nvPr/>
        </p:nvCxnSpPr>
        <p:spPr>
          <a:xfrm>
            <a:off x="6210306" y="2248342"/>
            <a:ext cx="5581" cy="56031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Başlık 1"/>
          <p:cNvSpPr txBox="1">
            <a:spLocks/>
          </p:cNvSpPr>
          <p:nvPr/>
        </p:nvSpPr>
        <p:spPr bwMode="auto">
          <a:xfrm>
            <a:off x="-39082" y="299089"/>
            <a:ext cx="7787640" cy="537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853" tIns="42926" rIns="85853" bIns="42926" numCol="1" anchor="ctr" anchorCtr="0" compatLnSpc="1">
            <a:prstTxWarp prst="textNoShape">
              <a:avLst/>
            </a:prstTxWarp>
          </a:bodyPr>
          <a:lstStyle>
            <a:lvl1pPr algn="ctr" rtl="0" eaLnBrk="1" fontAlgn="base" hangingPunct="1">
              <a:spcBef>
                <a:spcPct val="0"/>
              </a:spcBef>
              <a:spcAft>
                <a:spcPct val="0"/>
              </a:spcAft>
              <a:defRPr sz="3400" kern="1200">
                <a:solidFill>
                  <a:schemeClr val="tx1"/>
                </a:solidFill>
                <a:latin typeface="+mj-lt"/>
                <a:ea typeface="+mj-ea"/>
                <a:cs typeface="+mj-cs"/>
              </a:defRPr>
            </a:lvl1pPr>
            <a:lvl2pPr algn="ctr" rtl="0" eaLnBrk="1" fontAlgn="base" hangingPunct="1">
              <a:spcBef>
                <a:spcPct val="0"/>
              </a:spcBef>
              <a:spcAft>
                <a:spcPct val="0"/>
              </a:spcAft>
              <a:defRPr sz="3400">
                <a:solidFill>
                  <a:schemeClr val="tx1"/>
                </a:solidFill>
                <a:latin typeface="Frutiger 95 Ultra Black" pitchFamily="50" charset="0"/>
              </a:defRPr>
            </a:lvl2pPr>
            <a:lvl3pPr algn="ctr" rtl="0" eaLnBrk="1" fontAlgn="base" hangingPunct="1">
              <a:spcBef>
                <a:spcPct val="0"/>
              </a:spcBef>
              <a:spcAft>
                <a:spcPct val="0"/>
              </a:spcAft>
              <a:defRPr sz="3400">
                <a:solidFill>
                  <a:schemeClr val="tx1"/>
                </a:solidFill>
                <a:latin typeface="Frutiger 95 Ultra Black" pitchFamily="50" charset="0"/>
              </a:defRPr>
            </a:lvl3pPr>
            <a:lvl4pPr algn="ctr" rtl="0" eaLnBrk="1" fontAlgn="base" hangingPunct="1">
              <a:spcBef>
                <a:spcPct val="0"/>
              </a:spcBef>
              <a:spcAft>
                <a:spcPct val="0"/>
              </a:spcAft>
              <a:defRPr sz="3400">
                <a:solidFill>
                  <a:schemeClr val="tx1"/>
                </a:solidFill>
                <a:latin typeface="Frutiger 95 Ultra Black" pitchFamily="50" charset="0"/>
              </a:defRPr>
            </a:lvl4pPr>
            <a:lvl5pPr algn="ctr" rtl="0" eaLnBrk="1" fontAlgn="base" hangingPunct="1">
              <a:spcBef>
                <a:spcPct val="0"/>
              </a:spcBef>
              <a:spcAft>
                <a:spcPct val="0"/>
              </a:spcAft>
              <a:defRPr sz="3400">
                <a:solidFill>
                  <a:schemeClr val="tx1"/>
                </a:solidFill>
                <a:latin typeface="Frutiger 95 Ultra Black" pitchFamily="50" charset="0"/>
              </a:defRPr>
            </a:lvl5pPr>
            <a:lvl6pPr marL="357721" algn="ctr" rtl="0" eaLnBrk="1" fontAlgn="base" hangingPunct="1">
              <a:spcBef>
                <a:spcPct val="0"/>
              </a:spcBef>
              <a:spcAft>
                <a:spcPct val="0"/>
              </a:spcAft>
              <a:defRPr sz="3400">
                <a:solidFill>
                  <a:schemeClr val="tx1"/>
                </a:solidFill>
                <a:latin typeface="Frutiger 95 Ultra Black" pitchFamily="50" charset="0"/>
              </a:defRPr>
            </a:lvl6pPr>
            <a:lvl7pPr marL="715442" algn="ctr" rtl="0" eaLnBrk="1" fontAlgn="base" hangingPunct="1">
              <a:spcBef>
                <a:spcPct val="0"/>
              </a:spcBef>
              <a:spcAft>
                <a:spcPct val="0"/>
              </a:spcAft>
              <a:defRPr sz="3400">
                <a:solidFill>
                  <a:schemeClr val="tx1"/>
                </a:solidFill>
                <a:latin typeface="Frutiger 95 Ultra Black" pitchFamily="50" charset="0"/>
              </a:defRPr>
            </a:lvl7pPr>
            <a:lvl8pPr marL="1073161" algn="ctr" rtl="0" eaLnBrk="1" fontAlgn="base" hangingPunct="1">
              <a:spcBef>
                <a:spcPct val="0"/>
              </a:spcBef>
              <a:spcAft>
                <a:spcPct val="0"/>
              </a:spcAft>
              <a:defRPr sz="3400">
                <a:solidFill>
                  <a:schemeClr val="tx1"/>
                </a:solidFill>
                <a:latin typeface="Frutiger 95 Ultra Black" pitchFamily="50" charset="0"/>
              </a:defRPr>
            </a:lvl8pPr>
            <a:lvl9pPr marL="1430881" algn="ctr" rtl="0" eaLnBrk="1" fontAlgn="base" hangingPunct="1">
              <a:spcBef>
                <a:spcPct val="0"/>
              </a:spcBef>
              <a:spcAft>
                <a:spcPct val="0"/>
              </a:spcAft>
              <a:defRPr sz="3400">
                <a:solidFill>
                  <a:schemeClr val="tx1"/>
                </a:solidFill>
                <a:latin typeface="Frutiger 95 Ultra Black" pitchFamily="50" charset="0"/>
              </a:defRPr>
            </a:lvl9pPr>
          </a:lstStyle>
          <a:p>
            <a:pPr defTabSz="1097280"/>
            <a:r>
              <a:rPr lang="tr-TR" sz="2640" b="1" dirty="0">
                <a:solidFill>
                  <a:srgbClr val="00759E">
                    <a:lumMod val="60000"/>
                    <a:lumOff val="40000"/>
                  </a:srgbClr>
                </a:solidFill>
                <a:latin typeface="Calibri" pitchFamily="34" charset="0"/>
                <a:ea typeface="Roboto Black" panose="02000000000000000000" pitchFamily="2" charset="0"/>
              </a:rPr>
              <a:t>Yurt Dışı Pazar Destek Programı</a:t>
            </a:r>
            <a:endParaRPr lang="tr-TR" sz="2280" b="1" dirty="0">
              <a:solidFill>
                <a:srgbClr val="00B0F0"/>
              </a:solidFill>
              <a:latin typeface="Frutiger 45 Light"/>
              <a:cs typeface="Arial Tur" pitchFamily="34" charset="0"/>
            </a:endParaRPr>
          </a:p>
        </p:txBody>
      </p:sp>
    </p:spTree>
    <p:extLst>
      <p:ext uri="{BB962C8B-B14F-4D97-AF65-F5344CB8AC3E}">
        <p14:creationId xmlns:p14="http://schemas.microsoft.com/office/powerpoint/2010/main" val="3062400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1 Başlık"/>
          <p:cNvSpPr>
            <a:spLocks noGrp="1"/>
          </p:cNvSpPr>
          <p:nvPr>
            <p:ph type="ctrTitle"/>
          </p:nvPr>
        </p:nvSpPr>
        <p:spPr>
          <a:xfrm>
            <a:off x="2195353" y="2130430"/>
            <a:ext cx="7801294" cy="1470025"/>
          </a:xfrm>
        </p:spPr>
        <p:txBody>
          <a:bodyPr/>
          <a:lstStyle/>
          <a:p>
            <a:pPr eaLnBrk="1" hangingPunct="1"/>
            <a:r>
              <a:rPr lang="tr-TR" dirty="0" smtClean="0"/>
              <a:t> </a:t>
            </a:r>
          </a:p>
        </p:txBody>
      </p:sp>
      <p:sp>
        <p:nvSpPr>
          <p:cNvPr id="18436" name="6 Metin kutusu"/>
          <p:cNvSpPr txBox="1">
            <a:spLocks noChangeArrowheads="1"/>
          </p:cNvSpPr>
          <p:nvPr/>
        </p:nvSpPr>
        <p:spPr bwMode="auto">
          <a:xfrm>
            <a:off x="2662830" y="2032506"/>
            <a:ext cx="7866014" cy="5251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810" b="1" i="0" u="none" strike="noStrike" kern="1200" cap="none" spc="0" normalizeH="0" baseline="0" noProof="0" dirty="0">
                <a:ln>
                  <a:noFill/>
                </a:ln>
                <a:solidFill>
                  <a:srgbClr val="FFFFFF"/>
                </a:solidFill>
                <a:effectLst/>
                <a:uLnTx/>
                <a:uFillTx/>
                <a:latin typeface="Roboto Light"/>
                <a:ea typeface="+mn-ea"/>
                <a:cs typeface="+mn-cs"/>
              </a:rPr>
              <a:t>KOSGEB GİRİŞİMCİLİK DESTEKLERİ</a:t>
            </a:r>
          </a:p>
        </p:txBody>
      </p:sp>
      <p:sp>
        <p:nvSpPr>
          <p:cNvPr id="18437" name="7 Metin kutusu"/>
          <p:cNvSpPr txBox="1">
            <a:spLocks noChangeArrowheads="1"/>
          </p:cNvSpPr>
          <p:nvPr/>
        </p:nvSpPr>
        <p:spPr bwMode="auto">
          <a:xfrm>
            <a:off x="3890732" y="3422649"/>
            <a:ext cx="6794264" cy="338554"/>
          </a:xfrm>
          <a:prstGeom prst="rect">
            <a:avLst/>
          </a:prstGeom>
          <a:noFill/>
          <a:ln w="9525">
            <a:noFill/>
            <a:miter lim="800000"/>
            <a:headEnd/>
            <a:tailEnd/>
          </a:ln>
        </p:spPr>
        <p:txBody>
          <a:bodyP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606" b="1" i="0" u="none" strike="noStrike" kern="1200" cap="none" spc="0" normalizeH="0" baseline="0" noProof="0" dirty="0">
                <a:ln>
                  <a:noFill/>
                </a:ln>
                <a:solidFill>
                  <a:srgbClr val="FFFFFF"/>
                </a:solidFill>
                <a:effectLst/>
                <a:uLnTx/>
                <a:uFillTx/>
                <a:latin typeface="Arial" charset="0"/>
                <a:ea typeface="+mn-ea"/>
                <a:cs typeface="Arial" charset="0"/>
              </a:rPr>
              <a:t> Eylül 2020</a:t>
            </a:r>
          </a:p>
        </p:txBody>
      </p:sp>
      <p:pic>
        <p:nvPicPr>
          <p:cNvPr id="8" name="Resim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8717548" cy="4741817"/>
          </a:xfrm>
          <a:prstGeom prst="rect">
            <a:avLst/>
          </a:prstGeom>
        </p:spPr>
      </p:pic>
      <p:sp>
        <p:nvSpPr>
          <p:cNvPr id="6" name="Dikdörtgen 5"/>
          <p:cNvSpPr/>
          <p:nvPr/>
        </p:nvSpPr>
        <p:spPr>
          <a:xfrm>
            <a:off x="3147934" y="3309614"/>
            <a:ext cx="9044066" cy="3650105"/>
          </a:xfrm>
          <a:prstGeom prst="rect">
            <a:avLst/>
          </a:prstGeom>
          <a:solidFill>
            <a:schemeClr val="tx2">
              <a:lumMod val="50000"/>
              <a:alpha val="9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4400" b="0" i="0" u="none" strike="noStrike" kern="1200" cap="none" spc="0" normalizeH="0" baseline="0" noProof="0" dirty="0" smtClean="0">
                <a:ln>
                  <a:noFill/>
                </a:ln>
                <a:solidFill>
                  <a:prstClr val="white"/>
                </a:solidFill>
                <a:effectLst/>
                <a:uLnTx/>
                <a:uFillTx/>
                <a:latin typeface="Roboto Black"/>
                <a:ea typeface="+mn-ea"/>
                <a:cs typeface="+mn-cs"/>
              </a:rPr>
              <a:t>İŞLETME GELİŞTİRME DESTEK PROGRAMI</a:t>
            </a:r>
            <a:endParaRPr kumimoji="0" lang="en-US" sz="4400" b="0" i="0" u="none" strike="noStrike" kern="1200" cap="none" spc="0" normalizeH="0" baseline="0" noProof="0" dirty="0">
              <a:ln>
                <a:noFill/>
              </a:ln>
              <a:solidFill>
                <a:prstClr val="white"/>
              </a:solidFill>
              <a:effectLst/>
              <a:uLnTx/>
              <a:uFillTx/>
              <a:latin typeface="Roboto Black"/>
              <a:ea typeface="+mn-ea"/>
              <a:cs typeface="+mn-cs"/>
            </a:endParaRPr>
          </a:p>
        </p:txBody>
      </p:sp>
    </p:spTree>
    <p:extLst>
      <p:ext uri="{BB962C8B-B14F-4D97-AF65-F5344CB8AC3E}">
        <p14:creationId xmlns:p14="http://schemas.microsoft.com/office/powerpoint/2010/main" val="41584953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3"/>
          <p:cNvPicPr>
            <a:picLocks noChangeAspect="1" noChangeArrowheads="1"/>
          </p:cNvPicPr>
          <p:nvPr/>
        </p:nvPicPr>
        <p:blipFill>
          <a:blip r:embed="rId9" cstate="print"/>
          <a:srcRect/>
          <a:stretch>
            <a:fillRect/>
          </a:stretch>
        </p:blipFill>
        <p:spPr bwMode="auto">
          <a:xfrm>
            <a:off x="593735" y="385052"/>
            <a:ext cx="960106" cy="677217"/>
          </a:xfrm>
          <a:prstGeom prst="rect">
            <a:avLst/>
          </a:prstGeom>
          <a:noFill/>
          <a:ln w="9525">
            <a:noFill/>
            <a:miter lim="800000"/>
            <a:headEnd/>
            <a:tailEnd/>
          </a:ln>
        </p:spPr>
      </p:pic>
      <p:sp>
        <p:nvSpPr>
          <p:cNvPr id="115" name="5 Metin kutusu"/>
          <p:cNvSpPr txBox="1"/>
          <p:nvPr/>
        </p:nvSpPr>
        <p:spPr>
          <a:xfrm>
            <a:off x="2011679" y="906298"/>
            <a:ext cx="6622869" cy="46307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9" b="1" i="0" u="none" strike="noStrike" kern="1200" cap="none" spc="0" normalizeH="0" baseline="0" noProof="0" dirty="0" err="1">
                <a:ln>
                  <a:noFill/>
                </a:ln>
                <a:solidFill>
                  <a:srgbClr val="C00000"/>
                </a:solidFill>
                <a:effectLst/>
                <a:uLnTx/>
                <a:uFillTx/>
                <a:latin typeface="Times New Roman" panose="02020603050405020304" pitchFamily="18" charset="0"/>
                <a:ea typeface="ヒラギノ角ゴ Pro W3" pitchFamily="1" charset="-128"/>
                <a:cs typeface="Times New Roman" panose="02020603050405020304" pitchFamily="18" charset="0"/>
              </a:rPr>
              <a:t>Ür</a:t>
            </a:r>
            <a:r>
              <a:rPr kumimoji="0" lang="tr-TR" sz="2409" b="1" i="0" u="none" strike="noStrike" kern="1200" cap="none" spc="0" normalizeH="0" baseline="0" noProof="0" dirty="0">
                <a:ln>
                  <a:noFill/>
                </a:ln>
                <a:solidFill>
                  <a:srgbClr val="C00000"/>
                </a:solidFill>
                <a:effectLst/>
                <a:uLnTx/>
                <a:uFillTx/>
                <a:latin typeface="Times New Roman" panose="02020603050405020304" pitchFamily="18" charset="0"/>
                <a:ea typeface="ヒラギノ角ゴ Pro W3" pitchFamily="1" charset="-128"/>
                <a:cs typeface="Times New Roman" panose="02020603050405020304" pitchFamily="18" charset="0"/>
              </a:rPr>
              <a:t>-Ge projesi kapsamında işletmelerin;</a:t>
            </a:r>
          </a:p>
        </p:txBody>
      </p:sp>
      <p:sp>
        <p:nvSpPr>
          <p:cNvPr id="91" name="4 Metin kutusu">
            <a:extLst>
              <a:ext uri="{FF2B5EF4-FFF2-40B4-BE49-F238E27FC236}">
                <a16:creationId xmlns:a16="http://schemas.microsoft.com/office/drawing/2014/main" id="{87EDE463-AB58-4AB9-BA35-DEE7FB6FF97D}"/>
              </a:ext>
            </a:extLst>
          </p:cNvPr>
          <p:cNvSpPr txBox="1"/>
          <p:nvPr/>
        </p:nvSpPr>
        <p:spPr>
          <a:xfrm>
            <a:off x="1854926" y="348225"/>
            <a:ext cx="9236289"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Ar-G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Ür</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Ge ve </a:t>
            </a:r>
            <a:r>
              <a:rPr kumimoji="0" lang="tr-TR" sz="3000" b="1" i="0" u="none" strike="noStrike" kern="1200" cap="none" spc="0" normalizeH="0" baseline="0" noProof="0" dirty="0" err="1">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İnovasyon</a:t>
            </a:r>
            <a:r>
              <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rPr>
              <a:t> Destek Programı</a:t>
            </a:r>
          </a:p>
        </p:txBody>
      </p:sp>
      <p:sp>
        <p:nvSpPr>
          <p:cNvPr id="50" name="Rectangle 7">
            <a:extLst>
              <a:ext uri="{FF2B5EF4-FFF2-40B4-BE49-F238E27FC236}">
                <a16:creationId xmlns:a16="http://schemas.microsoft.com/office/drawing/2014/main" id="{59298C8A-A535-4ACC-90C7-A327AC0B73B5}"/>
              </a:ext>
            </a:extLst>
          </p:cNvPr>
          <p:cNvSpPr/>
          <p:nvPr/>
        </p:nvSpPr>
        <p:spPr>
          <a:xfrm>
            <a:off x="1112084" y="1590247"/>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7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9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prstClr val="black"/>
                </a:solidFill>
                <a:effectLst/>
                <a:uLnTx/>
                <a:uFillTx/>
                <a:latin typeface="Calibri"/>
                <a:ea typeface="+mn-ea"/>
                <a:cs typeface="+mn-cs"/>
              </a:rPr>
              <a:t>Kamu</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kurum</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ve</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kuruluşları</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kanunla</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kurulan</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vakıflar</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veya</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uluslararası</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fonlar</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tarafından</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desteklenen</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Ar</a:t>
            </a:r>
            <a:r>
              <a:rPr kumimoji="0" lang="en-US" sz="1500" b="1" i="0" u="none" strike="noStrike" kern="1200" cap="none" spc="0" normalizeH="0" baseline="0" noProof="0" dirty="0">
                <a:ln>
                  <a:noFill/>
                </a:ln>
                <a:solidFill>
                  <a:prstClr val="black"/>
                </a:solidFill>
                <a:effectLst/>
                <a:uLnTx/>
                <a:uFillTx/>
                <a:latin typeface="Calibri"/>
                <a:ea typeface="+mn-ea"/>
                <a:cs typeface="+mn-cs"/>
              </a:rPr>
              <a:t>-Ge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veya</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yenilik</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projeleri</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sonucunda</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ortaya</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çıkan</a:t>
            </a:r>
            <a:endParaRPr kumimoji="0" lang="en-US" sz="1500" b="1"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Rectangle 15">
            <a:extLst>
              <a:ext uri="{FF2B5EF4-FFF2-40B4-BE49-F238E27FC236}">
                <a16:creationId xmlns:a16="http://schemas.microsoft.com/office/drawing/2014/main" id="{E0E77585-AF09-47C0-B66E-AC97BF44AEF0}"/>
              </a:ext>
            </a:extLst>
          </p:cNvPr>
          <p:cNvSpPr/>
          <p:nvPr/>
        </p:nvSpPr>
        <p:spPr>
          <a:xfrm>
            <a:off x="1112084" y="3028948"/>
            <a:ext cx="3060000" cy="73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Rectangle 7">
            <a:extLst>
              <a:ext uri="{FF2B5EF4-FFF2-40B4-BE49-F238E27FC236}">
                <a16:creationId xmlns:a16="http://schemas.microsoft.com/office/drawing/2014/main" id="{0548BF79-978A-4F0C-8E75-010DABCDBA01}"/>
              </a:ext>
            </a:extLst>
          </p:cNvPr>
          <p:cNvSpPr/>
          <p:nvPr/>
        </p:nvSpPr>
        <p:spPr>
          <a:xfrm>
            <a:off x="4601242" y="1564683"/>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600" b="1" i="0" u="none" strike="noStrike" kern="1200" cap="none" spc="0" normalizeH="0" baseline="0" noProof="0" dirty="0">
                <a:ln>
                  <a:noFill/>
                </a:ln>
                <a:solidFill>
                  <a:prstClr val="black"/>
                </a:solidFill>
                <a:effectLst/>
                <a:uLnTx/>
                <a:uFillTx/>
                <a:latin typeface="Calibri"/>
                <a:ea typeface="+mn-ea"/>
                <a:cs typeface="+mn-cs"/>
              </a:rPr>
              <a:t>Patent belgesi ile koruma altına alınan </a:t>
            </a:r>
          </a:p>
        </p:txBody>
      </p:sp>
      <p:sp>
        <p:nvSpPr>
          <p:cNvPr id="54" name="Rectangle 15">
            <a:extLst>
              <a:ext uri="{FF2B5EF4-FFF2-40B4-BE49-F238E27FC236}">
                <a16:creationId xmlns:a16="http://schemas.microsoft.com/office/drawing/2014/main" id="{DE01E06D-4A7E-4239-A988-434A119BF0CB}"/>
              </a:ext>
            </a:extLst>
          </p:cNvPr>
          <p:cNvSpPr/>
          <p:nvPr/>
        </p:nvSpPr>
        <p:spPr>
          <a:xfrm>
            <a:off x="4601242" y="3003384"/>
            <a:ext cx="3060000" cy="7304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Rectangle 7">
            <a:extLst>
              <a:ext uri="{FF2B5EF4-FFF2-40B4-BE49-F238E27FC236}">
                <a16:creationId xmlns:a16="http://schemas.microsoft.com/office/drawing/2014/main" id="{FE94D85B-C3F0-45F9-BDA3-52CCF9B7384B}"/>
              </a:ext>
            </a:extLst>
          </p:cNvPr>
          <p:cNvSpPr/>
          <p:nvPr/>
        </p:nvSpPr>
        <p:spPr>
          <a:xfrm>
            <a:off x="8090400" y="1590247"/>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prstClr val="black"/>
                </a:solidFill>
                <a:effectLst/>
                <a:uLnTx/>
                <a:uFillTx/>
                <a:latin typeface="Calibri"/>
                <a:ea typeface="+mn-ea"/>
                <a:cs typeface="+mn-cs"/>
              </a:rPr>
              <a:t>Doktora çalışması neticesinde ortaya çıkan</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56" name="Rectangle 15">
            <a:extLst>
              <a:ext uri="{FF2B5EF4-FFF2-40B4-BE49-F238E27FC236}">
                <a16:creationId xmlns:a16="http://schemas.microsoft.com/office/drawing/2014/main" id="{696AF8CF-761D-4E69-A4A1-3839159F3835}"/>
              </a:ext>
            </a:extLst>
          </p:cNvPr>
          <p:cNvSpPr/>
          <p:nvPr/>
        </p:nvSpPr>
        <p:spPr>
          <a:xfrm>
            <a:off x="8090400" y="3028948"/>
            <a:ext cx="3060000" cy="7304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Rectangle 7">
            <a:extLst>
              <a:ext uri="{FF2B5EF4-FFF2-40B4-BE49-F238E27FC236}">
                <a16:creationId xmlns:a16="http://schemas.microsoft.com/office/drawing/2014/main" id="{DB0A641C-A9C8-4FD4-99BA-17CFDC7359D9}"/>
              </a:ext>
            </a:extLst>
          </p:cNvPr>
          <p:cNvSpPr/>
          <p:nvPr/>
        </p:nvSpPr>
        <p:spPr>
          <a:xfrm>
            <a:off x="1112084" y="3275064"/>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Calibri"/>
                <a:ea typeface="+mn-ea"/>
                <a:cs typeface="+mn-cs"/>
              </a:rPr>
              <a:t>Teknolojik</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Ürün</a:t>
            </a:r>
            <a:r>
              <a:rPr kumimoji="0" lang="en-US" sz="1600" b="1" i="0" u="none" strike="noStrike" kern="1200" cap="none" spc="0" normalizeH="0" baseline="0" noProof="0" dirty="0">
                <a:ln>
                  <a:noFill/>
                </a:ln>
                <a:solidFill>
                  <a:prstClr val="black"/>
                </a:solidFill>
                <a:effectLst/>
                <a:uLnTx/>
                <a:uFillTx/>
                <a:latin typeface="Calibri"/>
                <a:ea typeface="+mn-ea"/>
                <a:cs typeface="+mn-cs"/>
              </a:rPr>
              <a:t> (TÜR)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Deneyim</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belgesi</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alınan</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58" name="Rectangle 15">
            <a:extLst>
              <a:ext uri="{FF2B5EF4-FFF2-40B4-BE49-F238E27FC236}">
                <a16:creationId xmlns:a16="http://schemas.microsoft.com/office/drawing/2014/main" id="{00D92B37-FA04-4809-8BBB-001E6991B6F4}"/>
              </a:ext>
            </a:extLst>
          </p:cNvPr>
          <p:cNvSpPr/>
          <p:nvPr/>
        </p:nvSpPr>
        <p:spPr>
          <a:xfrm>
            <a:off x="1112084" y="4713765"/>
            <a:ext cx="3060000" cy="7304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Rectangle 7">
            <a:extLst>
              <a:ext uri="{FF2B5EF4-FFF2-40B4-BE49-F238E27FC236}">
                <a16:creationId xmlns:a16="http://schemas.microsoft.com/office/drawing/2014/main" id="{8FC1E6E7-E01A-4900-BA97-A28C275981C6}"/>
              </a:ext>
            </a:extLst>
          </p:cNvPr>
          <p:cNvSpPr/>
          <p:nvPr/>
        </p:nvSpPr>
        <p:spPr>
          <a:xfrm>
            <a:off x="4601242" y="3275064"/>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05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Calibri"/>
                <a:ea typeface="+mn-ea"/>
                <a:cs typeface="+mn-cs"/>
              </a:rPr>
              <a:t>TGB’d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yer</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alan</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işletmelerin</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bölged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başarıyl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tamamladıkları</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Ar</a:t>
            </a:r>
            <a:r>
              <a:rPr kumimoji="0" lang="en-US" sz="1600" b="1" i="0" u="none" strike="noStrike" kern="1200" cap="none" spc="0" normalizeH="0" baseline="0" noProof="0" dirty="0">
                <a:ln>
                  <a:noFill/>
                </a:ln>
                <a:solidFill>
                  <a:prstClr val="black"/>
                </a:solidFill>
                <a:effectLst/>
                <a:uLnTx/>
                <a:uFillTx/>
                <a:latin typeface="Calibri"/>
                <a:ea typeface="+mn-ea"/>
                <a:cs typeface="+mn-cs"/>
              </a:rPr>
              <a:t>-Ge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v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yenilik</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projeleri</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sonucund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ortay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çıkan</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60" name="Rectangle 15">
            <a:extLst>
              <a:ext uri="{FF2B5EF4-FFF2-40B4-BE49-F238E27FC236}">
                <a16:creationId xmlns:a16="http://schemas.microsoft.com/office/drawing/2014/main" id="{6597EE96-09B3-4A93-A361-DEDFC84E5D27}"/>
              </a:ext>
            </a:extLst>
          </p:cNvPr>
          <p:cNvSpPr/>
          <p:nvPr/>
        </p:nvSpPr>
        <p:spPr>
          <a:xfrm>
            <a:off x="4601242" y="4713765"/>
            <a:ext cx="3060000" cy="7304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Rectangle 7">
            <a:extLst>
              <a:ext uri="{FF2B5EF4-FFF2-40B4-BE49-F238E27FC236}">
                <a16:creationId xmlns:a16="http://schemas.microsoft.com/office/drawing/2014/main" id="{DAB7840E-A571-4022-9DCD-238EC79F5151}"/>
              </a:ext>
            </a:extLst>
          </p:cNvPr>
          <p:cNvSpPr/>
          <p:nvPr/>
        </p:nvSpPr>
        <p:spPr>
          <a:xfrm>
            <a:off x="8090400" y="3260074"/>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Calibri"/>
                <a:ea typeface="+mn-ea"/>
                <a:cs typeface="+mn-cs"/>
              </a:rPr>
              <a:t>Ar</a:t>
            </a:r>
            <a:r>
              <a:rPr kumimoji="0" lang="en-US" sz="1600" b="1" i="0" u="none" strike="noStrike" kern="1200" cap="none" spc="0" normalizeH="0" baseline="0" noProof="0" dirty="0">
                <a:ln>
                  <a:noFill/>
                </a:ln>
                <a:solidFill>
                  <a:prstClr val="black"/>
                </a:solidFill>
                <a:effectLst/>
                <a:uLnTx/>
                <a:uFillTx/>
                <a:latin typeface="Calibri"/>
                <a:ea typeface="+mn-ea"/>
                <a:cs typeface="+mn-cs"/>
              </a:rPr>
              <a:t>-Ge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Merkezlerind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tr-TR" sz="1600" b="1" i="0" u="none" strike="noStrike" kern="1200" cap="none" spc="0" normalizeH="0" baseline="0" noProof="0" dirty="0">
                <a:ln>
                  <a:noFill/>
                </a:ln>
                <a:solidFill>
                  <a:prstClr val="black"/>
                </a:solidFill>
                <a:effectLst/>
                <a:uLnTx/>
                <a:uFillTx/>
                <a:latin typeface="Calibri"/>
                <a:ea typeface="+mn-ea"/>
                <a:cs typeface="+mn-cs"/>
              </a:rPr>
              <a:t>A</a:t>
            </a:r>
            <a:r>
              <a:rPr kumimoji="0" lang="en-US" sz="1600" b="1" i="0" u="none" strike="noStrike" kern="1200" cap="none" spc="0" normalizeH="0" baseline="0" noProof="0" dirty="0">
                <a:ln>
                  <a:noFill/>
                </a:ln>
                <a:solidFill>
                  <a:prstClr val="black"/>
                </a:solidFill>
                <a:effectLst/>
                <a:uLnTx/>
                <a:uFillTx/>
                <a:latin typeface="Calibri"/>
                <a:ea typeface="+mn-ea"/>
                <a:cs typeface="+mn-cs"/>
              </a:rPr>
              <a:t>r-</a:t>
            </a:r>
            <a:r>
              <a:rPr kumimoji="0" lang="tr-TR" sz="1600" b="1" i="0" u="none" strike="noStrike" kern="1200" cap="none" spc="0" normalizeH="0" baseline="0" noProof="0" dirty="0">
                <a:ln>
                  <a:noFill/>
                </a:ln>
                <a:solidFill>
                  <a:prstClr val="black"/>
                </a:solidFill>
                <a:effectLst/>
                <a:uLnTx/>
                <a:uFillTx/>
                <a:latin typeface="Calibri"/>
                <a:ea typeface="+mn-ea"/>
                <a:cs typeface="+mn-cs"/>
              </a:rPr>
              <a:t>G</a:t>
            </a:r>
            <a:r>
              <a:rPr kumimoji="0" lang="en-US" sz="1600" b="1" i="0" u="none" strike="noStrike" kern="1200" cap="none" spc="0" normalizeH="0" baseline="0" noProof="0" dirty="0">
                <a:ln>
                  <a:noFill/>
                </a:ln>
                <a:solidFill>
                  <a:prstClr val="black"/>
                </a:solidFill>
                <a:effectLst/>
                <a:uLnTx/>
                <a:uFillTx/>
                <a:latin typeface="Calibri"/>
                <a:ea typeface="+mn-ea"/>
                <a:cs typeface="+mn-cs"/>
              </a:rPr>
              <a:t>e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faaliyetleri</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sonucund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ortay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çıkan</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62" name="Rectangle 15">
            <a:extLst>
              <a:ext uri="{FF2B5EF4-FFF2-40B4-BE49-F238E27FC236}">
                <a16:creationId xmlns:a16="http://schemas.microsoft.com/office/drawing/2014/main" id="{F74E2558-3A52-4C79-B037-1E4CE500D494}"/>
              </a:ext>
            </a:extLst>
          </p:cNvPr>
          <p:cNvSpPr/>
          <p:nvPr/>
        </p:nvSpPr>
        <p:spPr>
          <a:xfrm>
            <a:off x="8090400" y="4713765"/>
            <a:ext cx="3060000" cy="7304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Rectangle 7">
            <a:extLst>
              <a:ext uri="{FF2B5EF4-FFF2-40B4-BE49-F238E27FC236}">
                <a16:creationId xmlns:a16="http://schemas.microsoft.com/office/drawing/2014/main" id="{8756FE17-8B6C-44FD-A32D-BA10876E49C2}"/>
              </a:ext>
            </a:extLst>
          </p:cNvPr>
          <p:cNvSpPr/>
          <p:nvPr/>
        </p:nvSpPr>
        <p:spPr>
          <a:xfrm>
            <a:off x="1112084" y="4898313"/>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Calibri"/>
                <a:ea typeface="+mn-ea"/>
                <a:cs typeface="+mn-cs"/>
              </a:rPr>
              <a:t>Kamu</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vey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üniversit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araştırm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enstitülerind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vey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merkezlerind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Ar</a:t>
            </a:r>
            <a:r>
              <a:rPr kumimoji="0" lang="en-US" sz="1600" b="1" i="0" u="none" strike="noStrike" kern="1200" cap="none" spc="0" normalizeH="0" baseline="0" noProof="0" dirty="0">
                <a:ln>
                  <a:noFill/>
                </a:ln>
                <a:solidFill>
                  <a:prstClr val="black"/>
                </a:solidFill>
                <a:effectLst/>
                <a:uLnTx/>
                <a:uFillTx/>
                <a:latin typeface="Calibri"/>
                <a:ea typeface="+mn-ea"/>
                <a:cs typeface="+mn-cs"/>
              </a:rPr>
              <a:t>-Ge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faaliyetleri</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sonucund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ortay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çıkan</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64" name="Rectangle 15">
            <a:extLst>
              <a:ext uri="{FF2B5EF4-FFF2-40B4-BE49-F238E27FC236}">
                <a16:creationId xmlns:a16="http://schemas.microsoft.com/office/drawing/2014/main" id="{02B62940-E4F1-49F1-AE96-D1F40D193A4B}"/>
              </a:ext>
            </a:extLst>
          </p:cNvPr>
          <p:cNvSpPr/>
          <p:nvPr/>
        </p:nvSpPr>
        <p:spPr>
          <a:xfrm>
            <a:off x="1112084" y="6337014"/>
            <a:ext cx="3060000" cy="7304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5" name="Rectangle 7">
            <a:extLst>
              <a:ext uri="{FF2B5EF4-FFF2-40B4-BE49-F238E27FC236}">
                <a16:creationId xmlns:a16="http://schemas.microsoft.com/office/drawing/2014/main" id="{B0B5AECF-5F3B-4DBA-A4AC-297586CE40FC}"/>
              </a:ext>
            </a:extLst>
          </p:cNvPr>
          <p:cNvSpPr/>
          <p:nvPr/>
        </p:nvSpPr>
        <p:spPr>
          <a:xfrm>
            <a:off x="4601242" y="4898313"/>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prstClr val="black"/>
                </a:solidFill>
                <a:effectLst/>
                <a:uLnTx/>
                <a:uFillTx/>
                <a:latin typeface="Calibri"/>
                <a:ea typeface="+mn-ea"/>
                <a:cs typeface="+mn-cs"/>
              </a:rPr>
              <a:t>Orta-yüksek veya yüksek teknoloji alanlarında yer alan </a:t>
            </a:r>
          </a:p>
        </p:txBody>
      </p:sp>
      <p:sp>
        <p:nvSpPr>
          <p:cNvPr id="66" name="Rectangle 15">
            <a:extLst>
              <a:ext uri="{FF2B5EF4-FFF2-40B4-BE49-F238E27FC236}">
                <a16:creationId xmlns:a16="http://schemas.microsoft.com/office/drawing/2014/main" id="{22AA91A3-E7CE-4206-8891-2898452ACE0C}"/>
              </a:ext>
            </a:extLst>
          </p:cNvPr>
          <p:cNvSpPr/>
          <p:nvPr/>
        </p:nvSpPr>
        <p:spPr>
          <a:xfrm>
            <a:off x="4601242" y="6337014"/>
            <a:ext cx="3060000" cy="7304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7" name="Rectangle 7">
            <a:extLst>
              <a:ext uri="{FF2B5EF4-FFF2-40B4-BE49-F238E27FC236}">
                <a16:creationId xmlns:a16="http://schemas.microsoft.com/office/drawing/2014/main" id="{180D4632-5724-4DA8-9D55-D360E0239547}"/>
              </a:ext>
            </a:extLst>
          </p:cNvPr>
          <p:cNvSpPr/>
          <p:nvPr/>
        </p:nvSpPr>
        <p:spPr>
          <a:xfrm>
            <a:off x="8090400" y="4897415"/>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05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Son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mali</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yıl</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verilerin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gör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ithalat</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tutarı</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ihracat</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tutarından</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fazl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olan</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68" name="Rectangle 15">
            <a:extLst>
              <a:ext uri="{FF2B5EF4-FFF2-40B4-BE49-F238E27FC236}">
                <a16:creationId xmlns:a16="http://schemas.microsoft.com/office/drawing/2014/main" id="{805F6218-AEBF-4F32-ABDD-F6320A7E3D54}"/>
              </a:ext>
            </a:extLst>
          </p:cNvPr>
          <p:cNvSpPr/>
          <p:nvPr/>
        </p:nvSpPr>
        <p:spPr>
          <a:xfrm>
            <a:off x="8090400" y="6336116"/>
            <a:ext cx="3060000" cy="730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Check" descr="{&quot;Key&quot;:&quot;POWER_USER_SHAPE_ICON&quot;,&quot;Value&quot;:&quot;POWER_USER_SHAPE_ICON_STYLE_1&quot;}">
            <a:extLst>
              <a:ext uri="{FF2B5EF4-FFF2-40B4-BE49-F238E27FC236}">
                <a16:creationId xmlns:a16="http://schemas.microsoft.com/office/drawing/2014/main" id="{420445BC-8FBD-4BA2-81A9-15FF7BAA0DA0}"/>
              </a:ext>
            </a:extLst>
          </p:cNvPr>
          <p:cNvGrpSpPr>
            <a:grpSpLocks noChangeAspect="1"/>
          </p:cNvGrpSpPr>
          <p:nvPr>
            <p:custDataLst>
              <p:tags r:id="rId2"/>
            </p:custDataLst>
          </p:nvPr>
        </p:nvGrpSpPr>
        <p:grpSpPr bwMode="auto">
          <a:xfrm>
            <a:off x="2310654" y="1424054"/>
            <a:ext cx="435014" cy="411738"/>
            <a:chOff x="2875" y="1062"/>
            <a:chExt cx="2168" cy="2052"/>
          </a:xfrm>
          <a:solidFill>
            <a:schemeClr val="tx2">
              <a:lumMod val="50000"/>
            </a:schemeClr>
          </a:solidFill>
        </p:grpSpPr>
        <p:sp>
          <p:nvSpPr>
            <p:cNvPr id="70" name="Freeform 240">
              <a:extLst>
                <a:ext uri="{FF2B5EF4-FFF2-40B4-BE49-F238E27FC236}">
                  <a16:creationId xmlns:a16="http://schemas.microsoft.com/office/drawing/2014/main" id="{5CAE1F4E-A4AF-4904-AA86-78BB30F01B45}"/>
                </a:ext>
              </a:extLst>
            </p:cNvPr>
            <p:cNvSpPr>
              <a:spLocks/>
            </p:cNvSpPr>
            <p:nvPr/>
          </p:nvSpPr>
          <p:spPr bwMode="auto">
            <a:xfrm>
              <a:off x="3276" y="1062"/>
              <a:ext cx="1767" cy="1523"/>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41">
              <a:extLst>
                <a:ext uri="{FF2B5EF4-FFF2-40B4-BE49-F238E27FC236}">
                  <a16:creationId xmlns:a16="http://schemas.microsoft.com/office/drawing/2014/main" id="{5B716EED-4E23-4E55-84DB-5F8C3B468656}"/>
                </a:ext>
              </a:extLst>
            </p:cNvPr>
            <p:cNvSpPr>
              <a:spLocks/>
            </p:cNvSpPr>
            <p:nvPr/>
          </p:nvSpPr>
          <p:spPr bwMode="auto">
            <a:xfrm>
              <a:off x="2875" y="1261"/>
              <a:ext cx="1854" cy="1853"/>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72" name="Resim 71">
            <a:extLst>
              <a:ext uri="{FF2B5EF4-FFF2-40B4-BE49-F238E27FC236}">
                <a16:creationId xmlns:a16="http://schemas.microsoft.com/office/drawing/2014/main" id="{397F9BF1-9F46-4387-83C4-20CC70863C9A}"/>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925" b="31955"/>
          <a:stretch/>
        </p:blipFill>
        <p:spPr>
          <a:xfrm>
            <a:off x="5596255" y="1472738"/>
            <a:ext cx="999489" cy="480958"/>
          </a:xfrm>
          <a:prstGeom prst="rect">
            <a:avLst/>
          </a:prstGeom>
        </p:spPr>
      </p:pic>
      <p:pic>
        <p:nvPicPr>
          <p:cNvPr id="73" name="Resim 72">
            <a:extLst>
              <a:ext uri="{FF2B5EF4-FFF2-40B4-BE49-F238E27FC236}">
                <a16:creationId xmlns:a16="http://schemas.microsoft.com/office/drawing/2014/main" id="{81A786F5-50F0-4351-8370-4AC842F034C2}"/>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8264" t="11411" r="10832" b="26969"/>
          <a:stretch/>
        </p:blipFill>
        <p:spPr>
          <a:xfrm>
            <a:off x="9260545" y="1490835"/>
            <a:ext cx="887796" cy="478044"/>
          </a:xfrm>
          <a:prstGeom prst="rect">
            <a:avLst/>
          </a:prstGeom>
        </p:spPr>
      </p:pic>
      <p:pic>
        <p:nvPicPr>
          <p:cNvPr id="74" name="Resim 73">
            <a:extLst>
              <a:ext uri="{FF2B5EF4-FFF2-40B4-BE49-F238E27FC236}">
                <a16:creationId xmlns:a16="http://schemas.microsoft.com/office/drawing/2014/main" id="{6EE60958-910F-421C-BBCE-C16AF5EED3E1}"/>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0151" t="68108" r="59670" b="11891"/>
          <a:stretch/>
        </p:blipFill>
        <p:spPr>
          <a:xfrm>
            <a:off x="2288736" y="3139778"/>
            <a:ext cx="649336" cy="590686"/>
          </a:xfrm>
          <a:prstGeom prst="rect">
            <a:avLst/>
          </a:prstGeom>
        </p:spPr>
      </p:pic>
      <p:pic>
        <p:nvPicPr>
          <p:cNvPr id="75" name="Resim 74">
            <a:extLst>
              <a:ext uri="{FF2B5EF4-FFF2-40B4-BE49-F238E27FC236}">
                <a16:creationId xmlns:a16="http://schemas.microsoft.com/office/drawing/2014/main" id="{BE5CAB54-FB2D-42C4-BFA1-65B14C6CBF7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596255" y="3162556"/>
            <a:ext cx="999489" cy="470347"/>
          </a:xfrm>
          <a:prstGeom prst="rect">
            <a:avLst/>
          </a:prstGeom>
          <a:solidFill>
            <a:schemeClr val="bg1"/>
          </a:solidFill>
        </p:spPr>
      </p:pic>
      <p:pic>
        <p:nvPicPr>
          <p:cNvPr id="76" name="Resim 75">
            <a:extLst>
              <a:ext uri="{FF2B5EF4-FFF2-40B4-BE49-F238E27FC236}">
                <a16:creationId xmlns:a16="http://schemas.microsoft.com/office/drawing/2014/main" id="{E81412D4-4C22-4731-A90E-63FE426A39D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357597" y="3151020"/>
            <a:ext cx="585565" cy="585565"/>
          </a:xfrm>
          <a:prstGeom prst="rect">
            <a:avLst/>
          </a:prstGeom>
          <a:solidFill>
            <a:schemeClr val="bg1"/>
          </a:solidFill>
        </p:spPr>
      </p:pic>
      <p:grpSp>
        <p:nvGrpSpPr>
          <p:cNvPr id="77" name="Smart_manufacturing" descr="{&quot;Key&quot;:&quot;POWER_USER_SHAPE_ICON&quot;,&quot;Value&quot;:&quot;POWER_USER_SHAPE_ICON_STYLE_1&quot;}">
            <a:extLst>
              <a:ext uri="{FF2B5EF4-FFF2-40B4-BE49-F238E27FC236}">
                <a16:creationId xmlns:a16="http://schemas.microsoft.com/office/drawing/2014/main" id="{D88907C8-04CF-4CE1-BBCB-DB657585561F}"/>
              </a:ext>
            </a:extLst>
          </p:cNvPr>
          <p:cNvGrpSpPr>
            <a:grpSpLocks noChangeAspect="1"/>
          </p:cNvGrpSpPr>
          <p:nvPr>
            <p:custDataLst>
              <p:tags r:id="rId3"/>
            </p:custDataLst>
          </p:nvPr>
        </p:nvGrpSpPr>
        <p:grpSpPr>
          <a:xfrm>
            <a:off x="2342075" y="4817431"/>
            <a:ext cx="440916" cy="463627"/>
            <a:chOff x="737099" y="6489119"/>
            <a:chExt cx="886032" cy="931669"/>
          </a:xfrm>
          <a:solidFill>
            <a:schemeClr val="tx2">
              <a:lumMod val="50000"/>
            </a:schemeClr>
          </a:solidFill>
        </p:grpSpPr>
        <p:grpSp>
          <p:nvGrpSpPr>
            <p:cNvPr id="78" name="Automation">
              <a:extLst>
                <a:ext uri="{FF2B5EF4-FFF2-40B4-BE49-F238E27FC236}">
                  <a16:creationId xmlns:a16="http://schemas.microsoft.com/office/drawing/2014/main" id="{334BE197-141D-468C-B36B-19DCDB5866E7}"/>
                </a:ext>
              </a:extLst>
            </p:cNvPr>
            <p:cNvGrpSpPr>
              <a:grpSpLocks noChangeAspect="1"/>
            </p:cNvGrpSpPr>
            <p:nvPr>
              <p:custDataLst>
                <p:tags r:id="rId5"/>
              </p:custDataLst>
            </p:nvPr>
          </p:nvGrpSpPr>
          <p:grpSpPr>
            <a:xfrm>
              <a:off x="737099" y="6661963"/>
              <a:ext cx="605173" cy="758825"/>
              <a:chOff x="4370392" y="1606554"/>
              <a:chExt cx="712788" cy="893763"/>
            </a:xfrm>
            <a:grpFill/>
          </p:grpSpPr>
          <p:sp>
            <p:nvSpPr>
              <p:cNvPr id="83" name="Freeform 800">
                <a:extLst>
                  <a:ext uri="{FF2B5EF4-FFF2-40B4-BE49-F238E27FC236}">
                    <a16:creationId xmlns:a16="http://schemas.microsoft.com/office/drawing/2014/main" id="{5C14183B-9D07-499C-860E-F2FDA321D795}"/>
                  </a:ext>
                </a:extLst>
              </p:cNvPr>
              <p:cNvSpPr>
                <a:spLocks/>
              </p:cNvSpPr>
              <p:nvPr/>
            </p:nvSpPr>
            <p:spPr bwMode="auto">
              <a:xfrm>
                <a:off x="4811718" y="1941516"/>
                <a:ext cx="195263" cy="174625"/>
              </a:xfrm>
              <a:custGeom>
                <a:avLst/>
                <a:gdLst>
                  <a:gd name="T0" fmla="*/ 55 w 273"/>
                  <a:gd name="T1" fmla="*/ 46 h 245"/>
                  <a:gd name="T2" fmla="*/ 138 w 273"/>
                  <a:gd name="T3" fmla="*/ 0 h 245"/>
                  <a:gd name="T4" fmla="*/ 174 w 273"/>
                  <a:gd name="T5" fmla="*/ 125 h 245"/>
                  <a:gd name="T6" fmla="*/ 273 w 273"/>
                  <a:gd name="T7" fmla="*/ 170 h 245"/>
                  <a:gd name="T8" fmla="*/ 252 w 273"/>
                  <a:gd name="T9" fmla="*/ 232 h 245"/>
                  <a:gd name="T10" fmla="*/ 230 w 273"/>
                  <a:gd name="T11" fmla="*/ 245 h 245"/>
                  <a:gd name="T12" fmla="*/ 111 w 273"/>
                  <a:gd name="T13" fmla="*/ 191 h 245"/>
                  <a:gd name="T14" fmla="*/ 0 w 273"/>
                  <a:gd name="T15" fmla="*/ 34 h 245"/>
                  <a:gd name="T16" fmla="*/ 55 w 273"/>
                  <a:gd name="T17" fmla="*/ 4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3" h="245">
                    <a:moveTo>
                      <a:pt x="55" y="46"/>
                    </a:moveTo>
                    <a:cubicBezTo>
                      <a:pt x="91" y="45"/>
                      <a:pt x="120" y="28"/>
                      <a:pt x="138" y="0"/>
                    </a:cubicBezTo>
                    <a:lnTo>
                      <a:pt x="174" y="125"/>
                    </a:lnTo>
                    <a:lnTo>
                      <a:pt x="273" y="170"/>
                    </a:lnTo>
                    <a:lnTo>
                      <a:pt x="252" y="232"/>
                    </a:lnTo>
                    <a:lnTo>
                      <a:pt x="230" y="245"/>
                    </a:lnTo>
                    <a:lnTo>
                      <a:pt x="111" y="191"/>
                    </a:lnTo>
                    <a:lnTo>
                      <a:pt x="0" y="34"/>
                    </a:lnTo>
                    <a:cubicBezTo>
                      <a:pt x="16" y="42"/>
                      <a:pt x="37" y="46"/>
                      <a:pt x="55" y="4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801">
                <a:extLst>
                  <a:ext uri="{FF2B5EF4-FFF2-40B4-BE49-F238E27FC236}">
                    <a16:creationId xmlns:a16="http://schemas.microsoft.com/office/drawing/2014/main" id="{53B626B4-ADA1-4399-B495-E99F6DA16F99}"/>
                  </a:ext>
                </a:extLst>
              </p:cNvPr>
              <p:cNvSpPr>
                <a:spLocks/>
              </p:cNvSpPr>
              <p:nvPr/>
            </p:nvSpPr>
            <p:spPr bwMode="auto">
              <a:xfrm>
                <a:off x="4491042" y="2238379"/>
                <a:ext cx="427038" cy="261938"/>
              </a:xfrm>
              <a:custGeom>
                <a:avLst/>
                <a:gdLst>
                  <a:gd name="T0" fmla="*/ 600 w 600"/>
                  <a:gd name="T1" fmla="*/ 137 h 368"/>
                  <a:gd name="T2" fmla="*/ 513 w 600"/>
                  <a:gd name="T3" fmla="*/ 15 h 368"/>
                  <a:gd name="T4" fmla="*/ 484 w 600"/>
                  <a:gd name="T5" fmla="*/ 0 h 368"/>
                  <a:gd name="T6" fmla="*/ 483 w 600"/>
                  <a:gd name="T7" fmla="*/ 14 h 368"/>
                  <a:gd name="T8" fmla="*/ 455 w 600"/>
                  <a:gd name="T9" fmla="*/ 69 h 368"/>
                  <a:gd name="T10" fmla="*/ 317 w 600"/>
                  <a:gd name="T11" fmla="*/ 181 h 368"/>
                  <a:gd name="T12" fmla="*/ 269 w 600"/>
                  <a:gd name="T13" fmla="*/ 197 h 368"/>
                  <a:gd name="T14" fmla="*/ 225 w 600"/>
                  <a:gd name="T15" fmla="*/ 188 h 368"/>
                  <a:gd name="T16" fmla="*/ 134 w 600"/>
                  <a:gd name="T17" fmla="*/ 118 h 368"/>
                  <a:gd name="T18" fmla="*/ 64 w 600"/>
                  <a:gd name="T19" fmla="*/ 31 h 368"/>
                  <a:gd name="T20" fmla="*/ 0 w 600"/>
                  <a:gd name="T21" fmla="*/ 145 h 368"/>
                  <a:gd name="T22" fmla="*/ 0 w 600"/>
                  <a:gd name="T23" fmla="*/ 178 h 368"/>
                  <a:gd name="T24" fmla="*/ 87 w 600"/>
                  <a:gd name="T25" fmla="*/ 300 h 368"/>
                  <a:gd name="T26" fmla="*/ 511 w 600"/>
                  <a:gd name="T27" fmla="*/ 300 h 368"/>
                  <a:gd name="T28" fmla="*/ 600 w 600"/>
                  <a:gd name="T29" fmla="*/ 177 h 368"/>
                  <a:gd name="T30" fmla="*/ 600 w 600"/>
                  <a:gd name="T31" fmla="*/ 137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0" h="368">
                    <a:moveTo>
                      <a:pt x="600" y="137"/>
                    </a:moveTo>
                    <a:cubicBezTo>
                      <a:pt x="600" y="93"/>
                      <a:pt x="571" y="49"/>
                      <a:pt x="513" y="15"/>
                    </a:cubicBezTo>
                    <a:cubicBezTo>
                      <a:pt x="504" y="10"/>
                      <a:pt x="494" y="5"/>
                      <a:pt x="484" y="0"/>
                    </a:cubicBezTo>
                    <a:cubicBezTo>
                      <a:pt x="484" y="5"/>
                      <a:pt x="484" y="10"/>
                      <a:pt x="483" y="14"/>
                    </a:cubicBezTo>
                    <a:cubicBezTo>
                      <a:pt x="481" y="37"/>
                      <a:pt x="471" y="56"/>
                      <a:pt x="455" y="69"/>
                    </a:cubicBezTo>
                    <a:lnTo>
                      <a:pt x="317" y="181"/>
                    </a:lnTo>
                    <a:cubicBezTo>
                      <a:pt x="304" y="191"/>
                      <a:pt x="287" y="197"/>
                      <a:pt x="269" y="197"/>
                    </a:cubicBezTo>
                    <a:cubicBezTo>
                      <a:pt x="255" y="197"/>
                      <a:pt x="240" y="194"/>
                      <a:pt x="225" y="188"/>
                    </a:cubicBezTo>
                    <a:cubicBezTo>
                      <a:pt x="192" y="175"/>
                      <a:pt x="160" y="150"/>
                      <a:pt x="134" y="118"/>
                    </a:cubicBezTo>
                    <a:lnTo>
                      <a:pt x="64" y="31"/>
                    </a:lnTo>
                    <a:cubicBezTo>
                      <a:pt x="19" y="65"/>
                      <a:pt x="0" y="107"/>
                      <a:pt x="0" y="145"/>
                    </a:cubicBezTo>
                    <a:lnTo>
                      <a:pt x="0" y="178"/>
                    </a:lnTo>
                    <a:cubicBezTo>
                      <a:pt x="0" y="223"/>
                      <a:pt x="29" y="267"/>
                      <a:pt x="87" y="300"/>
                    </a:cubicBezTo>
                    <a:cubicBezTo>
                      <a:pt x="204" y="368"/>
                      <a:pt x="394" y="368"/>
                      <a:pt x="511" y="300"/>
                    </a:cubicBezTo>
                    <a:cubicBezTo>
                      <a:pt x="571" y="266"/>
                      <a:pt x="600" y="221"/>
                      <a:pt x="600" y="177"/>
                    </a:cubicBezTo>
                    <a:lnTo>
                      <a:pt x="600" y="1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802">
                <a:extLst>
                  <a:ext uri="{FF2B5EF4-FFF2-40B4-BE49-F238E27FC236}">
                    <a16:creationId xmlns:a16="http://schemas.microsoft.com/office/drawing/2014/main" id="{F39DF6CD-0845-4074-8F42-39B5C5F5AE2C}"/>
                  </a:ext>
                </a:extLst>
              </p:cNvPr>
              <p:cNvSpPr>
                <a:spLocks/>
              </p:cNvSpPr>
              <p:nvPr/>
            </p:nvSpPr>
            <p:spPr bwMode="auto">
              <a:xfrm>
                <a:off x="4530730" y="1958979"/>
                <a:ext cx="276225" cy="354013"/>
              </a:xfrm>
              <a:custGeom>
                <a:avLst/>
                <a:gdLst>
                  <a:gd name="T0" fmla="*/ 240 w 390"/>
                  <a:gd name="T1" fmla="*/ 383 h 498"/>
                  <a:gd name="T2" fmla="*/ 0 w 390"/>
                  <a:gd name="T3" fmla="*/ 84 h 498"/>
                  <a:gd name="T4" fmla="*/ 106 w 390"/>
                  <a:gd name="T5" fmla="*/ 0 h 498"/>
                  <a:gd name="T6" fmla="*/ 346 w 390"/>
                  <a:gd name="T7" fmla="*/ 297 h 498"/>
                  <a:gd name="T8" fmla="*/ 387 w 390"/>
                  <a:gd name="T9" fmla="*/ 404 h 498"/>
                  <a:gd name="T10" fmla="*/ 374 w 390"/>
                  <a:gd name="T11" fmla="*/ 430 h 498"/>
                  <a:gd name="T12" fmla="*/ 290 w 390"/>
                  <a:gd name="T13" fmla="*/ 498 h 498"/>
                  <a:gd name="T14" fmla="*/ 240 w 390"/>
                  <a:gd name="T15" fmla="*/ 383 h 4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498">
                    <a:moveTo>
                      <a:pt x="240" y="383"/>
                    </a:moveTo>
                    <a:lnTo>
                      <a:pt x="0" y="84"/>
                    </a:lnTo>
                    <a:lnTo>
                      <a:pt x="106" y="0"/>
                    </a:lnTo>
                    <a:lnTo>
                      <a:pt x="346" y="297"/>
                    </a:lnTo>
                    <a:cubicBezTo>
                      <a:pt x="374" y="332"/>
                      <a:pt x="390" y="373"/>
                      <a:pt x="387" y="404"/>
                    </a:cubicBezTo>
                    <a:cubicBezTo>
                      <a:pt x="385" y="416"/>
                      <a:pt x="381" y="425"/>
                      <a:pt x="374" y="430"/>
                    </a:cubicBezTo>
                    <a:lnTo>
                      <a:pt x="290" y="498"/>
                    </a:lnTo>
                    <a:cubicBezTo>
                      <a:pt x="291" y="474"/>
                      <a:pt x="272" y="421"/>
                      <a:pt x="240" y="3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803">
                <a:extLst>
                  <a:ext uri="{FF2B5EF4-FFF2-40B4-BE49-F238E27FC236}">
                    <a16:creationId xmlns:a16="http://schemas.microsoft.com/office/drawing/2014/main" id="{D36B1813-B755-4CDB-AE95-CAD774B928DB}"/>
                  </a:ext>
                </a:extLst>
              </p:cNvPr>
              <p:cNvSpPr>
                <a:spLocks noEditPoints="1"/>
              </p:cNvSpPr>
              <p:nvPr/>
            </p:nvSpPr>
            <p:spPr bwMode="auto">
              <a:xfrm>
                <a:off x="4370392" y="1946279"/>
                <a:ext cx="338138" cy="404813"/>
              </a:xfrm>
              <a:custGeom>
                <a:avLst/>
                <a:gdLst>
                  <a:gd name="T0" fmla="*/ 72 w 477"/>
                  <a:gd name="T1" fmla="*/ 123 h 567"/>
                  <a:gd name="T2" fmla="*/ 40 w 477"/>
                  <a:gd name="T3" fmla="*/ 67 h 567"/>
                  <a:gd name="T4" fmla="*/ 73 w 477"/>
                  <a:gd name="T5" fmla="*/ 48 h 567"/>
                  <a:gd name="T6" fmla="*/ 105 w 477"/>
                  <a:gd name="T7" fmla="*/ 105 h 567"/>
                  <a:gd name="T8" fmla="*/ 72 w 477"/>
                  <a:gd name="T9" fmla="*/ 123 h 567"/>
                  <a:gd name="T10" fmla="*/ 142 w 477"/>
                  <a:gd name="T11" fmla="*/ 63 h 567"/>
                  <a:gd name="T12" fmla="*/ 68 w 477"/>
                  <a:gd name="T13" fmla="*/ 6 h 567"/>
                  <a:gd name="T14" fmla="*/ 39 w 477"/>
                  <a:gd name="T15" fmla="*/ 0 h 567"/>
                  <a:gd name="T16" fmla="*/ 16 w 477"/>
                  <a:gd name="T17" fmla="*/ 7 h 567"/>
                  <a:gd name="T18" fmla="*/ 4 w 477"/>
                  <a:gd name="T19" fmla="*/ 33 h 567"/>
                  <a:gd name="T20" fmla="*/ 44 w 477"/>
                  <a:gd name="T21" fmla="*/ 140 h 567"/>
                  <a:gd name="T22" fmla="*/ 336 w 477"/>
                  <a:gd name="T23" fmla="*/ 502 h 567"/>
                  <a:gd name="T24" fmla="*/ 410 w 477"/>
                  <a:gd name="T25" fmla="*/ 559 h 567"/>
                  <a:gd name="T26" fmla="*/ 461 w 477"/>
                  <a:gd name="T27" fmla="*/ 558 h 567"/>
                  <a:gd name="T28" fmla="*/ 474 w 477"/>
                  <a:gd name="T29" fmla="*/ 531 h 567"/>
                  <a:gd name="T30" fmla="*/ 433 w 477"/>
                  <a:gd name="T31" fmla="*/ 425 h 567"/>
                  <a:gd name="T32" fmla="*/ 142 w 477"/>
                  <a:gd name="T33" fmla="*/ 63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7" h="567">
                    <a:moveTo>
                      <a:pt x="72" y="123"/>
                    </a:moveTo>
                    <a:cubicBezTo>
                      <a:pt x="54" y="113"/>
                      <a:pt x="40" y="88"/>
                      <a:pt x="40" y="67"/>
                    </a:cubicBezTo>
                    <a:cubicBezTo>
                      <a:pt x="40" y="46"/>
                      <a:pt x="55" y="38"/>
                      <a:pt x="73" y="48"/>
                    </a:cubicBezTo>
                    <a:cubicBezTo>
                      <a:pt x="91" y="59"/>
                      <a:pt x="105" y="84"/>
                      <a:pt x="105" y="105"/>
                    </a:cubicBezTo>
                    <a:cubicBezTo>
                      <a:pt x="105" y="125"/>
                      <a:pt x="90" y="134"/>
                      <a:pt x="72" y="123"/>
                    </a:cubicBezTo>
                    <a:close/>
                    <a:moveTo>
                      <a:pt x="142" y="63"/>
                    </a:moveTo>
                    <a:cubicBezTo>
                      <a:pt x="120" y="37"/>
                      <a:pt x="93" y="16"/>
                      <a:pt x="68" y="6"/>
                    </a:cubicBezTo>
                    <a:cubicBezTo>
                      <a:pt x="57" y="2"/>
                      <a:pt x="48" y="0"/>
                      <a:pt x="39" y="0"/>
                    </a:cubicBezTo>
                    <a:cubicBezTo>
                      <a:pt x="30" y="0"/>
                      <a:pt x="22" y="2"/>
                      <a:pt x="16" y="7"/>
                    </a:cubicBezTo>
                    <a:cubicBezTo>
                      <a:pt x="9" y="12"/>
                      <a:pt x="5" y="21"/>
                      <a:pt x="4" y="33"/>
                    </a:cubicBezTo>
                    <a:cubicBezTo>
                      <a:pt x="0" y="64"/>
                      <a:pt x="16" y="105"/>
                      <a:pt x="44" y="140"/>
                    </a:cubicBezTo>
                    <a:lnTo>
                      <a:pt x="336" y="502"/>
                    </a:lnTo>
                    <a:cubicBezTo>
                      <a:pt x="357" y="528"/>
                      <a:pt x="384" y="549"/>
                      <a:pt x="410" y="559"/>
                    </a:cubicBezTo>
                    <a:cubicBezTo>
                      <a:pt x="431" y="567"/>
                      <a:pt x="450" y="567"/>
                      <a:pt x="461" y="558"/>
                    </a:cubicBezTo>
                    <a:cubicBezTo>
                      <a:pt x="468" y="553"/>
                      <a:pt x="473" y="544"/>
                      <a:pt x="474" y="531"/>
                    </a:cubicBezTo>
                    <a:cubicBezTo>
                      <a:pt x="477" y="501"/>
                      <a:pt x="462" y="460"/>
                      <a:pt x="433" y="425"/>
                    </a:cubicBezTo>
                    <a:lnTo>
                      <a:pt x="142" y="6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804">
                <a:extLst>
                  <a:ext uri="{FF2B5EF4-FFF2-40B4-BE49-F238E27FC236}">
                    <a16:creationId xmlns:a16="http://schemas.microsoft.com/office/drawing/2014/main" id="{993AB3C9-51DE-49AF-83E2-8DBF98F1DF25}"/>
                  </a:ext>
                </a:extLst>
              </p:cNvPr>
              <p:cNvSpPr>
                <a:spLocks noEditPoints="1"/>
              </p:cNvSpPr>
              <p:nvPr/>
            </p:nvSpPr>
            <p:spPr bwMode="auto">
              <a:xfrm>
                <a:off x="4572005" y="1758954"/>
                <a:ext cx="327025" cy="185738"/>
              </a:xfrm>
              <a:custGeom>
                <a:avLst/>
                <a:gdLst>
                  <a:gd name="T0" fmla="*/ 88 w 460"/>
                  <a:gd name="T1" fmla="*/ 110 h 261"/>
                  <a:gd name="T2" fmla="*/ 58 w 460"/>
                  <a:gd name="T3" fmla="*/ 57 h 261"/>
                  <a:gd name="T4" fmla="*/ 88 w 460"/>
                  <a:gd name="T5" fmla="*/ 39 h 261"/>
                  <a:gd name="T6" fmla="*/ 119 w 460"/>
                  <a:gd name="T7" fmla="*/ 92 h 261"/>
                  <a:gd name="T8" fmla="*/ 88 w 460"/>
                  <a:gd name="T9" fmla="*/ 110 h 261"/>
                  <a:gd name="T10" fmla="*/ 398 w 460"/>
                  <a:gd name="T11" fmla="*/ 123 h 261"/>
                  <a:gd name="T12" fmla="*/ 96 w 460"/>
                  <a:gd name="T13" fmla="*/ 5 h 261"/>
                  <a:gd name="T14" fmla="*/ 68 w 460"/>
                  <a:gd name="T15" fmla="*/ 0 h 261"/>
                  <a:gd name="T16" fmla="*/ 10 w 460"/>
                  <a:gd name="T17" fmla="*/ 43 h 261"/>
                  <a:gd name="T18" fmla="*/ 62 w 460"/>
                  <a:gd name="T19" fmla="*/ 138 h 261"/>
                  <a:gd name="T20" fmla="*/ 364 w 460"/>
                  <a:gd name="T21" fmla="*/ 256 h 261"/>
                  <a:gd name="T22" fmla="*/ 391 w 460"/>
                  <a:gd name="T23" fmla="*/ 261 h 261"/>
                  <a:gd name="T24" fmla="*/ 449 w 460"/>
                  <a:gd name="T25" fmla="*/ 219 h 261"/>
                  <a:gd name="T26" fmla="*/ 398 w 460"/>
                  <a:gd name="T27" fmla="*/ 12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0" h="261">
                    <a:moveTo>
                      <a:pt x="88" y="110"/>
                    </a:moveTo>
                    <a:cubicBezTo>
                      <a:pt x="71" y="100"/>
                      <a:pt x="57" y="76"/>
                      <a:pt x="58" y="57"/>
                    </a:cubicBezTo>
                    <a:cubicBezTo>
                      <a:pt x="58" y="37"/>
                      <a:pt x="71" y="29"/>
                      <a:pt x="88" y="39"/>
                    </a:cubicBezTo>
                    <a:cubicBezTo>
                      <a:pt x="105" y="49"/>
                      <a:pt x="119" y="73"/>
                      <a:pt x="119" y="92"/>
                    </a:cubicBezTo>
                    <a:cubicBezTo>
                      <a:pt x="119" y="112"/>
                      <a:pt x="105" y="119"/>
                      <a:pt x="88" y="110"/>
                    </a:cubicBezTo>
                    <a:close/>
                    <a:moveTo>
                      <a:pt x="398" y="123"/>
                    </a:moveTo>
                    <a:lnTo>
                      <a:pt x="96" y="5"/>
                    </a:lnTo>
                    <a:cubicBezTo>
                      <a:pt x="87" y="2"/>
                      <a:pt x="78" y="0"/>
                      <a:pt x="68" y="0"/>
                    </a:cubicBezTo>
                    <a:cubicBezTo>
                      <a:pt x="41" y="0"/>
                      <a:pt x="18" y="17"/>
                      <a:pt x="10" y="43"/>
                    </a:cubicBezTo>
                    <a:cubicBezTo>
                      <a:pt x="0" y="80"/>
                      <a:pt x="23" y="123"/>
                      <a:pt x="62" y="138"/>
                    </a:cubicBezTo>
                    <a:lnTo>
                      <a:pt x="364" y="256"/>
                    </a:lnTo>
                    <a:cubicBezTo>
                      <a:pt x="373" y="260"/>
                      <a:pt x="382" y="261"/>
                      <a:pt x="391" y="261"/>
                    </a:cubicBezTo>
                    <a:cubicBezTo>
                      <a:pt x="419" y="261"/>
                      <a:pt x="442" y="245"/>
                      <a:pt x="449" y="219"/>
                    </a:cubicBezTo>
                    <a:cubicBezTo>
                      <a:pt x="460" y="181"/>
                      <a:pt x="437" y="138"/>
                      <a:pt x="398" y="1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805">
                <a:extLst>
                  <a:ext uri="{FF2B5EF4-FFF2-40B4-BE49-F238E27FC236}">
                    <a16:creationId xmlns:a16="http://schemas.microsoft.com/office/drawing/2014/main" id="{8A6AC41D-8C00-4106-94C7-C8E9E657DED5}"/>
                  </a:ext>
                </a:extLst>
              </p:cNvPr>
              <p:cNvSpPr>
                <a:spLocks/>
              </p:cNvSpPr>
              <p:nvPr/>
            </p:nvSpPr>
            <p:spPr bwMode="auto">
              <a:xfrm>
                <a:off x="4403730" y="1606554"/>
                <a:ext cx="374650" cy="388938"/>
              </a:xfrm>
              <a:custGeom>
                <a:avLst/>
                <a:gdLst>
                  <a:gd name="T0" fmla="*/ 148 w 528"/>
                  <a:gd name="T1" fmla="*/ 218 h 546"/>
                  <a:gd name="T2" fmla="*/ 264 w 528"/>
                  <a:gd name="T3" fmla="*/ 71 h 546"/>
                  <a:gd name="T4" fmla="*/ 414 w 528"/>
                  <a:gd name="T5" fmla="*/ 111 h 546"/>
                  <a:gd name="T6" fmla="*/ 432 w 528"/>
                  <a:gd name="T7" fmla="*/ 117 h 546"/>
                  <a:gd name="T8" fmla="*/ 528 w 528"/>
                  <a:gd name="T9" fmla="*/ 154 h 546"/>
                  <a:gd name="T10" fmla="*/ 252 w 528"/>
                  <a:gd name="T11" fmla="*/ 22 h 546"/>
                  <a:gd name="T12" fmla="*/ 98 w 528"/>
                  <a:gd name="T13" fmla="*/ 211 h 546"/>
                  <a:gd name="T14" fmla="*/ 53 w 528"/>
                  <a:gd name="T15" fmla="*/ 391 h 546"/>
                  <a:gd name="T16" fmla="*/ 24 w 528"/>
                  <a:gd name="T17" fmla="*/ 414 h 546"/>
                  <a:gd name="T18" fmla="*/ 0 w 528"/>
                  <a:gd name="T19" fmla="*/ 437 h 546"/>
                  <a:gd name="T20" fmla="*/ 36 w 528"/>
                  <a:gd name="T21" fmla="*/ 445 h 546"/>
                  <a:gd name="T22" fmla="*/ 127 w 528"/>
                  <a:gd name="T23" fmla="*/ 515 h 546"/>
                  <a:gd name="T24" fmla="*/ 152 w 528"/>
                  <a:gd name="T25" fmla="*/ 546 h 546"/>
                  <a:gd name="T26" fmla="*/ 327 w 528"/>
                  <a:gd name="T27" fmla="*/ 407 h 546"/>
                  <a:gd name="T28" fmla="*/ 283 w 528"/>
                  <a:gd name="T29" fmla="*/ 390 h 546"/>
                  <a:gd name="T30" fmla="*/ 202 w 528"/>
                  <a:gd name="T31" fmla="*/ 272 h 546"/>
                  <a:gd name="T32" fmla="*/ 124 w 528"/>
                  <a:gd name="T33" fmla="*/ 334 h 546"/>
                  <a:gd name="T34" fmla="*/ 148 w 528"/>
                  <a:gd name="T35" fmla="*/ 218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8" h="546">
                    <a:moveTo>
                      <a:pt x="148" y="218"/>
                    </a:moveTo>
                    <a:cubicBezTo>
                      <a:pt x="158" y="142"/>
                      <a:pt x="203" y="85"/>
                      <a:pt x="264" y="71"/>
                    </a:cubicBezTo>
                    <a:cubicBezTo>
                      <a:pt x="312" y="59"/>
                      <a:pt x="363" y="74"/>
                      <a:pt x="414" y="111"/>
                    </a:cubicBezTo>
                    <a:cubicBezTo>
                      <a:pt x="420" y="112"/>
                      <a:pt x="426" y="114"/>
                      <a:pt x="432" y="117"/>
                    </a:cubicBezTo>
                    <a:lnTo>
                      <a:pt x="528" y="154"/>
                    </a:lnTo>
                    <a:cubicBezTo>
                      <a:pt x="443" y="48"/>
                      <a:pt x="344" y="0"/>
                      <a:pt x="252" y="22"/>
                    </a:cubicBezTo>
                    <a:cubicBezTo>
                      <a:pt x="171" y="42"/>
                      <a:pt x="112" y="114"/>
                      <a:pt x="98" y="211"/>
                    </a:cubicBezTo>
                    <a:cubicBezTo>
                      <a:pt x="89" y="273"/>
                      <a:pt x="70" y="346"/>
                      <a:pt x="53" y="391"/>
                    </a:cubicBezTo>
                    <a:lnTo>
                      <a:pt x="24" y="414"/>
                    </a:lnTo>
                    <a:cubicBezTo>
                      <a:pt x="14" y="420"/>
                      <a:pt x="7" y="428"/>
                      <a:pt x="0" y="437"/>
                    </a:cubicBezTo>
                    <a:cubicBezTo>
                      <a:pt x="12" y="438"/>
                      <a:pt x="24" y="440"/>
                      <a:pt x="36" y="445"/>
                    </a:cubicBezTo>
                    <a:cubicBezTo>
                      <a:pt x="68" y="458"/>
                      <a:pt x="101" y="483"/>
                      <a:pt x="127" y="515"/>
                    </a:cubicBezTo>
                    <a:lnTo>
                      <a:pt x="152" y="546"/>
                    </a:lnTo>
                    <a:lnTo>
                      <a:pt x="327" y="407"/>
                    </a:lnTo>
                    <a:lnTo>
                      <a:pt x="283" y="390"/>
                    </a:lnTo>
                    <a:cubicBezTo>
                      <a:pt x="234" y="370"/>
                      <a:pt x="201" y="321"/>
                      <a:pt x="202" y="272"/>
                    </a:cubicBezTo>
                    <a:lnTo>
                      <a:pt x="124" y="334"/>
                    </a:lnTo>
                    <a:cubicBezTo>
                      <a:pt x="135" y="300"/>
                      <a:pt x="143" y="254"/>
                      <a:pt x="148" y="2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806">
                <a:extLst>
                  <a:ext uri="{FF2B5EF4-FFF2-40B4-BE49-F238E27FC236}">
                    <a16:creationId xmlns:a16="http://schemas.microsoft.com/office/drawing/2014/main" id="{2FA6A784-D91F-4F28-91FF-53F622E4827F}"/>
                  </a:ext>
                </a:extLst>
              </p:cNvPr>
              <p:cNvSpPr>
                <a:spLocks/>
              </p:cNvSpPr>
              <p:nvPr/>
            </p:nvSpPr>
            <p:spPr bwMode="auto">
              <a:xfrm>
                <a:off x="4638680" y="1712916"/>
                <a:ext cx="444500" cy="193675"/>
              </a:xfrm>
              <a:custGeom>
                <a:avLst/>
                <a:gdLst>
                  <a:gd name="T0" fmla="*/ 627 w 627"/>
                  <a:gd name="T1" fmla="*/ 189 h 273"/>
                  <a:gd name="T2" fmla="*/ 508 w 627"/>
                  <a:gd name="T3" fmla="*/ 135 h 273"/>
                  <a:gd name="T4" fmla="*/ 407 w 627"/>
                  <a:gd name="T5" fmla="*/ 152 h 273"/>
                  <a:gd name="T6" fmla="*/ 362 w 627"/>
                  <a:gd name="T7" fmla="*/ 114 h 273"/>
                  <a:gd name="T8" fmla="*/ 87 w 627"/>
                  <a:gd name="T9" fmla="*/ 6 h 273"/>
                  <a:gd name="T10" fmla="*/ 55 w 627"/>
                  <a:gd name="T11" fmla="*/ 0 h 273"/>
                  <a:gd name="T12" fmla="*/ 0 w 627"/>
                  <a:gd name="T13" fmla="*/ 24 h 273"/>
                  <a:gd name="T14" fmla="*/ 38 w 627"/>
                  <a:gd name="T15" fmla="*/ 39 h 273"/>
                  <a:gd name="T16" fmla="*/ 319 w 627"/>
                  <a:gd name="T17" fmla="*/ 148 h 273"/>
                  <a:gd name="T18" fmla="*/ 399 w 627"/>
                  <a:gd name="T19" fmla="*/ 273 h 273"/>
                  <a:gd name="T20" fmla="*/ 485 w 627"/>
                  <a:gd name="T21" fmla="*/ 219 h 273"/>
                  <a:gd name="T22" fmla="*/ 584 w 627"/>
                  <a:gd name="T23" fmla="*/ 264 h 273"/>
                  <a:gd name="T24" fmla="*/ 584 w 627"/>
                  <a:gd name="T25" fmla="*/ 264 h 273"/>
                  <a:gd name="T26" fmla="*/ 606 w 627"/>
                  <a:gd name="T27" fmla="*/ 251 h 273"/>
                  <a:gd name="T28" fmla="*/ 606 w 627"/>
                  <a:gd name="T29" fmla="*/ 251 h 273"/>
                  <a:gd name="T30" fmla="*/ 627 w 627"/>
                  <a:gd name="T31" fmla="*/ 189 h 273"/>
                  <a:gd name="T32" fmla="*/ 627 w 627"/>
                  <a:gd name="T33" fmla="*/ 189 h 273"/>
                  <a:gd name="T34" fmla="*/ 627 w 627"/>
                  <a:gd name="T35" fmla="*/ 18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7" h="273">
                    <a:moveTo>
                      <a:pt x="627" y="189"/>
                    </a:moveTo>
                    <a:lnTo>
                      <a:pt x="508" y="135"/>
                    </a:lnTo>
                    <a:lnTo>
                      <a:pt x="407" y="152"/>
                    </a:lnTo>
                    <a:cubicBezTo>
                      <a:pt x="397" y="135"/>
                      <a:pt x="381" y="122"/>
                      <a:pt x="362" y="114"/>
                    </a:cubicBezTo>
                    <a:lnTo>
                      <a:pt x="87" y="6"/>
                    </a:lnTo>
                    <a:cubicBezTo>
                      <a:pt x="76" y="2"/>
                      <a:pt x="65" y="0"/>
                      <a:pt x="55" y="0"/>
                    </a:cubicBezTo>
                    <a:cubicBezTo>
                      <a:pt x="33" y="0"/>
                      <a:pt x="14" y="9"/>
                      <a:pt x="0" y="24"/>
                    </a:cubicBezTo>
                    <a:cubicBezTo>
                      <a:pt x="14" y="26"/>
                      <a:pt x="26" y="31"/>
                      <a:pt x="38" y="39"/>
                    </a:cubicBezTo>
                    <a:lnTo>
                      <a:pt x="319" y="148"/>
                    </a:lnTo>
                    <a:cubicBezTo>
                      <a:pt x="370" y="169"/>
                      <a:pt x="403" y="222"/>
                      <a:pt x="399" y="273"/>
                    </a:cubicBezTo>
                    <a:lnTo>
                      <a:pt x="485" y="219"/>
                    </a:lnTo>
                    <a:lnTo>
                      <a:pt x="584" y="264"/>
                    </a:lnTo>
                    <a:lnTo>
                      <a:pt x="584" y="264"/>
                    </a:lnTo>
                    <a:lnTo>
                      <a:pt x="606" y="251"/>
                    </a:lnTo>
                    <a:lnTo>
                      <a:pt x="606" y="251"/>
                    </a:lnTo>
                    <a:lnTo>
                      <a:pt x="627" y="189"/>
                    </a:lnTo>
                    <a:lnTo>
                      <a:pt x="627" y="189"/>
                    </a:lnTo>
                    <a:lnTo>
                      <a:pt x="627" y="1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9" name="Wifi3">
              <a:extLst>
                <a:ext uri="{FF2B5EF4-FFF2-40B4-BE49-F238E27FC236}">
                  <a16:creationId xmlns:a16="http://schemas.microsoft.com/office/drawing/2014/main" id="{3B2F7B56-A199-4D38-BEB1-6B0569ABBFF7}"/>
                </a:ext>
              </a:extLst>
            </p:cNvPr>
            <p:cNvGrpSpPr>
              <a:grpSpLocks noChangeAspect="1"/>
            </p:cNvGrpSpPr>
            <p:nvPr>
              <p:custDataLst>
                <p:tags r:id="rId6"/>
              </p:custDataLst>
            </p:nvPr>
          </p:nvGrpSpPr>
          <p:grpSpPr bwMode="auto">
            <a:xfrm rot="2518363">
              <a:off x="1149571" y="6489119"/>
              <a:ext cx="473560" cy="321805"/>
              <a:chOff x="2405" y="2885"/>
              <a:chExt cx="880" cy="598"/>
            </a:xfrm>
            <a:grpFill/>
          </p:grpSpPr>
          <p:sp>
            <p:nvSpPr>
              <p:cNvPr id="80" name="Freeform 14">
                <a:extLst>
                  <a:ext uri="{FF2B5EF4-FFF2-40B4-BE49-F238E27FC236}">
                    <a16:creationId xmlns:a16="http://schemas.microsoft.com/office/drawing/2014/main" id="{DCB3D35D-FF3D-4DFF-ADF9-56003BC1EF1A}"/>
                  </a:ext>
                </a:extLst>
              </p:cNvPr>
              <p:cNvSpPr>
                <a:spLocks/>
              </p:cNvSpPr>
              <p:nvPr/>
            </p:nvSpPr>
            <p:spPr bwMode="auto">
              <a:xfrm>
                <a:off x="2405" y="2885"/>
                <a:ext cx="880" cy="274"/>
              </a:xfrm>
              <a:custGeom>
                <a:avLst/>
                <a:gdLst>
                  <a:gd name="T0" fmla="*/ 21642 w 23246"/>
                  <a:gd name="T1" fmla="*/ 7075 h 7218"/>
                  <a:gd name="T2" fmla="*/ 20609 w 23246"/>
                  <a:gd name="T3" fmla="*/ 6647 h 7218"/>
                  <a:gd name="T4" fmla="*/ 11623 w 23246"/>
                  <a:gd name="T5" fmla="*/ 2922 h 7218"/>
                  <a:gd name="T6" fmla="*/ 2636 w 23246"/>
                  <a:gd name="T7" fmla="*/ 6647 h 7218"/>
                  <a:gd name="T8" fmla="*/ 571 w 23246"/>
                  <a:gd name="T9" fmla="*/ 6647 h 7218"/>
                  <a:gd name="T10" fmla="*/ 571 w 23246"/>
                  <a:gd name="T11" fmla="*/ 4581 h 7218"/>
                  <a:gd name="T12" fmla="*/ 5743 w 23246"/>
                  <a:gd name="T13" fmla="*/ 1146 h 7218"/>
                  <a:gd name="T14" fmla="*/ 11623 w 23246"/>
                  <a:gd name="T15" fmla="*/ 0 h 7218"/>
                  <a:gd name="T16" fmla="*/ 17503 w 23246"/>
                  <a:gd name="T17" fmla="*/ 1146 h 7218"/>
                  <a:gd name="T18" fmla="*/ 22675 w 23246"/>
                  <a:gd name="T19" fmla="*/ 4581 h 7218"/>
                  <a:gd name="T20" fmla="*/ 22675 w 23246"/>
                  <a:gd name="T21" fmla="*/ 6647 h 7218"/>
                  <a:gd name="T22" fmla="*/ 21642 w 23246"/>
                  <a:gd name="T23" fmla="*/ 7075 h 7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246" h="7218">
                    <a:moveTo>
                      <a:pt x="21642" y="7075"/>
                    </a:moveTo>
                    <a:cubicBezTo>
                      <a:pt x="21268" y="7075"/>
                      <a:pt x="20894" y="6932"/>
                      <a:pt x="20609" y="6647"/>
                    </a:cubicBezTo>
                    <a:cubicBezTo>
                      <a:pt x="18207" y="4245"/>
                      <a:pt x="15015" y="2922"/>
                      <a:pt x="11623" y="2922"/>
                    </a:cubicBezTo>
                    <a:cubicBezTo>
                      <a:pt x="8230" y="2922"/>
                      <a:pt x="5039" y="4245"/>
                      <a:pt x="2636" y="6647"/>
                    </a:cubicBezTo>
                    <a:cubicBezTo>
                      <a:pt x="2066" y="7218"/>
                      <a:pt x="1141" y="7218"/>
                      <a:pt x="571" y="6647"/>
                    </a:cubicBezTo>
                    <a:cubicBezTo>
                      <a:pt x="0" y="6077"/>
                      <a:pt x="0" y="5152"/>
                      <a:pt x="571" y="4581"/>
                    </a:cubicBezTo>
                    <a:cubicBezTo>
                      <a:pt x="2063" y="3089"/>
                      <a:pt x="3803" y="1933"/>
                      <a:pt x="5743" y="1146"/>
                    </a:cubicBezTo>
                    <a:cubicBezTo>
                      <a:pt x="7616" y="385"/>
                      <a:pt x="9594" y="0"/>
                      <a:pt x="11623" y="0"/>
                    </a:cubicBezTo>
                    <a:cubicBezTo>
                      <a:pt x="13652" y="0"/>
                      <a:pt x="15630" y="385"/>
                      <a:pt x="17503" y="1146"/>
                    </a:cubicBezTo>
                    <a:cubicBezTo>
                      <a:pt x="19442" y="1933"/>
                      <a:pt x="21182" y="3089"/>
                      <a:pt x="22675" y="4581"/>
                    </a:cubicBezTo>
                    <a:cubicBezTo>
                      <a:pt x="23246" y="5152"/>
                      <a:pt x="23246" y="6077"/>
                      <a:pt x="22675" y="6647"/>
                    </a:cubicBezTo>
                    <a:cubicBezTo>
                      <a:pt x="22390" y="6932"/>
                      <a:pt x="22016" y="7075"/>
                      <a:pt x="21642" y="70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5">
                <a:extLst>
                  <a:ext uri="{FF2B5EF4-FFF2-40B4-BE49-F238E27FC236}">
                    <a16:creationId xmlns:a16="http://schemas.microsoft.com/office/drawing/2014/main" id="{65503BF3-6333-4577-9394-00F05C8BE459}"/>
                  </a:ext>
                </a:extLst>
              </p:cNvPr>
              <p:cNvSpPr>
                <a:spLocks/>
              </p:cNvSpPr>
              <p:nvPr/>
            </p:nvSpPr>
            <p:spPr bwMode="auto">
              <a:xfrm>
                <a:off x="2519" y="3098"/>
                <a:ext cx="653" cy="227"/>
              </a:xfrm>
              <a:custGeom>
                <a:avLst/>
                <a:gdLst>
                  <a:gd name="T0" fmla="*/ 15630 w 17234"/>
                  <a:gd name="T1" fmla="*/ 5829 h 5971"/>
                  <a:gd name="T2" fmla="*/ 14597 w 17234"/>
                  <a:gd name="T3" fmla="*/ 5401 h 5971"/>
                  <a:gd name="T4" fmla="*/ 8617 w 17234"/>
                  <a:gd name="T5" fmla="*/ 2921 h 5971"/>
                  <a:gd name="T6" fmla="*/ 2636 w 17234"/>
                  <a:gd name="T7" fmla="*/ 5401 h 5971"/>
                  <a:gd name="T8" fmla="*/ 570 w 17234"/>
                  <a:gd name="T9" fmla="*/ 5401 h 5971"/>
                  <a:gd name="T10" fmla="*/ 570 w 17234"/>
                  <a:gd name="T11" fmla="*/ 3335 h 5971"/>
                  <a:gd name="T12" fmla="*/ 8617 w 17234"/>
                  <a:gd name="T13" fmla="*/ 0 h 5971"/>
                  <a:gd name="T14" fmla="*/ 16663 w 17234"/>
                  <a:gd name="T15" fmla="*/ 3335 h 5971"/>
                  <a:gd name="T16" fmla="*/ 16663 w 17234"/>
                  <a:gd name="T17" fmla="*/ 5401 h 5971"/>
                  <a:gd name="T18" fmla="*/ 15630 w 17234"/>
                  <a:gd name="T19" fmla="*/ 5829 h 5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34" h="5971">
                    <a:moveTo>
                      <a:pt x="15630" y="5829"/>
                    </a:moveTo>
                    <a:cubicBezTo>
                      <a:pt x="15256" y="5829"/>
                      <a:pt x="14883" y="5686"/>
                      <a:pt x="14597" y="5401"/>
                    </a:cubicBezTo>
                    <a:cubicBezTo>
                      <a:pt x="12998" y="3802"/>
                      <a:pt x="10874" y="2921"/>
                      <a:pt x="8617" y="2921"/>
                    </a:cubicBezTo>
                    <a:cubicBezTo>
                      <a:pt x="6359" y="2921"/>
                      <a:pt x="4235" y="3802"/>
                      <a:pt x="2636" y="5401"/>
                    </a:cubicBezTo>
                    <a:cubicBezTo>
                      <a:pt x="2066" y="5971"/>
                      <a:pt x="1141" y="5971"/>
                      <a:pt x="570" y="5401"/>
                    </a:cubicBezTo>
                    <a:cubicBezTo>
                      <a:pt x="0" y="4830"/>
                      <a:pt x="0" y="3905"/>
                      <a:pt x="570" y="3335"/>
                    </a:cubicBezTo>
                    <a:cubicBezTo>
                      <a:pt x="2721" y="1184"/>
                      <a:pt x="5579" y="0"/>
                      <a:pt x="8617" y="0"/>
                    </a:cubicBezTo>
                    <a:cubicBezTo>
                      <a:pt x="11655" y="0"/>
                      <a:pt x="14512" y="1184"/>
                      <a:pt x="16663" y="3335"/>
                    </a:cubicBezTo>
                    <a:cubicBezTo>
                      <a:pt x="17234" y="3905"/>
                      <a:pt x="17234" y="4830"/>
                      <a:pt x="16663" y="5401"/>
                    </a:cubicBezTo>
                    <a:cubicBezTo>
                      <a:pt x="16378" y="5686"/>
                      <a:pt x="16004" y="5829"/>
                      <a:pt x="15630" y="582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6">
                <a:extLst>
                  <a:ext uri="{FF2B5EF4-FFF2-40B4-BE49-F238E27FC236}">
                    <a16:creationId xmlns:a16="http://schemas.microsoft.com/office/drawing/2014/main" id="{13F12837-36FB-4813-AE09-6462BF57985E}"/>
                  </a:ext>
                </a:extLst>
              </p:cNvPr>
              <p:cNvSpPr>
                <a:spLocks/>
              </p:cNvSpPr>
              <p:nvPr/>
            </p:nvSpPr>
            <p:spPr bwMode="auto">
              <a:xfrm>
                <a:off x="2671" y="3319"/>
                <a:ext cx="349" cy="164"/>
              </a:xfrm>
              <a:custGeom>
                <a:avLst/>
                <a:gdLst>
                  <a:gd name="T0" fmla="*/ 7615 w 9218"/>
                  <a:gd name="T1" fmla="*/ 4167 h 4310"/>
                  <a:gd name="T2" fmla="*/ 6582 w 9218"/>
                  <a:gd name="T3" fmla="*/ 3740 h 4310"/>
                  <a:gd name="T4" fmla="*/ 2636 w 9218"/>
                  <a:gd name="T5" fmla="*/ 3740 h 4310"/>
                  <a:gd name="T6" fmla="*/ 570 w 9218"/>
                  <a:gd name="T7" fmla="*/ 3740 h 4310"/>
                  <a:gd name="T8" fmla="*/ 570 w 9218"/>
                  <a:gd name="T9" fmla="*/ 1674 h 4310"/>
                  <a:gd name="T10" fmla="*/ 4609 w 9218"/>
                  <a:gd name="T11" fmla="*/ 0 h 4310"/>
                  <a:gd name="T12" fmla="*/ 8648 w 9218"/>
                  <a:gd name="T13" fmla="*/ 1674 h 4310"/>
                  <a:gd name="T14" fmla="*/ 8648 w 9218"/>
                  <a:gd name="T15" fmla="*/ 3740 h 4310"/>
                  <a:gd name="T16" fmla="*/ 7615 w 9218"/>
                  <a:gd name="T17" fmla="*/ 4167 h 4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8" h="4310">
                    <a:moveTo>
                      <a:pt x="7615" y="4167"/>
                    </a:moveTo>
                    <a:cubicBezTo>
                      <a:pt x="7241" y="4167"/>
                      <a:pt x="6867" y="4025"/>
                      <a:pt x="6582" y="3740"/>
                    </a:cubicBezTo>
                    <a:cubicBezTo>
                      <a:pt x="5494" y="2652"/>
                      <a:pt x="3724" y="2652"/>
                      <a:pt x="2636" y="3740"/>
                    </a:cubicBezTo>
                    <a:cubicBezTo>
                      <a:pt x="2065" y="4310"/>
                      <a:pt x="1141" y="4310"/>
                      <a:pt x="570" y="3740"/>
                    </a:cubicBezTo>
                    <a:cubicBezTo>
                      <a:pt x="0" y="3169"/>
                      <a:pt x="0" y="2244"/>
                      <a:pt x="570" y="1674"/>
                    </a:cubicBezTo>
                    <a:cubicBezTo>
                      <a:pt x="1650" y="594"/>
                      <a:pt x="3084" y="0"/>
                      <a:pt x="4609" y="0"/>
                    </a:cubicBezTo>
                    <a:cubicBezTo>
                      <a:pt x="6134" y="0"/>
                      <a:pt x="7568" y="594"/>
                      <a:pt x="8648" y="1674"/>
                    </a:cubicBezTo>
                    <a:cubicBezTo>
                      <a:pt x="9218" y="2244"/>
                      <a:pt x="9218" y="3169"/>
                      <a:pt x="8648" y="3740"/>
                    </a:cubicBezTo>
                    <a:cubicBezTo>
                      <a:pt x="8362" y="4025"/>
                      <a:pt x="7988" y="4167"/>
                      <a:pt x="7615" y="41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90" name="Technology2" descr="{&quot;Key&quot;:&quot;POWER_USER_SHAPE_ICON&quot;,&quot;Value&quot;:&quot;POWER_USER_SHAPE_ICON_STYLE_1&quot;}">
            <a:extLst>
              <a:ext uri="{FF2B5EF4-FFF2-40B4-BE49-F238E27FC236}">
                <a16:creationId xmlns:a16="http://schemas.microsoft.com/office/drawing/2014/main" id="{B3C9FB07-BF89-458B-B547-25DB21DE7BDE}"/>
              </a:ext>
            </a:extLst>
          </p:cNvPr>
          <p:cNvGrpSpPr>
            <a:grpSpLocks noChangeAspect="1"/>
          </p:cNvGrpSpPr>
          <p:nvPr/>
        </p:nvGrpSpPr>
        <p:grpSpPr>
          <a:xfrm>
            <a:off x="5835228" y="4833598"/>
            <a:ext cx="521542" cy="512702"/>
            <a:chOff x="2349501" y="5734051"/>
            <a:chExt cx="749300" cy="736600"/>
          </a:xfrm>
          <a:solidFill>
            <a:schemeClr val="tx2">
              <a:lumMod val="50000"/>
            </a:schemeClr>
          </a:solidFill>
        </p:grpSpPr>
        <p:sp>
          <p:nvSpPr>
            <p:cNvPr id="92" name="Freeform: Shape 563">
              <a:extLst>
                <a:ext uri="{FF2B5EF4-FFF2-40B4-BE49-F238E27FC236}">
                  <a16:creationId xmlns:a16="http://schemas.microsoft.com/office/drawing/2014/main" id="{FCED2625-6C48-4F48-8F22-6E7B0797F735}"/>
                </a:ext>
              </a:extLst>
            </p:cNvPr>
            <p:cNvSpPr>
              <a:spLocks/>
            </p:cNvSpPr>
            <p:nvPr/>
          </p:nvSpPr>
          <p:spPr bwMode="auto">
            <a:xfrm>
              <a:off x="2349501" y="5756276"/>
              <a:ext cx="352425" cy="704850"/>
            </a:xfrm>
            <a:custGeom>
              <a:avLst/>
              <a:gdLst>
                <a:gd name="connsiteX0" fmla="*/ 311917 w 352425"/>
                <a:gd name="connsiteY0" fmla="*/ 0 h 704850"/>
                <a:gd name="connsiteX1" fmla="*/ 352425 w 352425"/>
                <a:gd name="connsiteY1" fmla="*/ 0 h 704850"/>
                <a:gd name="connsiteX2" fmla="*/ 352425 w 352425"/>
                <a:gd name="connsiteY2" fmla="*/ 193675 h 704850"/>
                <a:gd name="connsiteX3" fmla="*/ 193675 w 352425"/>
                <a:gd name="connsiteY3" fmla="*/ 352762 h 704850"/>
                <a:gd name="connsiteX4" fmla="*/ 352425 w 352425"/>
                <a:gd name="connsiteY4" fmla="*/ 511175 h 704850"/>
                <a:gd name="connsiteX5" fmla="*/ 352425 w 352425"/>
                <a:gd name="connsiteY5" fmla="*/ 704850 h 704850"/>
                <a:gd name="connsiteX6" fmla="*/ 311917 w 352425"/>
                <a:gd name="connsiteY6" fmla="*/ 704850 h 704850"/>
                <a:gd name="connsiteX7" fmla="*/ 281535 w 352425"/>
                <a:gd name="connsiteY7" fmla="*/ 671061 h 704850"/>
                <a:gd name="connsiteX8" fmla="*/ 281535 w 352425"/>
                <a:gd name="connsiteY8" fmla="*/ 650787 h 704850"/>
                <a:gd name="connsiteX9" fmla="*/ 259255 w 352425"/>
                <a:gd name="connsiteY9" fmla="*/ 619025 h 704850"/>
                <a:gd name="connsiteX10" fmla="*/ 230224 w 352425"/>
                <a:gd name="connsiteY10" fmla="*/ 606861 h 704850"/>
                <a:gd name="connsiteX11" fmla="*/ 191066 w 352425"/>
                <a:gd name="connsiteY11" fmla="*/ 614294 h 704850"/>
                <a:gd name="connsiteX12" fmla="*/ 175537 w 352425"/>
                <a:gd name="connsiteY12" fmla="*/ 629837 h 704850"/>
                <a:gd name="connsiteX13" fmla="*/ 131653 w 352425"/>
                <a:gd name="connsiteY13" fmla="*/ 629837 h 704850"/>
                <a:gd name="connsiteX14" fmla="*/ 74941 w 352425"/>
                <a:gd name="connsiteY14" fmla="*/ 573071 h 704850"/>
                <a:gd name="connsiteX15" fmla="*/ 76967 w 352425"/>
                <a:gd name="connsiteY15" fmla="*/ 527117 h 704850"/>
                <a:gd name="connsiteX16" fmla="*/ 91145 w 352425"/>
                <a:gd name="connsiteY16" fmla="*/ 512926 h 704850"/>
                <a:gd name="connsiteX17" fmla="*/ 97896 w 352425"/>
                <a:gd name="connsiteY17" fmla="*/ 475081 h 704850"/>
                <a:gd name="connsiteX18" fmla="*/ 86419 w 352425"/>
                <a:gd name="connsiteY18" fmla="*/ 446698 h 704850"/>
                <a:gd name="connsiteX19" fmla="*/ 53336 w 352425"/>
                <a:gd name="connsiteY19" fmla="*/ 423721 h 704850"/>
                <a:gd name="connsiteX20" fmla="*/ 31057 w 352425"/>
                <a:gd name="connsiteY20" fmla="*/ 423721 h 704850"/>
                <a:gd name="connsiteX21" fmla="*/ 0 w 352425"/>
                <a:gd name="connsiteY21" fmla="*/ 392635 h 704850"/>
                <a:gd name="connsiteX22" fmla="*/ 0 w 352425"/>
                <a:gd name="connsiteY22" fmla="*/ 312216 h 704850"/>
                <a:gd name="connsiteX23" fmla="*/ 31057 w 352425"/>
                <a:gd name="connsiteY23" fmla="*/ 281805 h 704850"/>
                <a:gd name="connsiteX24" fmla="*/ 53336 w 352425"/>
                <a:gd name="connsiteY24" fmla="*/ 281805 h 704850"/>
                <a:gd name="connsiteX25" fmla="*/ 86419 w 352425"/>
                <a:gd name="connsiteY25" fmla="*/ 258152 h 704850"/>
                <a:gd name="connsiteX26" fmla="*/ 97896 w 352425"/>
                <a:gd name="connsiteY26" fmla="*/ 230445 h 704850"/>
                <a:gd name="connsiteX27" fmla="*/ 90469 w 352425"/>
                <a:gd name="connsiteY27" fmla="*/ 191249 h 704850"/>
                <a:gd name="connsiteX28" fmla="*/ 74941 w 352425"/>
                <a:gd name="connsiteY28" fmla="*/ 175706 h 704850"/>
                <a:gd name="connsiteX29" fmla="*/ 74941 w 352425"/>
                <a:gd name="connsiteY29" fmla="*/ 131779 h 704850"/>
                <a:gd name="connsiteX30" fmla="*/ 131653 w 352425"/>
                <a:gd name="connsiteY30" fmla="*/ 75013 h 704850"/>
                <a:gd name="connsiteX31" fmla="*/ 177563 w 352425"/>
                <a:gd name="connsiteY31" fmla="*/ 77040 h 704850"/>
                <a:gd name="connsiteX32" fmla="*/ 191741 w 352425"/>
                <a:gd name="connsiteY32" fmla="*/ 91232 h 704850"/>
                <a:gd name="connsiteX33" fmla="*/ 229549 w 352425"/>
                <a:gd name="connsiteY33" fmla="*/ 97990 h 704850"/>
                <a:gd name="connsiteX34" fmla="*/ 257905 w 352425"/>
                <a:gd name="connsiteY34" fmla="*/ 86501 h 704850"/>
                <a:gd name="connsiteX35" fmla="*/ 281535 w 352425"/>
                <a:gd name="connsiteY35" fmla="*/ 53388 h 704850"/>
                <a:gd name="connsiteX36" fmla="*/ 281535 w 352425"/>
                <a:gd name="connsiteY36" fmla="*/ 31087 h 704850"/>
                <a:gd name="connsiteX37" fmla="*/ 311917 w 352425"/>
                <a:gd name="connsiteY37" fmla="*/ 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2425" h="704850">
                  <a:moveTo>
                    <a:pt x="311917" y="0"/>
                  </a:moveTo>
                  <a:lnTo>
                    <a:pt x="352425" y="0"/>
                  </a:lnTo>
                  <a:lnTo>
                    <a:pt x="352425" y="193675"/>
                  </a:lnTo>
                  <a:cubicBezTo>
                    <a:pt x="264305" y="193675"/>
                    <a:pt x="193675" y="264456"/>
                    <a:pt x="193675" y="352762"/>
                  </a:cubicBezTo>
                  <a:cubicBezTo>
                    <a:pt x="193675" y="440395"/>
                    <a:pt x="264305" y="511175"/>
                    <a:pt x="352425" y="511175"/>
                  </a:cubicBezTo>
                  <a:lnTo>
                    <a:pt x="352425" y="704850"/>
                  </a:lnTo>
                  <a:lnTo>
                    <a:pt x="311917" y="704850"/>
                  </a:lnTo>
                  <a:cubicBezTo>
                    <a:pt x="295038" y="704850"/>
                    <a:pt x="281535" y="690659"/>
                    <a:pt x="281535" y="671061"/>
                  </a:cubicBezTo>
                  <a:lnTo>
                    <a:pt x="281535" y="650787"/>
                  </a:lnTo>
                  <a:cubicBezTo>
                    <a:pt x="281535" y="636595"/>
                    <a:pt x="272758" y="623755"/>
                    <a:pt x="259255" y="619025"/>
                  </a:cubicBezTo>
                  <a:cubicBezTo>
                    <a:pt x="249128" y="615646"/>
                    <a:pt x="239676" y="611591"/>
                    <a:pt x="230224" y="606861"/>
                  </a:cubicBezTo>
                  <a:cubicBezTo>
                    <a:pt x="217396" y="600778"/>
                    <a:pt x="201193" y="603482"/>
                    <a:pt x="191066" y="614294"/>
                  </a:cubicBezTo>
                  <a:lnTo>
                    <a:pt x="175537" y="629837"/>
                  </a:lnTo>
                  <a:cubicBezTo>
                    <a:pt x="163385" y="642002"/>
                    <a:pt x="143806" y="642002"/>
                    <a:pt x="131653" y="629837"/>
                  </a:cubicBezTo>
                  <a:lnTo>
                    <a:pt x="74941" y="573071"/>
                  </a:lnTo>
                  <a:cubicBezTo>
                    <a:pt x="62788" y="560907"/>
                    <a:pt x="62788" y="541309"/>
                    <a:pt x="76967" y="527117"/>
                  </a:cubicBezTo>
                  <a:lnTo>
                    <a:pt x="91145" y="512926"/>
                  </a:lnTo>
                  <a:cubicBezTo>
                    <a:pt x="101272" y="502789"/>
                    <a:pt x="103972" y="487921"/>
                    <a:pt x="97896" y="475081"/>
                  </a:cubicBezTo>
                  <a:cubicBezTo>
                    <a:pt x="93845" y="465620"/>
                    <a:pt x="89794" y="456159"/>
                    <a:pt x="86419" y="446698"/>
                  </a:cubicBezTo>
                  <a:cubicBezTo>
                    <a:pt x="81017" y="432506"/>
                    <a:pt x="68190" y="423721"/>
                    <a:pt x="53336" y="423721"/>
                  </a:cubicBezTo>
                  <a:lnTo>
                    <a:pt x="31057" y="423721"/>
                  </a:lnTo>
                  <a:cubicBezTo>
                    <a:pt x="14178" y="423721"/>
                    <a:pt x="0" y="409530"/>
                    <a:pt x="0" y="392635"/>
                  </a:cubicBezTo>
                  <a:lnTo>
                    <a:pt x="0" y="312216"/>
                  </a:lnTo>
                  <a:cubicBezTo>
                    <a:pt x="0" y="295321"/>
                    <a:pt x="14178" y="281805"/>
                    <a:pt x="31057" y="281805"/>
                  </a:cubicBezTo>
                  <a:lnTo>
                    <a:pt x="53336" y="281805"/>
                  </a:lnTo>
                  <a:cubicBezTo>
                    <a:pt x="68190" y="281805"/>
                    <a:pt x="81017" y="272344"/>
                    <a:pt x="86419" y="258152"/>
                  </a:cubicBezTo>
                  <a:cubicBezTo>
                    <a:pt x="89794" y="248691"/>
                    <a:pt x="93170" y="239906"/>
                    <a:pt x="97896" y="230445"/>
                  </a:cubicBezTo>
                  <a:cubicBezTo>
                    <a:pt x="103972" y="217605"/>
                    <a:pt x="101272" y="201386"/>
                    <a:pt x="90469" y="191249"/>
                  </a:cubicBezTo>
                  <a:lnTo>
                    <a:pt x="74941" y="175706"/>
                  </a:lnTo>
                  <a:cubicBezTo>
                    <a:pt x="62788" y="163542"/>
                    <a:pt x="62788" y="143944"/>
                    <a:pt x="74941" y="131779"/>
                  </a:cubicBezTo>
                  <a:lnTo>
                    <a:pt x="131653" y="75013"/>
                  </a:lnTo>
                  <a:cubicBezTo>
                    <a:pt x="143806" y="62849"/>
                    <a:pt x="163385" y="62849"/>
                    <a:pt x="177563" y="77040"/>
                  </a:cubicBezTo>
                  <a:lnTo>
                    <a:pt x="191741" y="91232"/>
                  </a:lnTo>
                  <a:cubicBezTo>
                    <a:pt x="201868" y="101369"/>
                    <a:pt x="216721" y="104072"/>
                    <a:pt x="229549" y="97990"/>
                  </a:cubicBezTo>
                  <a:cubicBezTo>
                    <a:pt x="239001" y="93935"/>
                    <a:pt x="248453" y="89880"/>
                    <a:pt x="257905" y="86501"/>
                  </a:cubicBezTo>
                  <a:cubicBezTo>
                    <a:pt x="272083" y="81095"/>
                    <a:pt x="281535" y="68255"/>
                    <a:pt x="281535" y="53388"/>
                  </a:cubicBezTo>
                  <a:lnTo>
                    <a:pt x="281535" y="31087"/>
                  </a:lnTo>
                  <a:cubicBezTo>
                    <a:pt x="281535" y="14192"/>
                    <a:pt x="295038" y="0"/>
                    <a:pt x="311917"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480">
              <a:extLst>
                <a:ext uri="{FF2B5EF4-FFF2-40B4-BE49-F238E27FC236}">
                  <a16:creationId xmlns:a16="http://schemas.microsoft.com/office/drawing/2014/main" id="{477A4A1F-EFA5-4889-BAD4-22F7171E86A0}"/>
                </a:ext>
              </a:extLst>
            </p:cNvPr>
            <p:cNvSpPr>
              <a:spLocks/>
            </p:cNvSpPr>
            <p:nvPr/>
          </p:nvSpPr>
          <p:spPr bwMode="auto">
            <a:xfrm>
              <a:off x="2662238" y="6208713"/>
              <a:ext cx="144463" cy="123825"/>
            </a:xfrm>
            <a:custGeom>
              <a:avLst/>
              <a:gdLst>
                <a:gd name="T0" fmla="*/ 214 w 214"/>
                <a:gd name="T1" fmla="*/ 183 h 183"/>
                <a:gd name="T2" fmla="*/ 168 w 214"/>
                <a:gd name="T3" fmla="*/ 183 h 183"/>
                <a:gd name="T4" fmla="*/ 112 w 214"/>
                <a:gd name="T5" fmla="*/ 128 h 183"/>
                <a:gd name="T6" fmla="*/ 112 w 214"/>
                <a:gd name="T7" fmla="*/ 55 h 183"/>
                <a:gd name="T8" fmla="*/ 73 w 214"/>
                <a:gd name="T9" fmla="*/ 16 h 183"/>
                <a:gd name="T10" fmla="*/ 0 w 214"/>
                <a:gd name="T11" fmla="*/ 16 h 183"/>
                <a:gd name="T12" fmla="*/ 0 w 214"/>
                <a:gd name="T13" fmla="*/ 0 h 183"/>
                <a:gd name="T14" fmla="*/ 73 w 214"/>
                <a:gd name="T15" fmla="*/ 0 h 183"/>
                <a:gd name="T16" fmla="*/ 129 w 214"/>
                <a:gd name="T17" fmla="*/ 55 h 183"/>
                <a:gd name="T18" fmla="*/ 129 w 214"/>
                <a:gd name="T19" fmla="*/ 128 h 183"/>
                <a:gd name="T20" fmla="*/ 168 w 214"/>
                <a:gd name="T21" fmla="*/ 167 h 183"/>
                <a:gd name="T22" fmla="*/ 214 w 214"/>
                <a:gd name="T23" fmla="*/ 167 h 183"/>
                <a:gd name="T24" fmla="*/ 214 w 214"/>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183">
                  <a:moveTo>
                    <a:pt x="214" y="183"/>
                  </a:moveTo>
                  <a:lnTo>
                    <a:pt x="168" y="183"/>
                  </a:lnTo>
                  <a:cubicBezTo>
                    <a:pt x="137" y="183"/>
                    <a:pt x="112" y="158"/>
                    <a:pt x="112" y="128"/>
                  </a:cubicBezTo>
                  <a:lnTo>
                    <a:pt x="112" y="55"/>
                  </a:lnTo>
                  <a:cubicBezTo>
                    <a:pt x="112" y="34"/>
                    <a:pt x="95" y="16"/>
                    <a:pt x="73" y="16"/>
                  </a:cubicBezTo>
                  <a:lnTo>
                    <a:pt x="0" y="16"/>
                  </a:lnTo>
                  <a:lnTo>
                    <a:pt x="0" y="0"/>
                  </a:lnTo>
                  <a:lnTo>
                    <a:pt x="73" y="0"/>
                  </a:lnTo>
                  <a:cubicBezTo>
                    <a:pt x="104" y="0"/>
                    <a:pt x="129" y="25"/>
                    <a:pt x="129" y="55"/>
                  </a:cubicBezTo>
                  <a:lnTo>
                    <a:pt x="129" y="128"/>
                  </a:lnTo>
                  <a:cubicBezTo>
                    <a:pt x="129" y="149"/>
                    <a:pt x="146" y="167"/>
                    <a:pt x="168" y="167"/>
                  </a:cubicBezTo>
                  <a:lnTo>
                    <a:pt x="214" y="167"/>
                  </a:lnTo>
                  <a:lnTo>
                    <a:pt x="214"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481">
              <a:extLst>
                <a:ext uri="{FF2B5EF4-FFF2-40B4-BE49-F238E27FC236}">
                  <a16:creationId xmlns:a16="http://schemas.microsoft.com/office/drawing/2014/main" id="{2D7D05D6-8694-4549-923A-C6591E9557FD}"/>
                </a:ext>
              </a:extLst>
            </p:cNvPr>
            <p:cNvSpPr>
              <a:spLocks/>
            </p:cNvSpPr>
            <p:nvPr/>
          </p:nvSpPr>
          <p:spPr bwMode="auto">
            <a:xfrm>
              <a:off x="2778126" y="6208713"/>
              <a:ext cx="155575" cy="190500"/>
            </a:xfrm>
            <a:custGeom>
              <a:avLst/>
              <a:gdLst>
                <a:gd name="T0" fmla="*/ 232 w 232"/>
                <a:gd name="T1" fmla="*/ 282 h 282"/>
                <a:gd name="T2" fmla="*/ 215 w 232"/>
                <a:gd name="T3" fmla="*/ 282 h 282"/>
                <a:gd name="T4" fmla="*/ 215 w 232"/>
                <a:gd name="T5" fmla="*/ 93 h 282"/>
                <a:gd name="T6" fmla="*/ 139 w 232"/>
                <a:gd name="T7" fmla="*/ 16 h 282"/>
                <a:gd name="T8" fmla="*/ 0 w 232"/>
                <a:gd name="T9" fmla="*/ 16 h 282"/>
                <a:gd name="T10" fmla="*/ 0 w 232"/>
                <a:gd name="T11" fmla="*/ 0 h 282"/>
                <a:gd name="T12" fmla="*/ 139 w 232"/>
                <a:gd name="T13" fmla="*/ 0 h 282"/>
                <a:gd name="T14" fmla="*/ 232 w 232"/>
                <a:gd name="T15" fmla="*/ 93 h 282"/>
                <a:gd name="T16" fmla="*/ 232 w 232"/>
                <a:gd name="T17"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82">
                  <a:moveTo>
                    <a:pt x="232" y="282"/>
                  </a:moveTo>
                  <a:lnTo>
                    <a:pt x="215" y="282"/>
                  </a:lnTo>
                  <a:lnTo>
                    <a:pt x="215" y="93"/>
                  </a:lnTo>
                  <a:cubicBezTo>
                    <a:pt x="215" y="51"/>
                    <a:pt x="181" y="16"/>
                    <a:pt x="139" y="16"/>
                  </a:cubicBezTo>
                  <a:lnTo>
                    <a:pt x="0" y="16"/>
                  </a:lnTo>
                  <a:lnTo>
                    <a:pt x="0" y="0"/>
                  </a:lnTo>
                  <a:lnTo>
                    <a:pt x="139" y="0"/>
                  </a:lnTo>
                  <a:cubicBezTo>
                    <a:pt x="190" y="0"/>
                    <a:pt x="232" y="41"/>
                    <a:pt x="232" y="93"/>
                  </a:cubicBezTo>
                  <a:lnTo>
                    <a:pt x="232" y="2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482">
              <a:extLst>
                <a:ext uri="{FF2B5EF4-FFF2-40B4-BE49-F238E27FC236}">
                  <a16:creationId xmlns:a16="http://schemas.microsoft.com/office/drawing/2014/main" id="{E2F18801-7A36-4DC2-9A56-0AA91428221A}"/>
                </a:ext>
              </a:extLst>
            </p:cNvPr>
            <p:cNvSpPr>
              <a:spLocks noEditPoints="1"/>
            </p:cNvSpPr>
            <p:nvPr/>
          </p:nvSpPr>
          <p:spPr bwMode="auto">
            <a:xfrm>
              <a:off x="2890838" y="6394451"/>
              <a:ext cx="76200" cy="76200"/>
            </a:xfrm>
            <a:custGeom>
              <a:avLst/>
              <a:gdLst>
                <a:gd name="T0" fmla="*/ 57 w 113"/>
                <a:gd name="T1" fmla="*/ 17 h 114"/>
                <a:gd name="T2" fmla="*/ 16 w 113"/>
                <a:gd name="T3" fmla="*/ 57 h 114"/>
                <a:gd name="T4" fmla="*/ 57 w 113"/>
                <a:gd name="T5" fmla="*/ 97 h 114"/>
                <a:gd name="T6" fmla="*/ 97 w 113"/>
                <a:gd name="T7" fmla="*/ 57 h 114"/>
                <a:gd name="T8" fmla="*/ 57 w 113"/>
                <a:gd name="T9" fmla="*/ 17 h 114"/>
                <a:gd name="T10" fmla="*/ 57 w 113"/>
                <a:gd name="T11" fmla="*/ 114 h 114"/>
                <a:gd name="T12" fmla="*/ 0 w 113"/>
                <a:gd name="T13" fmla="*/ 57 h 114"/>
                <a:gd name="T14" fmla="*/ 57 w 113"/>
                <a:gd name="T15" fmla="*/ 0 h 114"/>
                <a:gd name="T16" fmla="*/ 113 w 113"/>
                <a:gd name="T17" fmla="*/ 57 h 114"/>
                <a:gd name="T18" fmla="*/ 57 w 11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7" y="17"/>
                  </a:moveTo>
                  <a:cubicBezTo>
                    <a:pt x="34" y="17"/>
                    <a:pt x="16" y="35"/>
                    <a:pt x="16" y="57"/>
                  </a:cubicBezTo>
                  <a:cubicBezTo>
                    <a:pt x="16" y="79"/>
                    <a:pt x="34" y="97"/>
                    <a:pt x="57" y="97"/>
                  </a:cubicBezTo>
                  <a:cubicBezTo>
                    <a:pt x="79" y="97"/>
                    <a:pt x="97" y="79"/>
                    <a:pt x="97" y="57"/>
                  </a:cubicBezTo>
                  <a:cubicBezTo>
                    <a:pt x="97" y="35"/>
                    <a:pt x="79" y="17"/>
                    <a:pt x="57" y="17"/>
                  </a:cubicBezTo>
                  <a:close/>
                  <a:moveTo>
                    <a:pt x="57" y="114"/>
                  </a:moveTo>
                  <a:cubicBezTo>
                    <a:pt x="25" y="114"/>
                    <a:pt x="0" y="88"/>
                    <a:pt x="0" y="57"/>
                  </a:cubicBezTo>
                  <a:cubicBezTo>
                    <a:pt x="0" y="26"/>
                    <a:pt x="25" y="0"/>
                    <a:pt x="57" y="0"/>
                  </a:cubicBezTo>
                  <a:cubicBezTo>
                    <a:pt x="88" y="0"/>
                    <a:pt x="113" y="26"/>
                    <a:pt x="113" y="57"/>
                  </a:cubicBezTo>
                  <a:cubicBezTo>
                    <a:pt x="113" y="88"/>
                    <a:pt x="88" y="114"/>
                    <a:pt x="57"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483">
              <a:extLst>
                <a:ext uri="{FF2B5EF4-FFF2-40B4-BE49-F238E27FC236}">
                  <a16:creationId xmlns:a16="http://schemas.microsoft.com/office/drawing/2014/main" id="{65E7562B-210E-4CF9-9B87-0A388628619A}"/>
                </a:ext>
              </a:extLst>
            </p:cNvPr>
            <p:cNvSpPr>
              <a:spLocks noEditPoints="1"/>
            </p:cNvSpPr>
            <p:nvPr/>
          </p:nvSpPr>
          <p:spPr bwMode="auto">
            <a:xfrm>
              <a:off x="2801938" y="6289676"/>
              <a:ext cx="76200" cy="76200"/>
            </a:xfrm>
            <a:custGeom>
              <a:avLst/>
              <a:gdLst>
                <a:gd name="T0" fmla="*/ 56 w 113"/>
                <a:gd name="T1" fmla="*/ 17 h 114"/>
                <a:gd name="T2" fmla="*/ 16 w 113"/>
                <a:gd name="T3" fmla="*/ 57 h 114"/>
                <a:gd name="T4" fmla="*/ 56 w 113"/>
                <a:gd name="T5" fmla="*/ 97 h 114"/>
                <a:gd name="T6" fmla="*/ 97 w 113"/>
                <a:gd name="T7" fmla="*/ 57 h 114"/>
                <a:gd name="T8" fmla="*/ 56 w 113"/>
                <a:gd name="T9" fmla="*/ 17 h 114"/>
                <a:gd name="T10" fmla="*/ 56 w 113"/>
                <a:gd name="T11" fmla="*/ 114 h 114"/>
                <a:gd name="T12" fmla="*/ 0 w 113"/>
                <a:gd name="T13" fmla="*/ 57 h 114"/>
                <a:gd name="T14" fmla="*/ 56 w 113"/>
                <a:gd name="T15" fmla="*/ 0 h 114"/>
                <a:gd name="T16" fmla="*/ 113 w 113"/>
                <a:gd name="T17" fmla="*/ 57 h 114"/>
                <a:gd name="T18" fmla="*/ 56 w 11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6" y="17"/>
                  </a:moveTo>
                  <a:cubicBezTo>
                    <a:pt x="34" y="17"/>
                    <a:pt x="16" y="35"/>
                    <a:pt x="16" y="57"/>
                  </a:cubicBezTo>
                  <a:cubicBezTo>
                    <a:pt x="16" y="79"/>
                    <a:pt x="34" y="97"/>
                    <a:pt x="56" y="97"/>
                  </a:cubicBezTo>
                  <a:cubicBezTo>
                    <a:pt x="79" y="97"/>
                    <a:pt x="97" y="79"/>
                    <a:pt x="97" y="57"/>
                  </a:cubicBezTo>
                  <a:cubicBezTo>
                    <a:pt x="97" y="35"/>
                    <a:pt x="79" y="17"/>
                    <a:pt x="56" y="17"/>
                  </a:cubicBezTo>
                  <a:close/>
                  <a:moveTo>
                    <a:pt x="56" y="114"/>
                  </a:moveTo>
                  <a:cubicBezTo>
                    <a:pt x="25" y="114"/>
                    <a:pt x="0" y="88"/>
                    <a:pt x="0" y="57"/>
                  </a:cubicBezTo>
                  <a:cubicBezTo>
                    <a:pt x="0" y="26"/>
                    <a:pt x="25" y="0"/>
                    <a:pt x="56" y="0"/>
                  </a:cubicBezTo>
                  <a:cubicBezTo>
                    <a:pt x="88" y="0"/>
                    <a:pt x="113" y="26"/>
                    <a:pt x="113" y="57"/>
                  </a:cubicBezTo>
                  <a:cubicBezTo>
                    <a:pt x="113" y="88"/>
                    <a:pt x="88" y="114"/>
                    <a:pt x="56"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484">
              <a:extLst>
                <a:ext uri="{FF2B5EF4-FFF2-40B4-BE49-F238E27FC236}">
                  <a16:creationId xmlns:a16="http://schemas.microsoft.com/office/drawing/2014/main" id="{1CE00257-383E-4853-989F-719E91901BB6}"/>
                </a:ext>
              </a:extLst>
            </p:cNvPr>
            <p:cNvSpPr>
              <a:spLocks/>
            </p:cNvSpPr>
            <p:nvPr/>
          </p:nvSpPr>
          <p:spPr bwMode="auto">
            <a:xfrm>
              <a:off x="2662238" y="5873751"/>
              <a:ext cx="144463" cy="123825"/>
            </a:xfrm>
            <a:custGeom>
              <a:avLst/>
              <a:gdLst>
                <a:gd name="T0" fmla="*/ 73 w 214"/>
                <a:gd name="T1" fmla="*/ 184 h 184"/>
                <a:gd name="T2" fmla="*/ 0 w 214"/>
                <a:gd name="T3" fmla="*/ 184 h 184"/>
                <a:gd name="T4" fmla="*/ 0 w 214"/>
                <a:gd name="T5" fmla="*/ 167 h 184"/>
                <a:gd name="T6" fmla="*/ 73 w 214"/>
                <a:gd name="T7" fmla="*/ 167 h 184"/>
                <a:gd name="T8" fmla="*/ 112 w 214"/>
                <a:gd name="T9" fmla="*/ 128 h 184"/>
                <a:gd name="T10" fmla="*/ 112 w 214"/>
                <a:gd name="T11" fmla="*/ 55 h 184"/>
                <a:gd name="T12" fmla="*/ 168 w 214"/>
                <a:gd name="T13" fmla="*/ 0 h 184"/>
                <a:gd name="T14" fmla="*/ 214 w 214"/>
                <a:gd name="T15" fmla="*/ 0 h 184"/>
                <a:gd name="T16" fmla="*/ 214 w 214"/>
                <a:gd name="T17" fmla="*/ 16 h 184"/>
                <a:gd name="T18" fmla="*/ 168 w 214"/>
                <a:gd name="T19" fmla="*/ 16 h 184"/>
                <a:gd name="T20" fmla="*/ 129 w 214"/>
                <a:gd name="T21" fmla="*/ 55 h 184"/>
                <a:gd name="T22" fmla="*/ 129 w 214"/>
                <a:gd name="T23" fmla="*/ 128 h 184"/>
                <a:gd name="T24" fmla="*/ 73 w 214"/>
                <a:gd name="T2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184">
                  <a:moveTo>
                    <a:pt x="73" y="184"/>
                  </a:moveTo>
                  <a:lnTo>
                    <a:pt x="0" y="184"/>
                  </a:lnTo>
                  <a:lnTo>
                    <a:pt x="0" y="167"/>
                  </a:lnTo>
                  <a:lnTo>
                    <a:pt x="73" y="167"/>
                  </a:lnTo>
                  <a:cubicBezTo>
                    <a:pt x="95" y="167"/>
                    <a:pt x="112" y="149"/>
                    <a:pt x="112" y="128"/>
                  </a:cubicBezTo>
                  <a:lnTo>
                    <a:pt x="112" y="55"/>
                  </a:lnTo>
                  <a:cubicBezTo>
                    <a:pt x="112" y="25"/>
                    <a:pt x="137" y="0"/>
                    <a:pt x="168" y="0"/>
                  </a:cubicBezTo>
                  <a:lnTo>
                    <a:pt x="214" y="0"/>
                  </a:lnTo>
                  <a:lnTo>
                    <a:pt x="214" y="16"/>
                  </a:lnTo>
                  <a:lnTo>
                    <a:pt x="168" y="16"/>
                  </a:lnTo>
                  <a:cubicBezTo>
                    <a:pt x="146" y="16"/>
                    <a:pt x="129" y="34"/>
                    <a:pt x="129" y="55"/>
                  </a:cubicBezTo>
                  <a:lnTo>
                    <a:pt x="129" y="128"/>
                  </a:lnTo>
                  <a:cubicBezTo>
                    <a:pt x="129" y="159"/>
                    <a:pt x="104" y="184"/>
                    <a:pt x="73"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485">
              <a:extLst>
                <a:ext uri="{FF2B5EF4-FFF2-40B4-BE49-F238E27FC236}">
                  <a16:creationId xmlns:a16="http://schemas.microsoft.com/office/drawing/2014/main" id="{DB29B82E-E69F-400D-B96E-D67BCCC56E9A}"/>
                </a:ext>
              </a:extLst>
            </p:cNvPr>
            <p:cNvSpPr>
              <a:spLocks noEditPoints="1"/>
            </p:cNvSpPr>
            <p:nvPr/>
          </p:nvSpPr>
          <p:spPr bwMode="auto">
            <a:xfrm>
              <a:off x="2801938" y="5840413"/>
              <a:ext cx="76200" cy="76200"/>
            </a:xfrm>
            <a:custGeom>
              <a:avLst/>
              <a:gdLst>
                <a:gd name="T0" fmla="*/ 56 w 113"/>
                <a:gd name="T1" fmla="*/ 17 h 114"/>
                <a:gd name="T2" fmla="*/ 16 w 113"/>
                <a:gd name="T3" fmla="*/ 57 h 114"/>
                <a:gd name="T4" fmla="*/ 56 w 113"/>
                <a:gd name="T5" fmla="*/ 97 h 114"/>
                <a:gd name="T6" fmla="*/ 97 w 113"/>
                <a:gd name="T7" fmla="*/ 57 h 114"/>
                <a:gd name="T8" fmla="*/ 56 w 113"/>
                <a:gd name="T9" fmla="*/ 17 h 114"/>
                <a:gd name="T10" fmla="*/ 56 w 113"/>
                <a:gd name="T11" fmla="*/ 114 h 114"/>
                <a:gd name="T12" fmla="*/ 0 w 113"/>
                <a:gd name="T13" fmla="*/ 57 h 114"/>
                <a:gd name="T14" fmla="*/ 56 w 113"/>
                <a:gd name="T15" fmla="*/ 0 h 114"/>
                <a:gd name="T16" fmla="*/ 113 w 113"/>
                <a:gd name="T17" fmla="*/ 57 h 114"/>
                <a:gd name="T18" fmla="*/ 56 w 11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6" y="17"/>
                  </a:moveTo>
                  <a:cubicBezTo>
                    <a:pt x="34" y="17"/>
                    <a:pt x="16" y="35"/>
                    <a:pt x="16" y="57"/>
                  </a:cubicBezTo>
                  <a:cubicBezTo>
                    <a:pt x="16" y="79"/>
                    <a:pt x="34" y="97"/>
                    <a:pt x="56" y="97"/>
                  </a:cubicBezTo>
                  <a:cubicBezTo>
                    <a:pt x="79" y="97"/>
                    <a:pt x="97" y="79"/>
                    <a:pt x="97" y="57"/>
                  </a:cubicBezTo>
                  <a:cubicBezTo>
                    <a:pt x="97" y="35"/>
                    <a:pt x="79" y="17"/>
                    <a:pt x="56" y="17"/>
                  </a:cubicBezTo>
                  <a:close/>
                  <a:moveTo>
                    <a:pt x="56" y="114"/>
                  </a:moveTo>
                  <a:cubicBezTo>
                    <a:pt x="25" y="114"/>
                    <a:pt x="0" y="88"/>
                    <a:pt x="0" y="57"/>
                  </a:cubicBezTo>
                  <a:cubicBezTo>
                    <a:pt x="0" y="26"/>
                    <a:pt x="25" y="0"/>
                    <a:pt x="56" y="0"/>
                  </a:cubicBezTo>
                  <a:cubicBezTo>
                    <a:pt x="88" y="0"/>
                    <a:pt x="113" y="26"/>
                    <a:pt x="113" y="57"/>
                  </a:cubicBezTo>
                  <a:cubicBezTo>
                    <a:pt x="113" y="88"/>
                    <a:pt x="88" y="114"/>
                    <a:pt x="56"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Rectangle 486">
              <a:extLst>
                <a:ext uri="{FF2B5EF4-FFF2-40B4-BE49-F238E27FC236}">
                  <a16:creationId xmlns:a16="http://schemas.microsoft.com/office/drawing/2014/main" id="{959C38FE-F0B9-4BC5-B754-1FBCA6EF0FCE}"/>
                </a:ext>
              </a:extLst>
            </p:cNvPr>
            <p:cNvSpPr>
              <a:spLocks noChangeArrowheads="1"/>
            </p:cNvSpPr>
            <p:nvPr/>
          </p:nvSpPr>
          <p:spPr bwMode="auto">
            <a:xfrm>
              <a:off x="2732088" y="6097588"/>
              <a:ext cx="196850"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Rectangle 487">
              <a:extLst>
                <a:ext uri="{FF2B5EF4-FFF2-40B4-BE49-F238E27FC236}">
                  <a16:creationId xmlns:a16="http://schemas.microsoft.com/office/drawing/2014/main" id="{8AE3FE3F-1D82-428F-A3B2-891E551BE6BD}"/>
                </a:ext>
              </a:extLst>
            </p:cNvPr>
            <p:cNvSpPr>
              <a:spLocks noChangeArrowheads="1"/>
            </p:cNvSpPr>
            <p:nvPr/>
          </p:nvSpPr>
          <p:spPr bwMode="auto">
            <a:xfrm>
              <a:off x="2578101" y="6097588"/>
              <a:ext cx="123825"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488">
              <a:extLst>
                <a:ext uri="{FF2B5EF4-FFF2-40B4-BE49-F238E27FC236}">
                  <a16:creationId xmlns:a16="http://schemas.microsoft.com/office/drawing/2014/main" id="{878E4C92-3D39-43F8-AB22-C63422FCAF7F}"/>
                </a:ext>
              </a:extLst>
            </p:cNvPr>
            <p:cNvSpPr>
              <a:spLocks noEditPoints="1"/>
            </p:cNvSpPr>
            <p:nvPr/>
          </p:nvSpPr>
          <p:spPr bwMode="auto">
            <a:xfrm>
              <a:off x="2925763" y="6064251"/>
              <a:ext cx="76200" cy="76200"/>
            </a:xfrm>
            <a:custGeom>
              <a:avLst/>
              <a:gdLst>
                <a:gd name="T0" fmla="*/ 57 w 114"/>
                <a:gd name="T1" fmla="*/ 16 h 113"/>
                <a:gd name="T2" fmla="*/ 17 w 114"/>
                <a:gd name="T3" fmla="*/ 57 h 113"/>
                <a:gd name="T4" fmla="*/ 57 w 114"/>
                <a:gd name="T5" fmla="*/ 97 h 113"/>
                <a:gd name="T6" fmla="*/ 97 w 114"/>
                <a:gd name="T7" fmla="*/ 57 h 113"/>
                <a:gd name="T8" fmla="*/ 57 w 114"/>
                <a:gd name="T9" fmla="*/ 16 h 113"/>
                <a:gd name="T10" fmla="*/ 57 w 114"/>
                <a:gd name="T11" fmla="*/ 113 h 113"/>
                <a:gd name="T12" fmla="*/ 0 w 114"/>
                <a:gd name="T13" fmla="*/ 57 h 113"/>
                <a:gd name="T14" fmla="*/ 57 w 114"/>
                <a:gd name="T15" fmla="*/ 0 h 113"/>
                <a:gd name="T16" fmla="*/ 114 w 114"/>
                <a:gd name="T17" fmla="*/ 57 h 113"/>
                <a:gd name="T18" fmla="*/ 57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57" y="16"/>
                  </a:moveTo>
                  <a:cubicBezTo>
                    <a:pt x="35" y="16"/>
                    <a:pt x="17" y="34"/>
                    <a:pt x="17" y="57"/>
                  </a:cubicBezTo>
                  <a:cubicBezTo>
                    <a:pt x="17" y="79"/>
                    <a:pt x="35" y="97"/>
                    <a:pt x="57" y="97"/>
                  </a:cubicBezTo>
                  <a:cubicBezTo>
                    <a:pt x="79" y="97"/>
                    <a:pt x="97" y="79"/>
                    <a:pt x="97" y="57"/>
                  </a:cubicBezTo>
                  <a:cubicBezTo>
                    <a:pt x="97" y="34"/>
                    <a:pt x="79" y="16"/>
                    <a:pt x="57" y="16"/>
                  </a:cubicBezTo>
                  <a:close/>
                  <a:moveTo>
                    <a:pt x="57" y="113"/>
                  </a:moveTo>
                  <a:cubicBezTo>
                    <a:pt x="25" y="113"/>
                    <a:pt x="0" y="88"/>
                    <a:pt x="0" y="57"/>
                  </a:cubicBezTo>
                  <a:cubicBezTo>
                    <a:pt x="0" y="25"/>
                    <a:pt x="25" y="0"/>
                    <a:pt x="57" y="0"/>
                  </a:cubicBezTo>
                  <a:cubicBezTo>
                    <a:pt x="88" y="0"/>
                    <a:pt x="114" y="25"/>
                    <a:pt x="114" y="57"/>
                  </a:cubicBezTo>
                  <a:cubicBezTo>
                    <a:pt x="114" y="88"/>
                    <a:pt x="88" y="113"/>
                    <a:pt x="57" y="1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489">
              <a:extLst>
                <a:ext uri="{FF2B5EF4-FFF2-40B4-BE49-F238E27FC236}">
                  <a16:creationId xmlns:a16="http://schemas.microsoft.com/office/drawing/2014/main" id="{F18238B8-5AC0-4178-B251-E665004A1607}"/>
                </a:ext>
              </a:extLst>
            </p:cNvPr>
            <p:cNvSpPr>
              <a:spLocks/>
            </p:cNvSpPr>
            <p:nvPr/>
          </p:nvSpPr>
          <p:spPr bwMode="auto">
            <a:xfrm>
              <a:off x="2778126" y="5805488"/>
              <a:ext cx="155575" cy="192088"/>
            </a:xfrm>
            <a:custGeom>
              <a:avLst/>
              <a:gdLst>
                <a:gd name="T0" fmla="*/ 139 w 232"/>
                <a:gd name="T1" fmla="*/ 283 h 283"/>
                <a:gd name="T2" fmla="*/ 0 w 232"/>
                <a:gd name="T3" fmla="*/ 283 h 283"/>
                <a:gd name="T4" fmla="*/ 0 w 232"/>
                <a:gd name="T5" fmla="*/ 266 h 283"/>
                <a:gd name="T6" fmla="*/ 139 w 232"/>
                <a:gd name="T7" fmla="*/ 266 h 283"/>
                <a:gd name="T8" fmla="*/ 215 w 232"/>
                <a:gd name="T9" fmla="*/ 189 h 283"/>
                <a:gd name="T10" fmla="*/ 215 w 232"/>
                <a:gd name="T11" fmla="*/ 0 h 283"/>
                <a:gd name="T12" fmla="*/ 232 w 232"/>
                <a:gd name="T13" fmla="*/ 0 h 283"/>
                <a:gd name="T14" fmla="*/ 232 w 232"/>
                <a:gd name="T15" fmla="*/ 189 h 283"/>
                <a:gd name="T16" fmla="*/ 139 w 232"/>
                <a:gd name="T17"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83">
                  <a:moveTo>
                    <a:pt x="139" y="283"/>
                  </a:moveTo>
                  <a:lnTo>
                    <a:pt x="0" y="283"/>
                  </a:lnTo>
                  <a:lnTo>
                    <a:pt x="0" y="266"/>
                  </a:lnTo>
                  <a:lnTo>
                    <a:pt x="139" y="266"/>
                  </a:lnTo>
                  <a:cubicBezTo>
                    <a:pt x="181" y="266"/>
                    <a:pt x="215" y="232"/>
                    <a:pt x="215" y="189"/>
                  </a:cubicBezTo>
                  <a:lnTo>
                    <a:pt x="215" y="0"/>
                  </a:lnTo>
                  <a:lnTo>
                    <a:pt x="232" y="0"/>
                  </a:lnTo>
                  <a:lnTo>
                    <a:pt x="232" y="189"/>
                  </a:lnTo>
                  <a:cubicBezTo>
                    <a:pt x="232" y="241"/>
                    <a:pt x="190" y="283"/>
                    <a:pt x="13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490">
              <a:extLst>
                <a:ext uri="{FF2B5EF4-FFF2-40B4-BE49-F238E27FC236}">
                  <a16:creationId xmlns:a16="http://schemas.microsoft.com/office/drawing/2014/main" id="{DABB0150-7DBB-49EE-B785-38573598B44C}"/>
                </a:ext>
              </a:extLst>
            </p:cNvPr>
            <p:cNvSpPr>
              <a:spLocks/>
            </p:cNvSpPr>
            <p:nvPr/>
          </p:nvSpPr>
          <p:spPr bwMode="auto">
            <a:xfrm>
              <a:off x="2851151" y="5937251"/>
              <a:ext cx="187325" cy="114300"/>
            </a:xfrm>
            <a:custGeom>
              <a:avLst/>
              <a:gdLst>
                <a:gd name="T0" fmla="*/ 41 w 278"/>
                <a:gd name="T1" fmla="*/ 170 h 170"/>
                <a:gd name="T2" fmla="*/ 0 w 278"/>
                <a:gd name="T3" fmla="*/ 170 h 170"/>
                <a:gd name="T4" fmla="*/ 0 w 278"/>
                <a:gd name="T5" fmla="*/ 153 h 170"/>
                <a:gd name="T6" fmla="*/ 41 w 278"/>
                <a:gd name="T7" fmla="*/ 153 h 170"/>
                <a:gd name="T8" fmla="*/ 105 w 278"/>
                <a:gd name="T9" fmla="*/ 131 h 170"/>
                <a:gd name="T10" fmla="*/ 267 w 278"/>
                <a:gd name="T11" fmla="*/ 0 h 170"/>
                <a:gd name="T12" fmla="*/ 278 w 278"/>
                <a:gd name="T13" fmla="*/ 13 h 170"/>
                <a:gd name="T14" fmla="*/ 115 w 278"/>
                <a:gd name="T15" fmla="*/ 144 h 170"/>
                <a:gd name="T16" fmla="*/ 41 w 27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170">
                  <a:moveTo>
                    <a:pt x="41" y="170"/>
                  </a:moveTo>
                  <a:lnTo>
                    <a:pt x="0" y="170"/>
                  </a:lnTo>
                  <a:lnTo>
                    <a:pt x="0" y="153"/>
                  </a:lnTo>
                  <a:lnTo>
                    <a:pt x="41" y="153"/>
                  </a:lnTo>
                  <a:cubicBezTo>
                    <a:pt x="64" y="153"/>
                    <a:pt x="87" y="145"/>
                    <a:pt x="105" y="131"/>
                  </a:cubicBezTo>
                  <a:lnTo>
                    <a:pt x="267" y="0"/>
                  </a:lnTo>
                  <a:lnTo>
                    <a:pt x="278" y="13"/>
                  </a:lnTo>
                  <a:lnTo>
                    <a:pt x="115" y="144"/>
                  </a:lnTo>
                  <a:cubicBezTo>
                    <a:pt x="94" y="160"/>
                    <a:pt x="68" y="170"/>
                    <a:pt x="41" y="17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Rectangle 491">
              <a:extLst>
                <a:ext uri="{FF2B5EF4-FFF2-40B4-BE49-F238E27FC236}">
                  <a16:creationId xmlns:a16="http://schemas.microsoft.com/office/drawing/2014/main" id="{4CF3986D-8B36-46AD-938F-8C893AAD8407}"/>
                </a:ext>
              </a:extLst>
            </p:cNvPr>
            <p:cNvSpPr>
              <a:spLocks noChangeArrowheads="1"/>
            </p:cNvSpPr>
            <p:nvPr/>
          </p:nvSpPr>
          <p:spPr bwMode="auto">
            <a:xfrm>
              <a:off x="2636838" y="6040438"/>
              <a:ext cx="166688"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Rectangle 492">
              <a:extLst>
                <a:ext uri="{FF2B5EF4-FFF2-40B4-BE49-F238E27FC236}">
                  <a16:creationId xmlns:a16="http://schemas.microsoft.com/office/drawing/2014/main" id="{CCB91374-250A-4A68-8DA6-596591B60934}"/>
                </a:ext>
              </a:extLst>
            </p:cNvPr>
            <p:cNvSpPr>
              <a:spLocks noChangeArrowheads="1"/>
            </p:cNvSpPr>
            <p:nvPr/>
          </p:nvSpPr>
          <p:spPr bwMode="auto">
            <a:xfrm>
              <a:off x="2592388" y="6040438"/>
              <a:ext cx="22225"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493">
              <a:extLst>
                <a:ext uri="{FF2B5EF4-FFF2-40B4-BE49-F238E27FC236}">
                  <a16:creationId xmlns:a16="http://schemas.microsoft.com/office/drawing/2014/main" id="{D4DE9EEC-CA74-420A-A7C9-8D5D0F9D6494}"/>
                </a:ext>
              </a:extLst>
            </p:cNvPr>
            <p:cNvSpPr>
              <a:spLocks noEditPoints="1"/>
            </p:cNvSpPr>
            <p:nvPr/>
          </p:nvSpPr>
          <p:spPr bwMode="auto">
            <a:xfrm>
              <a:off x="2890838" y="5734051"/>
              <a:ext cx="76200" cy="77788"/>
            </a:xfrm>
            <a:custGeom>
              <a:avLst/>
              <a:gdLst>
                <a:gd name="T0" fmla="*/ 57 w 113"/>
                <a:gd name="T1" fmla="*/ 17 h 114"/>
                <a:gd name="T2" fmla="*/ 16 w 113"/>
                <a:gd name="T3" fmla="*/ 57 h 114"/>
                <a:gd name="T4" fmla="*/ 57 w 113"/>
                <a:gd name="T5" fmla="*/ 97 h 114"/>
                <a:gd name="T6" fmla="*/ 97 w 113"/>
                <a:gd name="T7" fmla="*/ 57 h 114"/>
                <a:gd name="T8" fmla="*/ 57 w 113"/>
                <a:gd name="T9" fmla="*/ 17 h 114"/>
                <a:gd name="T10" fmla="*/ 57 w 113"/>
                <a:gd name="T11" fmla="*/ 114 h 114"/>
                <a:gd name="T12" fmla="*/ 0 w 113"/>
                <a:gd name="T13" fmla="*/ 57 h 114"/>
                <a:gd name="T14" fmla="*/ 57 w 113"/>
                <a:gd name="T15" fmla="*/ 0 h 114"/>
                <a:gd name="T16" fmla="*/ 113 w 113"/>
                <a:gd name="T17" fmla="*/ 57 h 114"/>
                <a:gd name="T18" fmla="*/ 57 w 11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7" y="17"/>
                  </a:moveTo>
                  <a:cubicBezTo>
                    <a:pt x="34" y="17"/>
                    <a:pt x="16" y="35"/>
                    <a:pt x="16" y="57"/>
                  </a:cubicBezTo>
                  <a:cubicBezTo>
                    <a:pt x="16" y="79"/>
                    <a:pt x="34" y="97"/>
                    <a:pt x="57" y="97"/>
                  </a:cubicBezTo>
                  <a:cubicBezTo>
                    <a:pt x="79" y="97"/>
                    <a:pt x="97" y="79"/>
                    <a:pt x="97" y="57"/>
                  </a:cubicBezTo>
                  <a:cubicBezTo>
                    <a:pt x="97" y="35"/>
                    <a:pt x="79" y="17"/>
                    <a:pt x="57" y="17"/>
                  </a:cubicBezTo>
                  <a:close/>
                  <a:moveTo>
                    <a:pt x="57" y="114"/>
                  </a:moveTo>
                  <a:cubicBezTo>
                    <a:pt x="25" y="114"/>
                    <a:pt x="0" y="89"/>
                    <a:pt x="0" y="57"/>
                  </a:cubicBezTo>
                  <a:cubicBezTo>
                    <a:pt x="0" y="26"/>
                    <a:pt x="25" y="0"/>
                    <a:pt x="57" y="0"/>
                  </a:cubicBezTo>
                  <a:cubicBezTo>
                    <a:pt x="88" y="0"/>
                    <a:pt x="113" y="26"/>
                    <a:pt x="113" y="57"/>
                  </a:cubicBezTo>
                  <a:cubicBezTo>
                    <a:pt x="113" y="89"/>
                    <a:pt x="88" y="114"/>
                    <a:pt x="57"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494">
              <a:extLst>
                <a:ext uri="{FF2B5EF4-FFF2-40B4-BE49-F238E27FC236}">
                  <a16:creationId xmlns:a16="http://schemas.microsoft.com/office/drawing/2014/main" id="{AEEDF79F-2BAA-473B-8FB2-C8DF01933C74}"/>
                </a:ext>
              </a:extLst>
            </p:cNvPr>
            <p:cNvSpPr>
              <a:spLocks noEditPoints="1"/>
            </p:cNvSpPr>
            <p:nvPr/>
          </p:nvSpPr>
          <p:spPr bwMode="auto">
            <a:xfrm>
              <a:off x="3021013" y="5884863"/>
              <a:ext cx="77788" cy="76200"/>
            </a:xfrm>
            <a:custGeom>
              <a:avLst/>
              <a:gdLst>
                <a:gd name="T0" fmla="*/ 57 w 114"/>
                <a:gd name="T1" fmla="*/ 16 h 113"/>
                <a:gd name="T2" fmla="*/ 17 w 114"/>
                <a:gd name="T3" fmla="*/ 57 h 113"/>
                <a:gd name="T4" fmla="*/ 57 w 114"/>
                <a:gd name="T5" fmla="*/ 97 h 113"/>
                <a:gd name="T6" fmla="*/ 97 w 114"/>
                <a:gd name="T7" fmla="*/ 57 h 113"/>
                <a:gd name="T8" fmla="*/ 57 w 114"/>
                <a:gd name="T9" fmla="*/ 16 h 113"/>
                <a:gd name="T10" fmla="*/ 57 w 114"/>
                <a:gd name="T11" fmla="*/ 113 h 113"/>
                <a:gd name="T12" fmla="*/ 0 w 114"/>
                <a:gd name="T13" fmla="*/ 57 h 113"/>
                <a:gd name="T14" fmla="*/ 57 w 114"/>
                <a:gd name="T15" fmla="*/ 0 h 113"/>
                <a:gd name="T16" fmla="*/ 114 w 114"/>
                <a:gd name="T17" fmla="*/ 57 h 113"/>
                <a:gd name="T18" fmla="*/ 57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57" y="16"/>
                  </a:moveTo>
                  <a:cubicBezTo>
                    <a:pt x="35" y="16"/>
                    <a:pt x="17" y="34"/>
                    <a:pt x="17" y="57"/>
                  </a:cubicBezTo>
                  <a:cubicBezTo>
                    <a:pt x="17" y="79"/>
                    <a:pt x="35" y="97"/>
                    <a:pt x="57" y="97"/>
                  </a:cubicBezTo>
                  <a:cubicBezTo>
                    <a:pt x="79" y="97"/>
                    <a:pt x="97" y="79"/>
                    <a:pt x="97" y="57"/>
                  </a:cubicBezTo>
                  <a:cubicBezTo>
                    <a:pt x="97" y="34"/>
                    <a:pt x="79" y="16"/>
                    <a:pt x="57" y="16"/>
                  </a:cubicBezTo>
                  <a:close/>
                  <a:moveTo>
                    <a:pt x="57" y="113"/>
                  </a:moveTo>
                  <a:cubicBezTo>
                    <a:pt x="26" y="113"/>
                    <a:pt x="0" y="88"/>
                    <a:pt x="0" y="57"/>
                  </a:cubicBezTo>
                  <a:cubicBezTo>
                    <a:pt x="0" y="25"/>
                    <a:pt x="26" y="0"/>
                    <a:pt x="57" y="0"/>
                  </a:cubicBezTo>
                  <a:cubicBezTo>
                    <a:pt x="88" y="0"/>
                    <a:pt x="114" y="25"/>
                    <a:pt x="114" y="57"/>
                  </a:cubicBezTo>
                  <a:cubicBezTo>
                    <a:pt x="114" y="88"/>
                    <a:pt x="88" y="113"/>
                    <a:pt x="57" y="11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495">
              <a:extLst>
                <a:ext uri="{FF2B5EF4-FFF2-40B4-BE49-F238E27FC236}">
                  <a16:creationId xmlns:a16="http://schemas.microsoft.com/office/drawing/2014/main" id="{4D939B09-6FB5-4CEC-BE50-79BCFF48E732}"/>
                </a:ext>
              </a:extLst>
            </p:cNvPr>
            <p:cNvSpPr>
              <a:spLocks/>
            </p:cNvSpPr>
            <p:nvPr/>
          </p:nvSpPr>
          <p:spPr bwMode="auto">
            <a:xfrm>
              <a:off x="2662238" y="6151563"/>
              <a:ext cx="376238" cy="114300"/>
            </a:xfrm>
            <a:custGeom>
              <a:avLst/>
              <a:gdLst>
                <a:gd name="T0" fmla="*/ 546 w 557"/>
                <a:gd name="T1" fmla="*/ 169 h 169"/>
                <a:gd name="T2" fmla="*/ 384 w 557"/>
                <a:gd name="T3" fmla="*/ 39 h 169"/>
                <a:gd name="T4" fmla="*/ 320 w 557"/>
                <a:gd name="T5" fmla="*/ 16 h 169"/>
                <a:gd name="T6" fmla="*/ 0 w 557"/>
                <a:gd name="T7" fmla="*/ 16 h 169"/>
                <a:gd name="T8" fmla="*/ 0 w 557"/>
                <a:gd name="T9" fmla="*/ 0 h 169"/>
                <a:gd name="T10" fmla="*/ 320 w 557"/>
                <a:gd name="T11" fmla="*/ 0 h 169"/>
                <a:gd name="T12" fmla="*/ 394 w 557"/>
                <a:gd name="T13" fmla="*/ 26 h 169"/>
                <a:gd name="T14" fmla="*/ 557 w 557"/>
                <a:gd name="T15" fmla="*/ 156 h 169"/>
                <a:gd name="T16" fmla="*/ 546 w 557"/>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169">
                  <a:moveTo>
                    <a:pt x="546" y="169"/>
                  </a:moveTo>
                  <a:lnTo>
                    <a:pt x="384" y="39"/>
                  </a:lnTo>
                  <a:cubicBezTo>
                    <a:pt x="366" y="24"/>
                    <a:pt x="343" y="16"/>
                    <a:pt x="320" y="16"/>
                  </a:cubicBezTo>
                  <a:lnTo>
                    <a:pt x="0" y="16"/>
                  </a:lnTo>
                  <a:lnTo>
                    <a:pt x="0" y="0"/>
                  </a:lnTo>
                  <a:lnTo>
                    <a:pt x="320" y="0"/>
                  </a:lnTo>
                  <a:cubicBezTo>
                    <a:pt x="347" y="0"/>
                    <a:pt x="373" y="9"/>
                    <a:pt x="394" y="26"/>
                  </a:cubicBezTo>
                  <a:lnTo>
                    <a:pt x="557" y="156"/>
                  </a:lnTo>
                  <a:lnTo>
                    <a:pt x="546" y="1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Rectangle 496">
              <a:extLst>
                <a:ext uri="{FF2B5EF4-FFF2-40B4-BE49-F238E27FC236}">
                  <a16:creationId xmlns:a16="http://schemas.microsoft.com/office/drawing/2014/main" id="{8444B2D8-EE0C-4D43-AA0E-122C9D4101E6}"/>
                </a:ext>
              </a:extLst>
            </p:cNvPr>
            <p:cNvSpPr>
              <a:spLocks noChangeArrowheads="1"/>
            </p:cNvSpPr>
            <p:nvPr/>
          </p:nvSpPr>
          <p:spPr bwMode="auto">
            <a:xfrm>
              <a:off x="2617788" y="6151563"/>
              <a:ext cx="22225"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497">
              <a:extLst>
                <a:ext uri="{FF2B5EF4-FFF2-40B4-BE49-F238E27FC236}">
                  <a16:creationId xmlns:a16="http://schemas.microsoft.com/office/drawing/2014/main" id="{ED9AB276-914F-4987-A1D0-5C7EDC63A684}"/>
                </a:ext>
              </a:extLst>
            </p:cNvPr>
            <p:cNvSpPr>
              <a:spLocks noEditPoints="1"/>
            </p:cNvSpPr>
            <p:nvPr/>
          </p:nvSpPr>
          <p:spPr bwMode="auto">
            <a:xfrm>
              <a:off x="3021013" y="6242051"/>
              <a:ext cx="77788" cy="76200"/>
            </a:xfrm>
            <a:custGeom>
              <a:avLst/>
              <a:gdLst>
                <a:gd name="T0" fmla="*/ 57 w 114"/>
                <a:gd name="T1" fmla="*/ 17 h 114"/>
                <a:gd name="T2" fmla="*/ 17 w 114"/>
                <a:gd name="T3" fmla="*/ 57 h 114"/>
                <a:gd name="T4" fmla="*/ 57 w 114"/>
                <a:gd name="T5" fmla="*/ 97 h 114"/>
                <a:gd name="T6" fmla="*/ 97 w 114"/>
                <a:gd name="T7" fmla="*/ 57 h 114"/>
                <a:gd name="T8" fmla="*/ 57 w 114"/>
                <a:gd name="T9" fmla="*/ 17 h 114"/>
                <a:gd name="T10" fmla="*/ 57 w 114"/>
                <a:gd name="T11" fmla="*/ 114 h 114"/>
                <a:gd name="T12" fmla="*/ 0 w 114"/>
                <a:gd name="T13" fmla="*/ 57 h 114"/>
                <a:gd name="T14" fmla="*/ 57 w 114"/>
                <a:gd name="T15" fmla="*/ 0 h 114"/>
                <a:gd name="T16" fmla="*/ 114 w 114"/>
                <a:gd name="T17" fmla="*/ 57 h 114"/>
                <a:gd name="T18" fmla="*/ 57 w 114"/>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4">
                  <a:moveTo>
                    <a:pt x="57" y="17"/>
                  </a:moveTo>
                  <a:cubicBezTo>
                    <a:pt x="35" y="17"/>
                    <a:pt x="17" y="35"/>
                    <a:pt x="17" y="57"/>
                  </a:cubicBezTo>
                  <a:cubicBezTo>
                    <a:pt x="17" y="79"/>
                    <a:pt x="35" y="97"/>
                    <a:pt x="57" y="97"/>
                  </a:cubicBezTo>
                  <a:cubicBezTo>
                    <a:pt x="79" y="97"/>
                    <a:pt x="97" y="79"/>
                    <a:pt x="97" y="57"/>
                  </a:cubicBezTo>
                  <a:cubicBezTo>
                    <a:pt x="97" y="35"/>
                    <a:pt x="79" y="17"/>
                    <a:pt x="57" y="17"/>
                  </a:cubicBezTo>
                  <a:close/>
                  <a:moveTo>
                    <a:pt x="57" y="114"/>
                  </a:moveTo>
                  <a:cubicBezTo>
                    <a:pt x="26" y="114"/>
                    <a:pt x="0" y="88"/>
                    <a:pt x="0" y="57"/>
                  </a:cubicBezTo>
                  <a:cubicBezTo>
                    <a:pt x="0" y="26"/>
                    <a:pt x="26" y="0"/>
                    <a:pt x="57" y="0"/>
                  </a:cubicBezTo>
                  <a:cubicBezTo>
                    <a:pt x="88" y="0"/>
                    <a:pt x="114" y="26"/>
                    <a:pt x="114" y="57"/>
                  </a:cubicBezTo>
                  <a:cubicBezTo>
                    <a:pt x="114" y="88"/>
                    <a:pt x="88" y="114"/>
                    <a:pt x="57" y="1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1" name="Arrow" descr="{&quot;Key&quot;:&quot;POWER_USER_SHAPE_ICON&quot;,&quot;Value&quot;:&quot;POWER_USER_SHAPE_ICON_STYLE_1&quot;}">
            <a:extLst>
              <a:ext uri="{FF2B5EF4-FFF2-40B4-BE49-F238E27FC236}">
                <a16:creationId xmlns:a16="http://schemas.microsoft.com/office/drawing/2014/main" id="{0BC84FF7-A9E1-4067-97C5-0B781C295D41}"/>
              </a:ext>
            </a:extLst>
          </p:cNvPr>
          <p:cNvSpPr>
            <a:spLocks noChangeAspect="1"/>
          </p:cNvSpPr>
          <p:nvPr>
            <p:custDataLst>
              <p:tags r:id="rId4"/>
            </p:custDataLst>
          </p:nvPr>
        </p:nvSpPr>
        <p:spPr bwMode="auto">
          <a:xfrm>
            <a:off x="9480113" y="4892960"/>
            <a:ext cx="340532" cy="358118"/>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2" name="Metin kutusu 131">
            <a:extLst>
              <a:ext uri="{FF2B5EF4-FFF2-40B4-BE49-F238E27FC236}">
                <a16:creationId xmlns:a16="http://schemas.microsoft.com/office/drawing/2014/main" id="{FA10B556-345A-4EA1-82C8-9C84EEDE784D}"/>
              </a:ext>
            </a:extLst>
          </p:cNvPr>
          <p:cNvSpPr txBox="1"/>
          <p:nvPr/>
        </p:nvSpPr>
        <p:spPr>
          <a:xfrm>
            <a:off x="3321395" y="6474526"/>
            <a:ext cx="554921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000" b="1" i="0" u="sng" strike="noStrike" kern="1200" cap="none" spc="0" normalizeH="0" baseline="0" noProof="0" dirty="0">
                <a:ln>
                  <a:noFill/>
                </a:ln>
                <a:solidFill>
                  <a:prstClr val="black"/>
                </a:solidFill>
                <a:effectLst/>
                <a:uLnTx/>
                <a:uFillTx/>
                <a:latin typeface="Calibri"/>
                <a:ea typeface="+mn-ea"/>
                <a:cs typeface="+mn-cs"/>
              </a:rPr>
              <a:t>Bir ürünün geliştirilmesi </a:t>
            </a:r>
            <a:r>
              <a:rPr kumimoji="0" lang="tr-TR" sz="1800" b="0" i="0" u="none" strike="noStrike" kern="1200" cap="none" spc="0" normalizeH="0" baseline="0" noProof="0" dirty="0">
                <a:ln>
                  <a:noFill/>
                </a:ln>
                <a:solidFill>
                  <a:prstClr val="black"/>
                </a:solidFill>
                <a:effectLst/>
                <a:uLnTx/>
                <a:uFillTx/>
                <a:latin typeface="Calibri"/>
                <a:ea typeface="+mn-ea"/>
                <a:cs typeface="+mn-cs"/>
              </a:rPr>
              <a:t>için başvuru yapmaları esastır.</a:t>
            </a:r>
          </a:p>
        </p:txBody>
      </p:sp>
      <p:sp>
        <p:nvSpPr>
          <p:cNvPr id="2" name="Slayt Numarası Yer Tutucusu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CA"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5669703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par>
                                <p:cTn id="11" presetID="10" presetClass="entr" presetSubtype="0" fill="hold" nodeType="with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fade">
                                      <p:cBhvr>
                                        <p:cTn id="13" dur="500"/>
                                        <p:tgtEl>
                                          <p:spTgt spid="69"/>
                                        </p:tgtEl>
                                      </p:cBhvr>
                                    </p:animEffect>
                                  </p:childTnLst>
                                </p:cTn>
                              </p:par>
                            </p:childTnLst>
                          </p:cTn>
                        </p:par>
                        <p:par>
                          <p:cTn id="14" fill="hold">
                            <p:stCondLst>
                              <p:cond delay="500"/>
                            </p:stCondLst>
                            <p:childTnLst>
                              <p:par>
                                <p:cTn id="15" presetID="10" presetClass="entr" presetSubtype="0" fill="hold" grpId="0" nodeType="afterEffect">
                                  <p:stCondLst>
                                    <p:cond delay="75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54"/>
                                        </p:tgtEl>
                                        <p:attrNameLst>
                                          <p:attrName>style.visibility</p:attrName>
                                        </p:attrNameLst>
                                      </p:cBhvr>
                                      <p:to>
                                        <p:strVal val="visible"/>
                                      </p:to>
                                    </p:set>
                                    <p:animEffect transition="in" filter="fade">
                                      <p:cBhvr>
                                        <p:cTn id="20" dur="500"/>
                                        <p:tgtEl>
                                          <p:spTgt spid="54"/>
                                        </p:tgtEl>
                                      </p:cBhvr>
                                    </p:animEffect>
                                  </p:childTnLst>
                                </p:cTn>
                              </p:par>
                              <p:par>
                                <p:cTn id="21" presetID="10" presetClass="entr" presetSubtype="0" fill="hold" nodeType="withEffect">
                                  <p:stCondLst>
                                    <p:cond delay="750"/>
                                  </p:stCondLst>
                                  <p:childTnLst>
                                    <p:set>
                                      <p:cBhvr>
                                        <p:cTn id="22" dur="1" fill="hold">
                                          <p:stCondLst>
                                            <p:cond delay="0"/>
                                          </p:stCondLst>
                                        </p:cTn>
                                        <p:tgtEl>
                                          <p:spTgt spid="72"/>
                                        </p:tgtEl>
                                        <p:attrNameLst>
                                          <p:attrName>style.visibility</p:attrName>
                                        </p:attrNameLst>
                                      </p:cBhvr>
                                      <p:to>
                                        <p:strVal val="visible"/>
                                      </p:to>
                                    </p:set>
                                    <p:animEffect transition="in" filter="fade">
                                      <p:cBhvr>
                                        <p:cTn id="23" dur="500"/>
                                        <p:tgtEl>
                                          <p:spTgt spid="72"/>
                                        </p:tgtEl>
                                      </p:cBhvr>
                                    </p:animEffect>
                                  </p:childTnLst>
                                </p:cTn>
                              </p:par>
                            </p:childTnLst>
                          </p:cTn>
                        </p:par>
                        <p:par>
                          <p:cTn id="24" fill="hold">
                            <p:stCondLst>
                              <p:cond delay="1750"/>
                            </p:stCondLst>
                            <p:childTnLst>
                              <p:par>
                                <p:cTn id="25" presetID="10" presetClass="entr" presetSubtype="0" fill="hold" grpId="0" nodeType="afterEffect">
                                  <p:stCondLst>
                                    <p:cond delay="75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500"/>
                                        <p:tgtEl>
                                          <p:spTgt spid="55"/>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56"/>
                                        </p:tgtEl>
                                        <p:attrNameLst>
                                          <p:attrName>style.visibility</p:attrName>
                                        </p:attrNameLst>
                                      </p:cBhvr>
                                      <p:to>
                                        <p:strVal val="visible"/>
                                      </p:to>
                                    </p:set>
                                    <p:animEffect transition="in" filter="fade">
                                      <p:cBhvr>
                                        <p:cTn id="30" dur="500"/>
                                        <p:tgtEl>
                                          <p:spTgt spid="56"/>
                                        </p:tgtEl>
                                      </p:cBhvr>
                                    </p:animEffect>
                                  </p:childTnLst>
                                </p:cTn>
                              </p:par>
                              <p:par>
                                <p:cTn id="31" presetID="10" presetClass="entr" presetSubtype="0" fill="hold" nodeType="withEffect">
                                  <p:stCondLst>
                                    <p:cond delay="750"/>
                                  </p:stCondLst>
                                  <p:childTnLst>
                                    <p:set>
                                      <p:cBhvr>
                                        <p:cTn id="32" dur="1" fill="hold">
                                          <p:stCondLst>
                                            <p:cond delay="0"/>
                                          </p:stCondLst>
                                        </p:cTn>
                                        <p:tgtEl>
                                          <p:spTgt spid="73"/>
                                        </p:tgtEl>
                                        <p:attrNameLst>
                                          <p:attrName>style.visibility</p:attrName>
                                        </p:attrNameLst>
                                      </p:cBhvr>
                                      <p:to>
                                        <p:strVal val="visible"/>
                                      </p:to>
                                    </p:set>
                                    <p:animEffect transition="in" filter="fade">
                                      <p:cBhvr>
                                        <p:cTn id="33" dur="500"/>
                                        <p:tgtEl>
                                          <p:spTgt spid="73"/>
                                        </p:tgtEl>
                                      </p:cBhvr>
                                    </p:animEffect>
                                  </p:childTnLst>
                                </p:cTn>
                              </p:par>
                            </p:childTnLst>
                          </p:cTn>
                        </p:par>
                        <p:par>
                          <p:cTn id="34" fill="hold">
                            <p:stCondLst>
                              <p:cond delay="3000"/>
                            </p:stCondLst>
                            <p:childTnLst>
                              <p:par>
                                <p:cTn id="35" presetID="10" presetClass="entr" presetSubtype="0" fill="hold" grpId="0" nodeType="afterEffect">
                                  <p:stCondLst>
                                    <p:cond delay="750"/>
                                  </p:stCondLst>
                                  <p:childTnLst>
                                    <p:set>
                                      <p:cBhvr>
                                        <p:cTn id="36" dur="1" fill="hold">
                                          <p:stCondLst>
                                            <p:cond delay="0"/>
                                          </p:stCondLst>
                                        </p:cTn>
                                        <p:tgtEl>
                                          <p:spTgt spid="57"/>
                                        </p:tgtEl>
                                        <p:attrNameLst>
                                          <p:attrName>style.visibility</p:attrName>
                                        </p:attrNameLst>
                                      </p:cBhvr>
                                      <p:to>
                                        <p:strVal val="visible"/>
                                      </p:to>
                                    </p:set>
                                    <p:animEffect transition="in" filter="fade">
                                      <p:cBhvr>
                                        <p:cTn id="37" dur="500"/>
                                        <p:tgtEl>
                                          <p:spTgt spid="57"/>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58"/>
                                        </p:tgtEl>
                                        <p:attrNameLst>
                                          <p:attrName>style.visibility</p:attrName>
                                        </p:attrNameLst>
                                      </p:cBhvr>
                                      <p:to>
                                        <p:strVal val="visible"/>
                                      </p:to>
                                    </p:set>
                                    <p:animEffect transition="in" filter="fade">
                                      <p:cBhvr>
                                        <p:cTn id="40" dur="500"/>
                                        <p:tgtEl>
                                          <p:spTgt spid="58"/>
                                        </p:tgtEl>
                                      </p:cBhvr>
                                    </p:animEffect>
                                  </p:childTnLst>
                                </p:cTn>
                              </p:par>
                              <p:par>
                                <p:cTn id="41" presetID="10" presetClass="entr" presetSubtype="0" fill="hold" nodeType="withEffect">
                                  <p:stCondLst>
                                    <p:cond delay="750"/>
                                  </p:stCondLst>
                                  <p:childTnLst>
                                    <p:set>
                                      <p:cBhvr>
                                        <p:cTn id="42" dur="1" fill="hold">
                                          <p:stCondLst>
                                            <p:cond delay="0"/>
                                          </p:stCondLst>
                                        </p:cTn>
                                        <p:tgtEl>
                                          <p:spTgt spid="74"/>
                                        </p:tgtEl>
                                        <p:attrNameLst>
                                          <p:attrName>style.visibility</p:attrName>
                                        </p:attrNameLst>
                                      </p:cBhvr>
                                      <p:to>
                                        <p:strVal val="visible"/>
                                      </p:to>
                                    </p:set>
                                    <p:animEffect transition="in" filter="fade">
                                      <p:cBhvr>
                                        <p:cTn id="43" dur="500"/>
                                        <p:tgtEl>
                                          <p:spTgt spid="74"/>
                                        </p:tgtEl>
                                      </p:cBhvr>
                                    </p:animEffect>
                                  </p:childTnLst>
                                </p:cTn>
                              </p:par>
                            </p:childTnLst>
                          </p:cTn>
                        </p:par>
                        <p:par>
                          <p:cTn id="44" fill="hold">
                            <p:stCondLst>
                              <p:cond delay="4250"/>
                            </p:stCondLst>
                            <p:childTnLst>
                              <p:par>
                                <p:cTn id="45" presetID="10" presetClass="entr" presetSubtype="0" fill="hold" grpId="0" nodeType="afterEffect">
                                  <p:stCondLst>
                                    <p:cond delay="750"/>
                                  </p:stCondLst>
                                  <p:childTnLst>
                                    <p:set>
                                      <p:cBhvr>
                                        <p:cTn id="46" dur="1" fill="hold">
                                          <p:stCondLst>
                                            <p:cond delay="0"/>
                                          </p:stCondLst>
                                        </p:cTn>
                                        <p:tgtEl>
                                          <p:spTgt spid="59"/>
                                        </p:tgtEl>
                                        <p:attrNameLst>
                                          <p:attrName>style.visibility</p:attrName>
                                        </p:attrNameLst>
                                      </p:cBhvr>
                                      <p:to>
                                        <p:strVal val="visible"/>
                                      </p:to>
                                    </p:set>
                                    <p:animEffect transition="in" filter="fade">
                                      <p:cBhvr>
                                        <p:cTn id="47" dur="500"/>
                                        <p:tgtEl>
                                          <p:spTgt spid="59"/>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60"/>
                                        </p:tgtEl>
                                        <p:attrNameLst>
                                          <p:attrName>style.visibility</p:attrName>
                                        </p:attrNameLst>
                                      </p:cBhvr>
                                      <p:to>
                                        <p:strVal val="visible"/>
                                      </p:to>
                                    </p:set>
                                    <p:animEffect transition="in" filter="fade">
                                      <p:cBhvr>
                                        <p:cTn id="50" dur="500"/>
                                        <p:tgtEl>
                                          <p:spTgt spid="60"/>
                                        </p:tgtEl>
                                      </p:cBhvr>
                                    </p:animEffect>
                                  </p:childTnLst>
                                </p:cTn>
                              </p:par>
                              <p:par>
                                <p:cTn id="51" presetID="10" presetClass="entr" presetSubtype="0" fill="hold" nodeType="withEffect">
                                  <p:stCondLst>
                                    <p:cond delay="750"/>
                                  </p:stCondLst>
                                  <p:childTnLst>
                                    <p:set>
                                      <p:cBhvr>
                                        <p:cTn id="52" dur="1" fill="hold">
                                          <p:stCondLst>
                                            <p:cond delay="0"/>
                                          </p:stCondLst>
                                        </p:cTn>
                                        <p:tgtEl>
                                          <p:spTgt spid="75"/>
                                        </p:tgtEl>
                                        <p:attrNameLst>
                                          <p:attrName>style.visibility</p:attrName>
                                        </p:attrNameLst>
                                      </p:cBhvr>
                                      <p:to>
                                        <p:strVal val="visible"/>
                                      </p:to>
                                    </p:set>
                                    <p:animEffect transition="in" filter="fade">
                                      <p:cBhvr>
                                        <p:cTn id="53" dur="500"/>
                                        <p:tgtEl>
                                          <p:spTgt spid="75"/>
                                        </p:tgtEl>
                                      </p:cBhvr>
                                    </p:animEffect>
                                  </p:childTnLst>
                                </p:cTn>
                              </p:par>
                            </p:childTnLst>
                          </p:cTn>
                        </p:par>
                        <p:par>
                          <p:cTn id="54" fill="hold">
                            <p:stCondLst>
                              <p:cond delay="5500"/>
                            </p:stCondLst>
                            <p:childTnLst>
                              <p:par>
                                <p:cTn id="55" presetID="10" presetClass="entr" presetSubtype="0" fill="hold" grpId="0" nodeType="afterEffect">
                                  <p:stCondLst>
                                    <p:cond delay="750"/>
                                  </p:stCondLst>
                                  <p:childTnLst>
                                    <p:set>
                                      <p:cBhvr>
                                        <p:cTn id="56" dur="1" fill="hold">
                                          <p:stCondLst>
                                            <p:cond delay="0"/>
                                          </p:stCondLst>
                                        </p:cTn>
                                        <p:tgtEl>
                                          <p:spTgt spid="61"/>
                                        </p:tgtEl>
                                        <p:attrNameLst>
                                          <p:attrName>style.visibility</p:attrName>
                                        </p:attrNameLst>
                                      </p:cBhvr>
                                      <p:to>
                                        <p:strVal val="visible"/>
                                      </p:to>
                                    </p:set>
                                    <p:animEffect transition="in" filter="fade">
                                      <p:cBhvr>
                                        <p:cTn id="57" dur="500"/>
                                        <p:tgtEl>
                                          <p:spTgt spid="61"/>
                                        </p:tgtEl>
                                      </p:cBhvr>
                                    </p:animEffect>
                                  </p:childTnLst>
                                </p:cTn>
                              </p:par>
                              <p:par>
                                <p:cTn id="58" presetID="10" presetClass="entr" presetSubtype="0" fill="hold" grpId="0" nodeType="withEffect">
                                  <p:stCondLst>
                                    <p:cond delay="750"/>
                                  </p:stCondLst>
                                  <p:childTnLst>
                                    <p:set>
                                      <p:cBhvr>
                                        <p:cTn id="59" dur="1" fill="hold">
                                          <p:stCondLst>
                                            <p:cond delay="0"/>
                                          </p:stCondLst>
                                        </p:cTn>
                                        <p:tgtEl>
                                          <p:spTgt spid="62"/>
                                        </p:tgtEl>
                                        <p:attrNameLst>
                                          <p:attrName>style.visibility</p:attrName>
                                        </p:attrNameLst>
                                      </p:cBhvr>
                                      <p:to>
                                        <p:strVal val="visible"/>
                                      </p:to>
                                    </p:set>
                                    <p:animEffect transition="in" filter="fade">
                                      <p:cBhvr>
                                        <p:cTn id="60" dur="500"/>
                                        <p:tgtEl>
                                          <p:spTgt spid="62"/>
                                        </p:tgtEl>
                                      </p:cBhvr>
                                    </p:animEffect>
                                  </p:childTnLst>
                                </p:cTn>
                              </p:par>
                              <p:par>
                                <p:cTn id="61" presetID="10" presetClass="entr" presetSubtype="0" fill="hold" nodeType="withEffect">
                                  <p:stCondLst>
                                    <p:cond delay="750"/>
                                  </p:stCondLst>
                                  <p:childTnLst>
                                    <p:set>
                                      <p:cBhvr>
                                        <p:cTn id="62" dur="1" fill="hold">
                                          <p:stCondLst>
                                            <p:cond delay="0"/>
                                          </p:stCondLst>
                                        </p:cTn>
                                        <p:tgtEl>
                                          <p:spTgt spid="76"/>
                                        </p:tgtEl>
                                        <p:attrNameLst>
                                          <p:attrName>style.visibility</p:attrName>
                                        </p:attrNameLst>
                                      </p:cBhvr>
                                      <p:to>
                                        <p:strVal val="visible"/>
                                      </p:to>
                                    </p:set>
                                    <p:animEffect transition="in" filter="fade">
                                      <p:cBhvr>
                                        <p:cTn id="63" dur="500"/>
                                        <p:tgtEl>
                                          <p:spTgt spid="76"/>
                                        </p:tgtEl>
                                      </p:cBhvr>
                                    </p:animEffect>
                                  </p:childTnLst>
                                </p:cTn>
                              </p:par>
                            </p:childTnLst>
                          </p:cTn>
                        </p:par>
                        <p:par>
                          <p:cTn id="64" fill="hold">
                            <p:stCondLst>
                              <p:cond delay="6750"/>
                            </p:stCondLst>
                            <p:childTnLst>
                              <p:par>
                                <p:cTn id="65" presetID="10" presetClass="entr" presetSubtype="0" fill="hold" grpId="0" nodeType="afterEffect">
                                  <p:stCondLst>
                                    <p:cond delay="75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10" presetClass="entr" presetSubtype="0" fill="hold" grpId="0" nodeType="withEffect">
                                  <p:stCondLst>
                                    <p:cond delay="750"/>
                                  </p:stCondLst>
                                  <p:childTnLst>
                                    <p:set>
                                      <p:cBhvr>
                                        <p:cTn id="69" dur="1" fill="hold">
                                          <p:stCondLst>
                                            <p:cond delay="0"/>
                                          </p:stCondLst>
                                        </p:cTn>
                                        <p:tgtEl>
                                          <p:spTgt spid="64"/>
                                        </p:tgtEl>
                                        <p:attrNameLst>
                                          <p:attrName>style.visibility</p:attrName>
                                        </p:attrNameLst>
                                      </p:cBhvr>
                                      <p:to>
                                        <p:strVal val="visible"/>
                                      </p:to>
                                    </p:set>
                                    <p:animEffect transition="in" filter="fade">
                                      <p:cBhvr>
                                        <p:cTn id="70" dur="500"/>
                                        <p:tgtEl>
                                          <p:spTgt spid="64"/>
                                        </p:tgtEl>
                                      </p:cBhvr>
                                    </p:animEffect>
                                  </p:childTnLst>
                                </p:cTn>
                              </p:par>
                              <p:par>
                                <p:cTn id="71" presetID="10" presetClass="entr" presetSubtype="0" fill="hold" nodeType="withEffect">
                                  <p:stCondLst>
                                    <p:cond delay="750"/>
                                  </p:stCondLst>
                                  <p:childTnLst>
                                    <p:set>
                                      <p:cBhvr>
                                        <p:cTn id="72" dur="1" fill="hold">
                                          <p:stCondLst>
                                            <p:cond delay="0"/>
                                          </p:stCondLst>
                                        </p:cTn>
                                        <p:tgtEl>
                                          <p:spTgt spid="77"/>
                                        </p:tgtEl>
                                        <p:attrNameLst>
                                          <p:attrName>style.visibility</p:attrName>
                                        </p:attrNameLst>
                                      </p:cBhvr>
                                      <p:to>
                                        <p:strVal val="visible"/>
                                      </p:to>
                                    </p:set>
                                    <p:animEffect transition="in" filter="fade">
                                      <p:cBhvr>
                                        <p:cTn id="73" dur="500"/>
                                        <p:tgtEl>
                                          <p:spTgt spid="77"/>
                                        </p:tgtEl>
                                      </p:cBhvr>
                                    </p:animEffect>
                                  </p:childTnLst>
                                </p:cTn>
                              </p:par>
                            </p:childTnLst>
                          </p:cTn>
                        </p:par>
                        <p:par>
                          <p:cTn id="74" fill="hold">
                            <p:stCondLst>
                              <p:cond delay="8000"/>
                            </p:stCondLst>
                            <p:childTnLst>
                              <p:par>
                                <p:cTn id="75" presetID="10" presetClass="entr" presetSubtype="0" fill="hold" grpId="0" nodeType="afterEffect">
                                  <p:stCondLst>
                                    <p:cond delay="750"/>
                                  </p:stCondLst>
                                  <p:childTnLst>
                                    <p:set>
                                      <p:cBhvr>
                                        <p:cTn id="76" dur="1" fill="hold">
                                          <p:stCondLst>
                                            <p:cond delay="0"/>
                                          </p:stCondLst>
                                        </p:cTn>
                                        <p:tgtEl>
                                          <p:spTgt spid="66"/>
                                        </p:tgtEl>
                                        <p:attrNameLst>
                                          <p:attrName>style.visibility</p:attrName>
                                        </p:attrNameLst>
                                      </p:cBhvr>
                                      <p:to>
                                        <p:strVal val="visible"/>
                                      </p:to>
                                    </p:set>
                                    <p:animEffect transition="in" filter="fade">
                                      <p:cBhvr>
                                        <p:cTn id="77" dur="500"/>
                                        <p:tgtEl>
                                          <p:spTgt spid="66"/>
                                        </p:tgtEl>
                                      </p:cBhvr>
                                    </p:animEffect>
                                  </p:childTnLst>
                                </p:cTn>
                              </p:par>
                              <p:par>
                                <p:cTn id="78" presetID="10" presetClass="entr" presetSubtype="0" fill="hold" grpId="0" nodeType="withEffect">
                                  <p:stCondLst>
                                    <p:cond delay="750"/>
                                  </p:stCondLst>
                                  <p:childTnLst>
                                    <p:set>
                                      <p:cBhvr>
                                        <p:cTn id="79" dur="1" fill="hold">
                                          <p:stCondLst>
                                            <p:cond delay="0"/>
                                          </p:stCondLst>
                                        </p:cTn>
                                        <p:tgtEl>
                                          <p:spTgt spid="65"/>
                                        </p:tgtEl>
                                        <p:attrNameLst>
                                          <p:attrName>style.visibility</p:attrName>
                                        </p:attrNameLst>
                                      </p:cBhvr>
                                      <p:to>
                                        <p:strVal val="visible"/>
                                      </p:to>
                                    </p:set>
                                    <p:animEffect transition="in" filter="fade">
                                      <p:cBhvr>
                                        <p:cTn id="80" dur="500"/>
                                        <p:tgtEl>
                                          <p:spTgt spid="65"/>
                                        </p:tgtEl>
                                      </p:cBhvr>
                                    </p:animEffect>
                                  </p:childTnLst>
                                </p:cTn>
                              </p:par>
                              <p:par>
                                <p:cTn id="81" presetID="10" presetClass="entr" presetSubtype="0" fill="hold" nodeType="withEffect">
                                  <p:stCondLst>
                                    <p:cond delay="750"/>
                                  </p:stCondLst>
                                  <p:childTnLst>
                                    <p:set>
                                      <p:cBhvr>
                                        <p:cTn id="82" dur="1" fill="hold">
                                          <p:stCondLst>
                                            <p:cond delay="0"/>
                                          </p:stCondLst>
                                        </p:cTn>
                                        <p:tgtEl>
                                          <p:spTgt spid="90"/>
                                        </p:tgtEl>
                                        <p:attrNameLst>
                                          <p:attrName>style.visibility</p:attrName>
                                        </p:attrNameLst>
                                      </p:cBhvr>
                                      <p:to>
                                        <p:strVal val="visible"/>
                                      </p:to>
                                    </p:set>
                                    <p:animEffect transition="in" filter="fade">
                                      <p:cBhvr>
                                        <p:cTn id="83" dur="500"/>
                                        <p:tgtEl>
                                          <p:spTgt spid="90"/>
                                        </p:tgtEl>
                                      </p:cBhvr>
                                    </p:animEffect>
                                  </p:childTnLst>
                                </p:cTn>
                              </p:par>
                            </p:childTnLst>
                          </p:cTn>
                        </p:par>
                        <p:par>
                          <p:cTn id="84" fill="hold">
                            <p:stCondLst>
                              <p:cond delay="9250"/>
                            </p:stCondLst>
                            <p:childTnLst>
                              <p:par>
                                <p:cTn id="85" presetID="10" presetClass="entr" presetSubtype="0" fill="hold" grpId="0" nodeType="afterEffect">
                                  <p:stCondLst>
                                    <p:cond delay="750"/>
                                  </p:stCondLst>
                                  <p:childTnLst>
                                    <p:set>
                                      <p:cBhvr>
                                        <p:cTn id="86" dur="1" fill="hold">
                                          <p:stCondLst>
                                            <p:cond delay="0"/>
                                          </p:stCondLst>
                                        </p:cTn>
                                        <p:tgtEl>
                                          <p:spTgt spid="68"/>
                                        </p:tgtEl>
                                        <p:attrNameLst>
                                          <p:attrName>style.visibility</p:attrName>
                                        </p:attrNameLst>
                                      </p:cBhvr>
                                      <p:to>
                                        <p:strVal val="visible"/>
                                      </p:to>
                                    </p:set>
                                    <p:animEffect transition="in" filter="fade">
                                      <p:cBhvr>
                                        <p:cTn id="87" dur="500"/>
                                        <p:tgtEl>
                                          <p:spTgt spid="68"/>
                                        </p:tgtEl>
                                      </p:cBhvr>
                                    </p:animEffect>
                                  </p:childTnLst>
                                </p:cTn>
                              </p:par>
                              <p:par>
                                <p:cTn id="88" presetID="10" presetClass="entr" presetSubtype="0" fill="hold" grpId="0" nodeType="withEffect">
                                  <p:stCondLst>
                                    <p:cond delay="750"/>
                                  </p:stCondLst>
                                  <p:childTnLst>
                                    <p:set>
                                      <p:cBhvr>
                                        <p:cTn id="89" dur="1" fill="hold">
                                          <p:stCondLst>
                                            <p:cond delay="0"/>
                                          </p:stCondLst>
                                        </p:cTn>
                                        <p:tgtEl>
                                          <p:spTgt spid="67"/>
                                        </p:tgtEl>
                                        <p:attrNameLst>
                                          <p:attrName>style.visibility</p:attrName>
                                        </p:attrNameLst>
                                      </p:cBhvr>
                                      <p:to>
                                        <p:strVal val="visible"/>
                                      </p:to>
                                    </p:set>
                                    <p:animEffect transition="in" filter="fade">
                                      <p:cBhvr>
                                        <p:cTn id="90" dur="500"/>
                                        <p:tgtEl>
                                          <p:spTgt spid="67"/>
                                        </p:tgtEl>
                                      </p:cBhvr>
                                    </p:animEffect>
                                  </p:childTnLst>
                                </p:cTn>
                              </p:par>
                              <p:par>
                                <p:cTn id="91" presetID="10" presetClass="entr" presetSubtype="0" fill="hold" grpId="0" nodeType="withEffect">
                                  <p:stCondLst>
                                    <p:cond delay="750"/>
                                  </p:stCondLst>
                                  <p:childTnLst>
                                    <p:set>
                                      <p:cBhvr>
                                        <p:cTn id="92" dur="1" fill="hold">
                                          <p:stCondLst>
                                            <p:cond delay="0"/>
                                          </p:stCondLst>
                                        </p:cTn>
                                        <p:tgtEl>
                                          <p:spTgt spid="131"/>
                                        </p:tgtEl>
                                        <p:attrNameLst>
                                          <p:attrName>style.visibility</p:attrName>
                                        </p:attrNameLst>
                                      </p:cBhvr>
                                      <p:to>
                                        <p:strVal val="visible"/>
                                      </p:to>
                                    </p:set>
                                    <p:animEffect transition="in" filter="fade">
                                      <p:cBhvr>
                                        <p:cTn id="93" dur="500"/>
                                        <p:tgtEl>
                                          <p:spTgt spid="131"/>
                                        </p:tgtEl>
                                      </p:cBhvr>
                                    </p:animEffect>
                                  </p:childTnLst>
                                </p:cTn>
                              </p:par>
                            </p:childTnLst>
                          </p:cTn>
                        </p:par>
                        <p:par>
                          <p:cTn id="94" fill="hold">
                            <p:stCondLst>
                              <p:cond delay="10500"/>
                            </p:stCondLst>
                            <p:childTnLst>
                              <p:par>
                                <p:cTn id="95" presetID="42" presetClass="entr" presetSubtype="0" fill="hold" grpId="0" nodeType="afterEffect">
                                  <p:stCondLst>
                                    <p:cond delay="0"/>
                                  </p:stCondLst>
                                  <p:childTnLst>
                                    <p:set>
                                      <p:cBhvr>
                                        <p:cTn id="96" dur="1" fill="hold">
                                          <p:stCondLst>
                                            <p:cond delay="0"/>
                                          </p:stCondLst>
                                        </p:cTn>
                                        <p:tgtEl>
                                          <p:spTgt spid="132"/>
                                        </p:tgtEl>
                                        <p:attrNameLst>
                                          <p:attrName>style.visibility</p:attrName>
                                        </p:attrNameLst>
                                      </p:cBhvr>
                                      <p:to>
                                        <p:strVal val="visible"/>
                                      </p:to>
                                    </p:set>
                                    <p:animEffect transition="in" filter="fade">
                                      <p:cBhvr>
                                        <p:cTn id="97" dur="1000"/>
                                        <p:tgtEl>
                                          <p:spTgt spid="132"/>
                                        </p:tgtEl>
                                      </p:cBhvr>
                                    </p:animEffect>
                                    <p:anim calcmode="lin" valueType="num">
                                      <p:cBhvr>
                                        <p:cTn id="98" dur="1000" fill="hold"/>
                                        <p:tgtEl>
                                          <p:spTgt spid="132"/>
                                        </p:tgtEl>
                                        <p:attrNameLst>
                                          <p:attrName>ppt_x</p:attrName>
                                        </p:attrNameLst>
                                      </p:cBhvr>
                                      <p:tavLst>
                                        <p:tav tm="0">
                                          <p:val>
                                            <p:strVal val="#ppt_x"/>
                                          </p:val>
                                        </p:tav>
                                        <p:tav tm="100000">
                                          <p:val>
                                            <p:strVal val="#ppt_x"/>
                                          </p:val>
                                        </p:tav>
                                      </p:tavLst>
                                    </p:anim>
                                    <p:anim calcmode="lin" valueType="num">
                                      <p:cBhvr>
                                        <p:cTn id="99" dur="1000" fill="hold"/>
                                        <p:tgtEl>
                                          <p:spTgt spid="1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131" grpId="0" animBg="1"/>
      <p:bldP spid="132"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8"/>
          <p:cNvSpPr>
            <a:spLocks noChangeArrowheads="1"/>
          </p:cNvSpPr>
          <p:nvPr/>
        </p:nvSpPr>
        <p:spPr bwMode="auto">
          <a:xfrm>
            <a:off x="1996633" y="321326"/>
            <a:ext cx="5402066" cy="461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spAutoFit/>
          </a:bodyPr>
          <a:lstStyle/>
          <a:p>
            <a:pPr algn="ctr" defTabSz="1097302">
              <a:spcBef>
                <a:spcPct val="50000"/>
              </a:spcBef>
            </a:pPr>
            <a:r>
              <a:rPr lang="tr-TR" sz="2409" b="1" dirty="0">
                <a:solidFill>
                  <a:srgbClr val="00A6E6"/>
                </a:solidFill>
                <a:latin typeface="Calibri" pitchFamily="34" charset="0"/>
                <a:ea typeface="ヒラギノ角ゴ Pro W3" pitchFamily="1" charset="-128"/>
                <a:cs typeface="Calibri" panose="020F0502020204030204" pitchFamily="34" charset="0"/>
              </a:rPr>
              <a:t>İŞLETME GELİŞTİRME DESTEK PROGRAMI</a:t>
            </a:r>
          </a:p>
        </p:txBody>
      </p:sp>
      <p:sp>
        <p:nvSpPr>
          <p:cNvPr id="9" name="İçerik Yer Tutucusu 1"/>
          <p:cNvSpPr>
            <a:spLocks noGrp="1"/>
          </p:cNvSpPr>
          <p:nvPr>
            <p:ph idx="1"/>
          </p:nvPr>
        </p:nvSpPr>
        <p:spPr>
          <a:xfrm>
            <a:off x="531096" y="1260855"/>
            <a:ext cx="11129809" cy="3974932"/>
          </a:xfrm>
        </p:spPr>
        <p:txBody>
          <a:bodyPr>
            <a:noAutofit/>
          </a:bodyPr>
          <a:lstStyle/>
          <a:p>
            <a:pPr marL="533410" indent="-426728" algn="just">
              <a:spcBef>
                <a:spcPts val="720"/>
              </a:spcBef>
              <a:spcAft>
                <a:spcPts val="720"/>
              </a:spcAft>
              <a:buClr>
                <a:srgbClr val="00A6E6"/>
              </a:buClr>
              <a:buNone/>
              <a:tabLst>
                <a:tab pos="426728" algn="l"/>
              </a:tabLst>
              <a:defRPr/>
            </a:pPr>
            <a:r>
              <a:rPr lang="tr-TR" sz="2409" b="1" dirty="0">
                <a:latin typeface="Calibri" panose="020F0502020204030204" pitchFamily="34" charset="0"/>
                <a:cs typeface="Calibri" panose="020F0502020204030204" pitchFamily="34" charset="0"/>
              </a:rPr>
              <a:t>Program ile KOBİ’lerin </a:t>
            </a:r>
            <a:r>
              <a:rPr lang="tr-TR" sz="2409" dirty="0">
                <a:latin typeface="Calibri" panose="020F0502020204030204" pitchFamily="34" charset="0"/>
                <a:cs typeface="Calibri" panose="020F0502020204030204" pitchFamily="34" charset="0"/>
              </a:rPr>
              <a:t>;</a:t>
            </a:r>
          </a:p>
          <a:p>
            <a:pPr algn="just">
              <a:spcBef>
                <a:spcPts val="720"/>
              </a:spcBef>
              <a:spcAft>
                <a:spcPts val="720"/>
              </a:spcAft>
              <a:buClr>
                <a:srgbClr val="00B0F0"/>
              </a:buClr>
              <a:buSzPct val="125000"/>
              <a:buFont typeface="Wingdings" pitchFamily="2" charset="2"/>
              <a:buChar char="ü"/>
            </a:pPr>
            <a:r>
              <a:rPr lang="tr-TR" altLang="tr-TR" sz="2409" dirty="0">
                <a:latin typeface="Calibri" panose="020F0502020204030204" pitchFamily="34" charset="0"/>
                <a:cs typeface="Calibri" panose="020F0502020204030204" pitchFamily="34" charset="0"/>
              </a:rPr>
              <a:t>Rekabet güçlerini ve düzeylerini yükseltmek amacıyla genel işletme geliştirme faaliyetlerinin teşvik edilmesi,</a:t>
            </a:r>
          </a:p>
          <a:p>
            <a:pPr algn="just">
              <a:spcBef>
                <a:spcPts val="720"/>
              </a:spcBef>
              <a:spcAft>
                <a:spcPts val="720"/>
              </a:spcAft>
              <a:buClr>
                <a:srgbClr val="00B0F0"/>
              </a:buClr>
              <a:buSzPct val="125000"/>
              <a:buFont typeface="Wingdings" pitchFamily="2" charset="2"/>
              <a:buChar char="ü"/>
            </a:pPr>
            <a:r>
              <a:rPr lang="tr-TR" sz="2409" dirty="0">
                <a:latin typeface="Calibri" panose="020F0502020204030204" pitchFamily="34" charset="0"/>
                <a:cs typeface="Calibri" panose="020F0502020204030204" pitchFamily="34" charset="0"/>
              </a:rPr>
              <a:t>KOBİ’lerin kurumsallaşma, markalaşma düzeylerinin ve ekonomideki paylarının arttırılması, </a:t>
            </a:r>
          </a:p>
          <a:p>
            <a:pPr algn="just">
              <a:spcBef>
                <a:spcPts val="720"/>
              </a:spcBef>
              <a:spcAft>
                <a:spcPts val="720"/>
              </a:spcAft>
              <a:buClr>
                <a:srgbClr val="00B0F0"/>
              </a:buClr>
              <a:buSzPct val="125000"/>
              <a:buFont typeface="Wingdings" pitchFamily="2" charset="2"/>
              <a:buChar char="ü"/>
            </a:pPr>
            <a:r>
              <a:rPr lang="tr-TR" sz="2409" dirty="0">
                <a:latin typeface="Calibri" panose="020F0502020204030204" pitchFamily="34" charset="0"/>
                <a:cs typeface="Calibri" panose="020F0502020204030204" pitchFamily="34" charset="0"/>
              </a:rPr>
              <a:t>Kapasitelerinin geliştirilmesi ve öncelikli ihtiyaçlarının karşılanması, </a:t>
            </a:r>
          </a:p>
          <a:p>
            <a:pPr algn="just">
              <a:spcBef>
                <a:spcPts val="720"/>
              </a:spcBef>
              <a:spcAft>
                <a:spcPts val="720"/>
              </a:spcAft>
              <a:buClr>
                <a:srgbClr val="00B0F0"/>
              </a:buClr>
              <a:buSzPct val="125000"/>
              <a:buFont typeface="Wingdings" pitchFamily="2" charset="2"/>
              <a:buChar char="ü"/>
            </a:pPr>
            <a:r>
              <a:rPr lang="tr-TR" sz="2409" dirty="0">
                <a:latin typeface="Calibri" panose="020F0502020204030204" pitchFamily="34" charset="0"/>
                <a:cs typeface="Calibri" panose="020F0502020204030204" pitchFamily="34" charset="0"/>
              </a:rPr>
              <a:t>Kaliteli ve verimli mal/hizmet üretmelerinin sağlanması, </a:t>
            </a:r>
          </a:p>
          <a:p>
            <a:pPr algn="just">
              <a:spcBef>
                <a:spcPts val="720"/>
              </a:spcBef>
              <a:spcAft>
                <a:spcPts val="720"/>
              </a:spcAft>
              <a:buClr>
                <a:srgbClr val="00B0F0"/>
              </a:buClr>
              <a:buSzPct val="125000"/>
              <a:buFont typeface="Wingdings" pitchFamily="2" charset="2"/>
              <a:buChar char="ü"/>
            </a:pPr>
            <a:r>
              <a:rPr lang="tr-TR" altLang="tr-TR" sz="2409" dirty="0">
                <a:latin typeface="Calibri" panose="020F0502020204030204" pitchFamily="34" charset="0"/>
                <a:cs typeface="Calibri" panose="020F0502020204030204" pitchFamily="34" charset="0"/>
              </a:rPr>
              <a:t>KOBİ’lerin yurt içi ve yurt dışı pazar paylarını artırmak için tanıtım ve pazarlama faaliyetlerinin geliştirilmesi amaçlanmıştır.</a:t>
            </a:r>
          </a:p>
        </p:txBody>
      </p:sp>
    </p:spTree>
    <p:extLst>
      <p:ext uri="{BB962C8B-B14F-4D97-AF65-F5344CB8AC3E}">
        <p14:creationId xmlns:p14="http://schemas.microsoft.com/office/powerpoint/2010/main" val="2241519361"/>
      </p:ext>
    </p:extLst>
  </p:cSld>
  <p:clrMapOvr>
    <a:masterClrMapping/>
  </p:clrMapOvr>
  <p:transition spd="slow">
    <p:push dir="u"/>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8"/>
          <p:cNvSpPr>
            <a:spLocks noChangeArrowheads="1"/>
          </p:cNvSpPr>
          <p:nvPr/>
        </p:nvSpPr>
        <p:spPr bwMode="auto">
          <a:xfrm>
            <a:off x="1996633" y="321326"/>
            <a:ext cx="5402066" cy="461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spAutoFit/>
          </a:bodyPr>
          <a:lstStyle/>
          <a:p>
            <a:pPr algn="ctr" defTabSz="1097302">
              <a:spcBef>
                <a:spcPct val="50000"/>
              </a:spcBef>
            </a:pPr>
            <a:r>
              <a:rPr lang="tr-TR" sz="2409" b="1" dirty="0">
                <a:solidFill>
                  <a:srgbClr val="00A6E6"/>
                </a:solidFill>
                <a:latin typeface="Calibri" pitchFamily="34" charset="0"/>
                <a:ea typeface="ヒラギノ角ゴ Pro W3" pitchFamily="1" charset="-128"/>
                <a:cs typeface="Calibri" panose="020F0502020204030204" pitchFamily="34" charset="0"/>
              </a:rPr>
              <a:t>İŞLETME GELİŞTİRME DESTEK PROGRAMI</a:t>
            </a:r>
          </a:p>
        </p:txBody>
      </p:sp>
      <p:grpSp>
        <p:nvGrpSpPr>
          <p:cNvPr id="16" name="Grup 15"/>
          <p:cNvGrpSpPr/>
          <p:nvPr/>
        </p:nvGrpSpPr>
        <p:grpSpPr>
          <a:xfrm>
            <a:off x="381620" y="1548408"/>
            <a:ext cx="10983559" cy="4159558"/>
            <a:chOff x="380228" y="1542564"/>
            <a:chExt cx="10943515" cy="4144393"/>
          </a:xfrm>
        </p:grpSpPr>
        <p:grpSp>
          <p:nvGrpSpPr>
            <p:cNvPr id="1610" name="Grup 1609"/>
            <p:cNvGrpSpPr/>
            <p:nvPr/>
          </p:nvGrpSpPr>
          <p:grpSpPr>
            <a:xfrm>
              <a:off x="380228" y="1542564"/>
              <a:ext cx="4646441" cy="1817800"/>
              <a:chOff x="1216170" y="3389566"/>
              <a:chExt cx="2054159" cy="925819"/>
            </a:xfrm>
          </p:grpSpPr>
          <p:sp>
            <p:nvSpPr>
              <p:cNvPr id="1607" name="Dikdörtgen 1606"/>
              <p:cNvSpPr/>
              <p:nvPr/>
            </p:nvSpPr>
            <p:spPr>
              <a:xfrm>
                <a:off x="1230964" y="3389566"/>
                <a:ext cx="2037164" cy="476712"/>
              </a:xfrm>
              <a:prstGeom prst="rect">
                <a:avLst/>
              </a:prstGeom>
              <a:noFill/>
              <a:ln>
                <a:solidFill>
                  <a:srgbClr val="FFDF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7783" fontAlgn="base">
                  <a:spcBef>
                    <a:spcPct val="0"/>
                  </a:spcBef>
                  <a:spcAft>
                    <a:spcPct val="0"/>
                  </a:spcAft>
                </a:pPr>
                <a:endParaRPr lang="tr-TR" sz="1807">
                  <a:solidFill>
                    <a:prstClr val="white"/>
                  </a:solidFill>
                </a:endParaRPr>
              </a:p>
            </p:txBody>
          </p:sp>
          <p:sp>
            <p:nvSpPr>
              <p:cNvPr id="1606" name="Aşağı Ok Belirtme Çizgisi 1605"/>
              <p:cNvSpPr/>
              <p:nvPr/>
            </p:nvSpPr>
            <p:spPr>
              <a:xfrm>
                <a:off x="1233165" y="3875343"/>
                <a:ext cx="2037164" cy="440042"/>
              </a:xfrm>
              <a:prstGeom prst="downArrowCallout">
                <a:avLst/>
              </a:prstGeom>
              <a:solidFill>
                <a:srgbClr val="FFDF79"/>
              </a:solidFill>
              <a:ln>
                <a:solidFill>
                  <a:srgbClr val="FFDF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7783" fontAlgn="base">
                  <a:spcBef>
                    <a:spcPct val="0"/>
                  </a:spcBef>
                  <a:spcAft>
                    <a:spcPct val="0"/>
                  </a:spcAft>
                </a:pPr>
                <a:r>
                  <a:rPr lang="tr-TR" sz="1807" b="1" dirty="0">
                    <a:solidFill>
                      <a:prstClr val="black"/>
                    </a:solidFill>
                    <a:latin typeface="Calibri" panose="020F0502020204030204" pitchFamily="34" charset="0"/>
                    <a:cs typeface="Calibri" panose="020F0502020204030204" pitchFamily="34" charset="0"/>
                  </a:rPr>
                  <a:t>Başvuru</a:t>
                </a:r>
              </a:p>
            </p:txBody>
          </p:sp>
          <p:sp>
            <p:nvSpPr>
              <p:cNvPr id="1608" name="Dikdörtgen 1607"/>
              <p:cNvSpPr/>
              <p:nvPr/>
            </p:nvSpPr>
            <p:spPr>
              <a:xfrm>
                <a:off x="1216170" y="3413828"/>
                <a:ext cx="2052000" cy="462421"/>
              </a:xfrm>
              <a:prstGeom prst="rect">
                <a:avLst/>
              </a:prstGeom>
            </p:spPr>
            <p:txBody>
              <a:bodyPr wrap="square" anchor="ctr">
                <a:spAutoFit/>
              </a:bodyPr>
              <a:lstStyle/>
              <a:p>
                <a:pPr algn="ctr" defTabSz="917783" fontAlgn="base">
                  <a:spcBef>
                    <a:spcPct val="0"/>
                  </a:spcBef>
                  <a:spcAft>
                    <a:spcPct val="0"/>
                  </a:spcAft>
                </a:pPr>
                <a:r>
                  <a:rPr lang="tr-TR" sz="1807" kern="0" dirty="0">
                    <a:solidFill>
                      <a:prstClr val="black"/>
                    </a:solidFill>
                    <a:latin typeface="Calibri" pitchFamily="34" charset="0"/>
                    <a:ea typeface="ヒラギノ角ゴ Pro W3" pitchFamily="1" charset="-128"/>
                  </a:rPr>
                  <a:t> Program başvurusu E-devlet üzerinden online olarak yapılmaktadır.</a:t>
                </a:r>
                <a:endParaRPr lang="tr-TR" sz="1606" kern="0" dirty="0">
                  <a:solidFill>
                    <a:prstClr val="black"/>
                  </a:solidFill>
                  <a:latin typeface="Calibri" pitchFamily="34" charset="0"/>
                  <a:ea typeface="ヒラギノ角ゴ Pro W3" pitchFamily="1" charset="-128"/>
                </a:endParaRPr>
              </a:p>
              <a:p>
                <a:pPr algn="ctr" defTabSz="917783" fontAlgn="base">
                  <a:spcBef>
                    <a:spcPct val="0"/>
                  </a:spcBef>
                  <a:spcAft>
                    <a:spcPct val="0"/>
                  </a:spcAft>
                </a:pPr>
                <a:r>
                  <a:rPr lang="tr-TR" sz="1706" kern="0" dirty="0">
                    <a:solidFill>
                      <a:prstClr val="black"/>
                    </a:solidFill>
                    <a:latin typeface="Calibri" pitchFamily="34" charset="0"/>
                    <a:ea typeface="ヒラギノ角ゴ Pro W3" pitchFamily="1" charset="-128"/>
                  </a:rPr>
                  <a:t>(Destekler için ayrıca bir başvuru alınmamaktadır.)</a:t>
                </a:r>
              </a:p>
            </p:txBody>
          </p:sp>
        </p:grpSp>
        <p:grpSp>
          <p:nvGrpSpPr>
            <p:cNvPr id="7" name="Grup 6"/>
            <p:cNvGrpSpPr/>
            <p:nvPr/>
          </p:nvGrpSpPr>
          <p:grpSpPr>
            <a:xfrm>
              <a:off x="2183249" y="3450900"/>
              <a:ext cx="1080000" cy="539663"/>
              <a:chOff x="1801385" y="3308288"/>
              <a:chExt cx="1072506" cy="540060"/>
            </a:xfrm>
          </p:grpSpPr>
          <p:sp>
            <p:nvSpPr>
              <p:cNvPr id="832" name="Freeform 687">
                <a:extLst>
                  <a:ext uri="{FF2B5EF4-FFF2-40B4-BE49-F238E27FC236}">
                    <a16:creationId xmlns:a16="http://schemas.microsoft.com/office/drawing/2014/main" id="{EF9CB406-D36D-43FB-8E4E-6CD81E490ABB}"/>
                  </a:ext>
                </a:extLst>
              </p:cNvPr>
              <p:cNvSpPr>
                <a:spLocks/>
              </p:cNvSpPr>
              <p:nvPr/>
            </p:nvSpPr>
            <p:spPr bwMode="auto">
              <a:xfrm>
                <a:off x="1801385" y="3308288"/>
                <a:ext cx="1072506" cy="540060"/>
              </a:xfrm>
              <a:custGeom>
                <a:avLst/>
                <a:gdLst>
                  <a:gd name="T0" fmla="*/ 8 w 147"/>
                  <a:gd name="T1" fmla="*/ 59 h 147"/>
                  <a:gd name="T2" fmla="*/ 88 w 147"/>
                  <a:gd name="T3" fmla="*/ 8 h 147"/>
                  <a:gd name="T4" fmla="*/ 139 w 147"/>
                  <a:gd name="T5" fmla="*/ 88 h 147"/>
                  <a:gd name="T6" fmla="*/ 59 w 147"/>
                  <a:gd name="T7" fmla="*/ 139 h 147"/>
                  <a:gd name="T8" fmla="*/ 8 w 147"/>
                  <a:gd name="T9" fmla="*/ 59 h 147"/>
                </a:gdLst>
                <a:ahLst/>
                <a:cxnLst>
                  <a:cxn ang="0">
                    <a:pos x="T0" y="T1"/>
                  </a:cxn>
                  <a:cxn ang="0">
                    <a:pos x="T2" y="T3"/>
                  </a:cxn>
                  <a:cxn ang="0">
                    <a:pos x="T4" y="T5"/>
                  </a:cxn>
                  <a:cxn ang="0">
                    <a:pos x="T6" y="T7"/>
                  </a:cxn>
                  <a:cxn ang="0">
                    <a:pos x="T8" y="T9"/>
                  </a:cxn>
                </a:cxnLst>
                <a:rect l="0" t="0" r="r" b="b"/>
                <a:pathLst>
                  <a:path w="147" h="147">
                    <a:moveTo>
                      <a:pt x="8" y="59"/>
                    </a:moveTo>
                    <a:cubicBezTo>
                      <a:pt x="16" y="23"/>
                      <a:pt x="52" y="0"/>
                      <a:pt x="88" y="8"/>
                    </a:cubicBezTo>
                    <a:cubicBezTo>
                      <a:pt x="124" y="16"/>
                      <a:pt x="147" y="51"/>
                      <a:pt x="139" y="88"/>
                    </a:cubicBezTo>
                    <a:cubicBezTo>
                      <a:pt x="131" y="124"/>
                      <a:pt x="95" y="147"/>
                      <a:pt x="59" y="139"/>
                    </a:cubicBezTo>
                    <a:cubicBezTo>
                      <a:pt x="23" y="131"/>
                      <a:pt x="0" y="95"/>
                      <a:pt x="8" y="59"/>
                    </a:cubicBezTo>
                    <a:close/>
                  </a:path>
                </a:pathLst>
              </a:custGeom>
              <a:solidFill>
                <a:srgbClr val="FFDF79"/>
              </a:solidFill>
              <a:ln>
                <a:noFill/>
              </a:ln>
              <a:extLst/>
            </p:spPr>
            <p:txBody>
              <a:bodyPr vert="horz" wrap="square" lIns="91775" tIns="45887" rIns="91775" bIns="45887" numCol="1" anchor="t" anchorCtr="0" compatLnSpc="1">
                <a:prstTxWarp prst="textNoShape">
                  <a:avLst/>
                </a:prstTxWarp>
              </a:bodyPr>
              <a:lstStyle/>
              <a:p>
                <a:pPr defTabSz="917783" fontAlgn="base">
                  <a:spcBef>
                    <a:spcPct val="0"/>
                  </a:spcBef>
                  <a:spcAft>
                    <a:spcPct val="0"/>
                  </a:spcAft>
                </a:pPr>
                <a:endParaRPr lang="zh-CN" altLang="en-US" sz="1405">
                  <a:solidFill>
                    <a:prstClr val="black"/>
                  </a:solidFill>
                  <a:latin typeface="Calibri" pitchFamily="34" charset="0"/>
                  <a:cs typeface="Calibri" panose="020F0502020204030204" pitchFamily="34" charset="0"/>
                </a:endParaRPr>
              </a:p>
            </p:txBody>
          </p:sp>
          <p:sp>
            <p:nvSpPr>
              <p:cNvPr id="834" name="Freeform 689">
                <a:extLst>
                  <a:ext uri="{FF2B5EF4-FFF2-40B4-BE49-F238E27FC236}">
                    <a16:creationId xmlns:a16="http://schemas.microsoft.com/office/drawing/2014/main" id="{A14973B3-E67B-4098-9A0F-D16AFAFD78FA}"/>
                  </a:ext>
                </a:extLst>
              </p:cNvPr>
              <p:cNvSpPr>
                <a:spLocks/>
              </p:cNvSpPr>
              <p:nvPr/>
            </p:nvSpPr>
            <p:spPr bwMode="auto">
              <a:xfrm>
                <a:off x="2244745" y="3456124"/>
                <a:ext cx="147932" cy="214162"/>
              </a:xfrm>
              <a:custGeom>
                <a:avLst/>
                <a:gdLst>
                  <a:gd name="T0" fmla="*/ 24 w 40"/>
                  <a:gd name="T1" fmla="*/ 115 h 115"/>
                  <a:gd name="T2" fmla="*/ 40 w 40"/>
                  <a:gd name="T3" fmla="*/ 115 h 115"/>
                  <a:gd name="T4" fmla="*/ 40 w 40"/>
                  <a:gd name="T5" fmla="*/ 0 h 115"/>
                  <a:gd name="T6" fmla="*/ 26 w 40"/>
                  <a:gd name="T7" fmla="*/ 0 h 115"/>
                  <a:gd name="T8" fmla="*/ 0 w 40"/>
                  <a:gd name="T9" fmla="*/ 14 h 115"/>
                  <a:gd name="T10" fmla="*/ 4 w 40"/>
                  <a:gd name="T11" fmla="*/ 26 h 115"/>
                  <a:gd name="T12" fmla="*/ 24 w 40"/>
                  <a:gd name="T13" fmla="*/ 16 h 115"/>
                  <a:gd name="T14" fmla="*/ 24 w 40"/>
                  <a:gd name="T15" fmla="*/ 16 h 115"/>
                  <a:gd name="T16" fmla="*/ 24 w 40"/>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15">
                    <a:moveTo>
                      <a:pt x="24" y="115"/>
                    </a:moveTo>
                    <a:lnTo>
                      <a:pt x="40" y="115"/>
                    </a:lnTo>
                    <a:lnTo>
                      <a:pt x="40" y="0"/>
                    </a:lnTo>
                    <a:lnTo>
                      <a:pt x="26" y="0"/>
                    </a:lnTo>
                    <a:lnTo>
                      <a:pt x="0" y="14"/>
                    </a:lnTo>
                    <a:lnTo>
                      <a:pt x="4" y="26"/>
                    </a:lnTo>
                    <a:lnTo>
                      <a:pt x="24" y="16"/>
                    </a:lnTo>
                    <a:lnTo>
                      <a:pt x="24" y="16"/>
                    </a:lnTo>
                    <a:lnTo>
                      <a:pt x="24" y="1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775" tIns="45887" rIns="91775" bIns="45887" numCol="1" anchor="t" anchorCtr="0" compatLnSpc="1">
                <a:prstTxWarp prst="textNoShape">
                  <a:avLst/>
                </a:prstTxWarp>
              </a:bodyPr>
              <a:lstStyle/>
              <a:p>
                <a:pPr defTabSz="917783" fontAlgn="base">
                  <a:spcBef>
                    <a:spcPct val="0"/>
                  </a:spcBef>
                  <a:spcAft>
                    <a:spcPct val="0"/>
                  </a:spcAft>
                </a:pPr>
                <a:endParaRPr lang="zh-CN" altLang="en-US" sz="1405">
                  <a:solidFill>
                    <a:prstClr val="black"/>
                  </a:solidFill>
                  <a:latin typeface="Calibri" pitchFamily="34" charset="0"/>
                  <a:cs typeface="Calibri" panose="020F0502020204030204" pitchFamily="34" charset="0"/>
                </a:endParaRPr>
              </a:p>
            </p:txBody>
          </p:sp>
        </p:grpSp>
        <p:grpSp>
          <p:nvGrpSpPr>
            <p:cNvPr id="3" name="Grup 2"/>
            <p:cNvGrpSpPr/>
            <p:nvPr/>
          </p:nvGrpSpPr>
          <p:grpSpPr>
            <a:xfrm>
              <a:off x="5233059" y="3488307"/>
              <a:ext cx="1080000" cy="540000"/>
              <a:chOff x="3387290" y="4208181"/>
              <a:chExt cx="1072506" cy="461963"/>
            </a:xfrm>
          </p:grpSpPr>
          <p:sp>
            <p:nvSpPr>
              <p:cNvPr id="835" name="Freeform 690">
                <a:extLst>
                  <a:ext uri="{FF2B5EF4-FFF2-40B4-BE49-F238E27FC236}">
                    <a16:creationId xmlns:a16="http://schemas.microsoft.com/office/drawing/2014/main" id="{028DC9A5-7665-4E24-BE06-6B5A44B6CC1B}"/>
                  </a:ext>
                </a:extLst>
              </p:cNvPr>
              <p:cNvSpPr>
                <a:spLocks/>
              </p:cNvSpPr>
              <p:nvPr/>
            </p:nvSpPr>
            <p:spPr bwMode="auto">
              <a:xfrm>
                <a:off x="3387290" y="4208181"/>
                <a:ext cx="1072506" cy="461963"/>
              </a:xfrm>
              <a:custGeom>
                <a:avLst/>
                <a:gdLst>
                  <a:gd name="T0" fmla="*/ 8 w 147"/>
                  <a:gd name="T1" fmla="*/ 59 h 147"/>
                  <a:gd name="T2" fmla="*/ 87 w 147"/>
                  <a:gd name="T3" fmla="*/ 8 h 147"/>
                  <a:gd name="T4" fmla="*/ 139 w 147"/>
                  <a:gd name="T5" fmla="*/ 87 h 147"/>
                  <a:gd name="T6" fmla="*/ 59 w 147"/>
                  <a:gd name="T7" fmla="*/ 139 h 147"/>
                  <a:gd name="T8" fmla="*/ 8 w 147"/>
                  <a:gd name="T9" fmla="*/ 59 h 147"/>
                </a:gdLst>
                <a:ahLst/>
                <a:cxnLst>
                  <a:cxn ang="0">
                    <a:pos x="T0" y="T1"/>
                  </a:cxn>
                  <a:cxn ang="0">
                    <a:pos x="T2" y="T3"/>
                  </a:cxn>
                  <a:cxn ang="0">
                    <a:pos x="T4" y="T5"/>
                  </a:cxn>
                  <a:cxn ang="0">
                    <a:pos x="T6" y="T7"/>
                  </a:cxn>
                  <a:cxn ang="0">
                    <a:pos x="T8" y="T9"/>
                  </a:cxn>
                </a:cxnLst>
                <a:rect l="0" t="0" r="r" b="b"/>
                <a:pathLst>
                  <a:path w="147" h="147">
                    <a:moveTo>
                      <a:pt x="8" y="59"/>
                    </a:moveTo>
                    <a:cubicBezTo>
                      <a:pt x="16" y="23"/>
                      <a:pt x="51" y="0"/>
                      <a:pt x="87" y="8"/>
                    </a:cubicBezTo>
                    <a:cubicBezTo>
                      <a:pt x="124" y="16"/>
                      <a:pt x="147" y="51"/>
                      <a:pt x="139" y="87"/>
                    </a:cubicBezTo>
                    <a:cubicBezTo>
                      <a:pt x="131" y="124"/>
                      <a:pt x="95" y="147"/>
                      <a:pt x="59" y="139"/>
                    </a:cubicBezTo>
                    <a:cubicBezTo>
                      <a:pt x="23" y="131"/>
                      <a:pt x="0" y="95"/>
                      <a:pt x="8" y="59"/>
                    </a:cubicBezTo>
                    <a:close/>
                  </a:path>
                </a:pathLst>
              </a:custGeom>
              <a:solidFill>
                <a:srgbClr val="E62654"/>
              </a:solidFill>
              <a:ln>
                <a:noFill/>
              </a:ln>
              <a:extLst/>
            </p:spPr>
            <p:txBody>
              <a:bodyPr vert="horz" wrap="square" lIns="91775" tIns="45887" rIns="91775" bIns="45887" numCol="1" anchor="t" anchorCtr="0" compatLnSpc="1">
                <a:prstTxWarp prst="textNoShape">
                  <a:avLst/>
                </a:prstTxWarp>
              </a:bodyPr>
              <a:lstStyle/>
              <a:p>
                <a:pPr defTabSz="917783" fontAlgn="base">
                  <a:spcBef>
                    <a:spcPct val="0"/>
                  </a:spcBef>
                  <a:spcAft>
                    <a:spcPct val="0"/>
                  </a:spcAft>
                </a:pPr>
                <a:endParaRPr lang="zh-CN" altLang="en-US" sz="1405">
                  <a:solidFill>
                    <a:prstClr val="black"/>
                  </a:solidFill>
                  <a:latin typeface="Calibri" pitchFamily="34" charset="0"/>
                  <a:cs typeface="Calibri" panose="020F0502020204030204" pitchFamily="34" charset="0"/>
                </a:endParaRPr>
              </a:p>
            </p:txBody>
          </p:sp>
          <p:sp>
            <p:nvSpPr>
              <p:cNvPr id="837" name="Freeform 692">
                <a:extLst>
                  <a:ext uri="{FF2B5EF4-FFF2-40B4-BE49-F238E27FC236}">
                    <a16:creationId xmlns:a16="http://schemas.microsoft.com/office/drawing/2014/main" id="{DF3C3F41-725E-4E7C-B31E-2A1077587CEF}"/>
                  </a:ext>
                </a:extLst>
              </p:cNvPr>
              <p:cNvSpPr>
                <a:spLocks/>
              </p:cNvSpPr>
              <p:nvPr/>
            </p:nvSpPr>
            <p:spPr bwMode="auto">
              <a:xfrm>
                <a:off x="3769519" y="4349468"/>
                <a:ext cx="269976" cy="182563"/>
              </a:xfrm>
              <a:custGeom>
                <a:avLst/>
                <a:gdLst>
                  <a:gd name="T0" fmla="*/ 37 w 37"/>
                  <a:gd name="T1" fmla="*/ 58 h 58"/>
                  <a:gd name="T2" fmla="*/ 37 w 37"/>
                  <a:gd name="T3" fmla="*/ 52 h 58"/>
                  <a:gd name="T4" fmla="*/ 11 w 37"/>
                  <a:gd name="T5" fmla="*/ 52 h 58"/>
                  <a:gd name="T6" fmla="*/ 11 w 37"/>
                  <a:gd name="T7" fmla="*/ 52 h 58"/>
                  <a:gd name="T8" fmla="*/ 16 w 37"/>
                  <a:gd name="T9" fmla="*/ 48 h 58"/>
                  <a:gd name="T10" fmla="*/ 36 w 37"/>
                  <a:gd name="T11" fmla="*/ 17 h 58"/>
                  <a:gd name="T12" fmla="*/ 18 w 37"/>
                  <a:gd name="T13" fmla="*/ 0 h 58"/>
                  <a:gd name="T14" fmla="*/ 1 w 37"/>
                  <a:gd name="T15" fmla="*/ 6 h 58"/>
                  <a:gd name="T16" fmla="*/ 4 w 37"/>
                  <a:gd name="T17" fmla="*/ 11 h 58"/>
                  <a:gd name="T18" fmla="*/ 16 w 37"/>
                  <a:gd name="T19" fmla="*/ 7 h 58"/>
                  <a:gd name="T20" fmla="*/ 28 w 37"/>
                  <a:gd name="T21" fmla="*/ 18 h 58"/>
                  <a:gd name="T22" fmla="*/ 6 w 37"/>
                  <a:gd name="T23" fmla="*/ 48 h 58"/>
                  <a:gd name="T24" fmla="*/ 0 w 37"/>
                  <a:gd name="T25" fmla="*/ 54 h 58"/>
                  <a:gd name="T26" fmla="*/ 0 w 37"/>
                  <a:gd name="T27" fmla="*/ 58 h 58"/>
                  <a:gd name="T28" fmla="*/ 37 w 37"/>
                  <a:gd name="T2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58">
                    <a:moveTo>
                      <a:pt x="37" y="58"/>
                    </a:moveTo>
                    <a:cubicBezTo>
                      <a:pt x="37" y="52"/>
                      <a:pt x="37" y="52"/>
                      <a:pt x="37" y="52"/>
                    </a:cubicBezTo>
                    <a:cubicBezTo>
                      <a:pt x="11" y="52"/>
                      <a:pt x="11" y="52"/>
                      <a:pt x="11" y="52"/>
                    </a:cubicBezTo>
                    <a:cubicBezTo>
                      <a:pt x="11" y="52"/>
                      <a:pt x="11" y="52"/>
                      <a:pt x="11" y="52"/>
                    </a:cubicBezTo>
                    <a:cubicBezTo>
                      <a:pt x="16" y="48"/>
                      <a:pt x="16" y="48"/>
                      <a:pt x="16" y="48"/>
                    </a:cubicBezTo>
                    <a:cubicBezTo>
                      <a:pt x="28" y="36"/>
                      <a:pt x="36" y="27"/>
                      <a:pt x="36" y="17"/>
                    </a:cubicBezTo>
                    <a:cubicBezTo>
                      <a:pt x="36" y="9"/>
                      <a:pt x="31" y="0"/>
                      <a:pt x="18" y="0"/>
                    </a:cubicBezTo>
                    <a:cubicBezTo>
                      <a:pt x="11" y="0"/>
                      <a:pt x="5" y="3"/>
                      <a:pt x="1" y="6"/>
                    </a:cubicBezTo>
                    <a:cubicBezTo>
                      <a:pt x="4" y="11"/>
                      <a:pt x="4" y="11"/>
                      <a:pt x="4" y="11"/>
                    </a:cubicBezTo>
                    <a:cubicBezTo>
                      <a:pt x="6" y="9"/>
                      <a:pt x="11" y="7"/>
                      <a:pt x="16" y="7"/>
                    </a:cubicBezTo>
                    <a:cubicBezTo>
                      <a:pt x="25" y="7"/>
                      <a:pt x="28" y="12"/>
                      <a:pt x="28" y="18"/>
                    </a:cubicBezTo>
                    <a:cubicBezTo>
                      <a:pt x="28" y="26"/>
                      <a:pt x="21" y="34"/>
                      <a:pt x="6" y="48"/>
                    </a:cubicBezTo>
                    <a:cubicBezTo>
                      <a:pt x="0" y="54"/>
                      <a:pt x="0" y="54"/>
                      <a:pt x="0" y="54"/>
                    </a:cubicBezTo>
                    <a:cubicBezTo>
                      <a:pt x="0" y="58"/>
                      <a:pt x="0" y="58"/>
                      <a:pt x="0" y="58"/>
                    </a:cubicBezTo>
                    <a:lnTo>
                      <a:pt x="37"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775" tIns="45887" rIns="91775" bIns="45887" numCol="1" anchor="t" anchorCtr="0" compatLnSpc="1">
                <a:prstTxWarp prst="textNoShape">
                  <a:avLst/>
                </a:prstTxWarp>
              </a:bodyPr>
              <a:lstStyle/>
              <a:p>
                <a:pPr defTabSz="917783" fontAlgn="base">
                  <a:spcBef>
                    <a:spcPct val="0"/>
                  </a:spcBef>
                  <a:spcAft>
                    <a:spcPct val="0"/>
                  </a:spcAft>
                </a:pPr>
                <a:endParaRPr lang="zh-CN" altLang="en-US" sz="1405">
                  <a:solidFill>
                    <a:prstClr val="black"/>
                  </a:solidFill>
                  <a:latin typeface="Calibri" pitchFamily="34" charset="0"/>
                  <a:cs typeface="Calibri" panose="020F0502020204030204" pitchFamily="34" charset="0"/>
                </a:endParaRPr>
              </a:p>
            </p:txBody>
          </p:sp>
        </p:grpSp>
        <p:grpSp>
          <p:nvGrpSpPr>
            <p:cNvPr id="15" name="Grup 14"/>
            <p:cNvGrpSpPr/>
            <p:nvPr/>
          </p:nvGrpSpPr>
          <p:grpSpPr>
            <a:xfrm>
              <a:off x="3481487" y="4035944"/>
              <a:ext cx="4608000" cy="1651013"/>
              <a:chOff x="3481487" y="4035944"/>
              <a:chExt cx="4608000" cy="1651013"/>
            </a:xfrm>
          </p:grpSpPr>
          <p:sp>
            <p:nvSpPr>
              <p:cNvPr id="1616" name="Yukarı Ok Belirtme Çizgisi 1615"/>
              <p:cNvSpPr/>
              <p:nvPr/>
            </p:nvSpPr>
            <p:spPr>
              <a:xfrm>
                <a:off x="3481487" y="4035944"/>
                <a:ext cx="4608000" cy="864000"/>
              </a:xfrm>
              <a:prstGeom prst="upArrowCallout">
                <a:avLst/>
              </a:prstGeom>
              <a:solidFill>
                <a:srgbClr val="E62654"/>
              </a:solidFill>
              <a:ln w="12700">
                <a:solidFill>
                  <a:srgbClr val="E626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7783" fontAlgn="base">
                  <a:spcBef>
                    <a:spcPct val="0"/>
                  </a:spcBef>
                  <a:spcAft>
                    <a:spcPct val="0"/>
                  </a:spcAft>
                </a:pPr>
                <a:r>
                  <a:rPr lang="tr-TR" sz="1807" b="1" dirty="0">
                    <a:solidFill>
                      <a:prstClr val="white"/>
                    </a:solidFill>
                    <a:latin typeface="Calibri" panose="020F0502020204030204" pitchFamily="34" charset="0"/>
                    <a:cs typeface="Calibri" panose="020F0502020204030204" pitchFamily="34" charset="0"/>
                  </a:rPr>
                  <a:t>Ödeme</a:t>
                </a:r>
              </a:p>
            </p:txBody>
          </p:sp>
          <p:sp>
            <p:nvSpPr>
              <p:cNvPr id="1617" name="Metin kutusu 1616"/>
              <p:cNvSpPr txBox="1"/>
              <p:nvPr/>
            </p:nvSpPr>
            <p:spPr>
              <a:xfrm>
                <a:off x="3481487" y="5038446"/>
                <a:ext cx="4608000" cy="648511"/>
              </a:xfrm>
              <a:prstGeom prst="rect">
                <a:avLst/>
              </a:prstGeom>
              <a:noFill/>
              <a:ln w="12700">
                <a:solidFill>
                  <a:srgbClr val="E62654"/>
                </a:solidFill>
              </a:ln>
            </p:spPr>
            <p:txBody>
              <a:bodyPr wrap="square" rtlCol="0" anchor="ctr">
                <a:spAutoFit/>
              </a:bodyPr>
              <a:lstStyle/>
              <a:p>
                <a:pPr algn="ctr" defTabSz="688301">
                  <a:defRPr/>
                </a:pPr>
                <a:r>
                  <a:rPr lang="tr-TR" sz="1807" kern="0" dirty="0">
                    <a:solidFill>
                      <a:prstClr val="black"/>
                    </a:solidFill>
                    <a:latin typeface="Calibri" pitchFamily="34" charset="0"/>
                    <a:ea typeface="ヒラギノ角ゴ Pro W3" pitchFamily="1" charset="-128"/>
                  </a:rPr>
                  <a:t>Ödeme Talepleri E-devlet üzerinden online olarak yapılmaktadır.</a:t>
                </a:r>
              </a:p>
            </p:txBody>
          </p:sp>
        </p:grpSp>
        <p:grpSp>
          <p:nvGrpSpPr>
            <p:cNvPr id="10" name="Grup 9"/>
            <p:cNvGrpSpPr/>
            <p:nvPr/>
          </p:nvGrpSpPr>
          <p:grpSpPr>
            <a:xfrm>
              <a:off x="8482363" y="3416300"/>
              <a:ext cx="1080000" cy="540000"/>
              <a:chOff x="9109341" y="3078341"/>
              <a:chExt cx="1072506" cy="458788"/>
            </a:xfrm>
          </p:grpSpPr>
          <p:sp>
            <p:nvSpPr>
              <p:cNvPr id="838" name="Freeform 693">
                <a:extLst>
                  <a:ext uri="{FF2B5EF4-FFF2-40B4-BE49-F238E27FC236}">
                    <a16:creationId xmlns:a16="http://schemas.microsoft.com/office/drawing/2014/main" id="{C48E1C12-C2FD-45AE-94E1-4ECCC440B35E}"/>
                  </a:ext>
                </a:extLst>
              </p:cNvPr>
              <p:cNvSpPr>
                <a:spLocks/>
              </p:cNvSpPr>
              <p:nvPr/>
            </p:nvSpPr>
            <p:spPr bwMode="auto">
              <a:xfrm>
                <a:off x="9109341" y="3078341"/>
                <a:ext cx="1072506" cy="458788"/>
              </a:xfrm>
              <a:custGeom>
                <a:avLst/>
                <a:gdLst>
                  <a:gd name="T0" fmla="*/ 8 w 147"/>
                  <a:gd name="T1" fmla="*/ 59 h 146"/>
                  <a:gd name="T2" fmla="*/ 88 w 147"/>
                  <a:gd name="T3" fmla="*/ 7 h 146"/>
                  <a:gd name="T4" fmla="*/ 139 w 147"/>
                  <a:gd name="T5" fmla="*/ 87 h 146"/>
                  <a:gd name="T6" fmla="*/ 60 w 147"/>
                  <a:gd name="T7" fmla="*/ 139 h 146"/>
                  <a:gd name="T8" fmla="*/ 8 w 147"/>
                  <a:gd name="T9" fmla="*/ 59 h 146"/>
                </a:gdLst>
                <a:ahLst/>
                <a:cxnLst>
                  <a:cxn ang="0">
                    <a:pos x="T0" y="T1"/>
                  </a:cxn>
                  <a:cxn ang="0">
                    <a:pos x="T2" y="T3"/>
                  </a:cxn>
                  <a:cxn ang="0">
                    <a:pos x="T4" y="T5"/>
                  </a:cxn>
                  <a:cxn ang="0">
                    <a:pos x="T6" y="T7"/>
                  </a:cxn>
                  <a:cxn ang="0">
                    <a:pos x="T8" y="T9"/>
                  </a:cxn>
                </a:cxnLst>
                <a:rect l="0" t="0" r="r" b="b"/>
                <a:pathLst>
                  <a:path w="147" h="146">
                    <a:moveTo>
                      <a:pt x="8" y="59"/>
                    </a:moveTo>
                    <a:cubicBezTo>
                      <a:pt x="16" y="23"/>
                      <a:pt x="52" y="0"/>
                      <a:pt x="88" y="7"/>
                    </a:cubicBezTo>
                    <a:cubicBezTo>
                      <a:pt x="124" y="15"/>
                      <a:pt x="147" y="51"/>
                      <a:pt x="139" y="87"/>
                    </a:cubicBezTo>
                    <a:cubicBezTo>
                      <a:pt x="132" y="124"/>
                      <a:pt x="96" y="146"/>
                      <a:pt x="60" y="139"/>
                    </a:cubicBezTo>
                    <a:cubicBezTo>
                      <a:pt x="23" y="131"/>
                      <a:pt x="0" y="95"/>
                      <a:pt x="8" y="59"/>
                    </a:cubicBezTo>
                    <a:close/>
                  </a:path>
                </a:pathLst>
              </a:custGeom>
              <a:solidFill>
                <a:srgbClr val="66CCFF"/>
              </a:solidFill>
              <a:ln>
                <a:noFill/>
              </a:ln>
              <a:extLst/>
            </p:spPr>
            <p:txBody>
              <a:bodyPr vert="horz" wrap="square" lIns="91775" tIns="45887" rIns="91775" bIns="45887" numCol="1" anchor="t" anchorCtr="0" compatLnSpc="1">
                <a:prstTxWarp prst="textNoShape">
                  <a:avLst/>
                </a:prstTxWarp>
              </a:bodyPr>
              <a:lstStyle/>
              <a:p>
                <a:pPr defTabSz="917783" fontAlgn="base">
                  <a:spcBef>
                    <a:spcPct val="0"/>
                  </a:spcBef>
                  <a:spcAft>
                    <a:spcPct val="0"/>
                  </a:spcAft>
                </a:pPr>
                <a:endParaRPr lang="zh-CN" altLang="en-US" sz="1405">
                  <a:solidFill>
                    <a:prstClr val="black"/>
                  </a:solidFill>
                  <a:latin typeface="Calibri" pitchFamily="34" charset="0"/>
                  <a:cs typeface="Calibri" panose="020F0502020204030204" pitchFamily="34" charset="0"/>
                </a:endParaRPr>
              </a:p>
            </p:txBody>
          </p:sp>
          <p:sp>
            <p:nvSpPr>
              <p:cNvPr id="840" name="Freeform 695">
                <a:extLst>
                  <a:ext uri="{FF2B5EF4-FFF2-40B4-BE49-F238E27FC236}">
                    <a16:creationId xmlns:a16="http://schemas.microsoft.com/office/drawing/2014/main" id="{FBC67FFD-CDB7-4CC5-BB1A-333783E99E0A}"/>
                  </a:ext>
                </a:extLst>
              </p:cNvPr>
              <p:cNvSpPr>
                <a:spLocks/>
              </p:cNvSpPr>
              <p:nvPr/>
            </p:nvSpPr>
            <p:spPr bwMode="auto">
              <a:xfrm>
                <a:off x="9505711" y="3219629"/>
                <a:ext cx="273674" cy="185738"/>
              </a:xfrm>
              <a:custGeom>
                <a:avLst/>
                <a:gdLst>
                  <a:gd name="T0" fmla="*/ 0 w 37"/>
                  <a:gd name="T1" fmla="*/ 55 h 59"/>
                  <a:gd name="T2" fmla="*/ 15 w 37"/>
                  <a:gd name="T3" fmla="*/ 59 h 59"/>
                  <a:gd name="T4" fmla="*/ 37 w 37"/>
                  <a:gd name="T5" fmla="*/ 42 h 59"/>
                  <a:gd name="T6" fmla="*/ 24 w 37"/>
                  <a:gd name="T7" fmla="*/ 27 h 59"/>
                  <a:gd name="T8" fmla="*/ 24 w 37"/>
                  <a:gd name="T9" fmla="*/ 27 h 59"/>
                  <a:gd name="T10" fmla="*/ 35 w 37"/>
                  <a:gd name="T11" fmla="*/ 14 h 59"/>
                  <a:gd name="T12" fmla="*/ 18 w 37"/>
                  <a:gd name="T13" fmla="*/ 0 h 59"/>
                  <a:gd name="T14" fmla="*/ 2 w 37"/>
                  <a:gd name="T15" fmla="*/ 4 h 59"/>
                  <a:gd name="T16" fmla="*/ 4 w 37"/>
                  <a:gd name="T17" fmla="*/ 10 h 59"/>
                  <a:gd name="T18" fmla="*/ 16 w 37"/>
                  <a:gd name="T19" fmla="*/ 6 h 59"/>
                  <a:gd name="T20" fmla="*/ 27 w 37"/>
                  <a:gd name="T21" fmla="*/ 15 h 59"/>
                  <a:gd name="T22" fmla="*/ 13 w 37"/>
                  <a:gd name="T23" fmla="*/ 25 h 59"/>
                  <a:gd name="T24" fmla="*/ 9 w 37"/>
                  <a:gd name="T25" fmla="*/ 25 h 59"/>
                  <a:gd name="T26" fmla="*/ 9 w 37"/>
                  <a:gd name="T27" fmla="*/ 30 h 59"/>
                  <a:gd name="T28" fmla="*/ 13 w 37"/>
                  <a:gd name="T29" fmla="*/ 30 h 59"/>
                  <a:gd name="T30" fmla="*/ 29 w 37"/>
                  <a:gd name="T31" fmla="*/ 42 h 59"/>
                  <a:gd name="T32" fmla="*/ 15 w 37"/>
                  <a:gd name="T33" fmla="*/ 53 h 59"/>
                  <a:gd name="T34" fmla="*/ 2 w 37"/>
                  <a:gd name="T35" fmla="*/ 49 h 59"/>
                  <a:gd name="T36" fmla="*/ 0 w 37"/>
                  <a:gd name="T37" fmla="*/ 5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59">
                    <a:moveTo>
                      <a:pt x="0" y="55"/>
                    </a:moveTo>
                    <a:cubicBezTo>
                      <a:pt x="3" y="57"/>
                      <a:pt x="9" y="59"/>
                      <a:pt x="15" y="59"/>
                    </a:cubicBezTo>
                    <a:cubicBezTo>
                      <a:pt x="30" y="59"/>
                      <a:pt x="37" y="51"/>
                      <a:pt x="37" y="42"/>
                    </a:cubicBezTo>
                    <a:cubicBezTo>
                      <a:pt x="37" y="34"/>
                      <a:pt x="31" y="29"/>
                      <a:pt x="24" y="27"/>
                    </a:cubicBezTo>
                    <a:cubicBezTo>
                      <a:pt x="24" y="27"/>
                      <a:pt x="24" y="27"/>
                      <a:pt x="24" y="27"/>
                    </a:cubicBezTo>
                    <a:cubicBezTo>
                      <a:pt x="31" y="25"/>
                      <a:pt x="35" y="20"/>
                      <a:pt x="35" y="14"/>
                    </a:cubicBezTo>
                    <a:cubicBezTo>
                      <a:pt x="35" y="7"/>
                      <a:pt x="29" y="0"/>
                      <a:pt x="18" y="0"/>
                    </a:cubicBezTo>
                    <a:cubicBezTo>
                      <a:pt x="11" y="0"/>
                      <a:pt x="5" y="2"/>
                      <a:pt x="2" y="4"/>
                    </a:cubicBezTo>
                    <a:cubicBezTo>
                      <a:pt x="4" y="10"/>
                      <a:pt x="4" y="10"/>
                      <a:pt x="4" y="10"/>
                    </a:cubicBezTo>
                    <a:cubicBezTo>
                      <a:pt x="7" y="8"/>
                      <a:pt x="12" y="6"/>
                      <a:pt x="16" y="6"/>
                    </a:cubicBezTo>
                    <a:cubicBezTo>
                      <a:pt x="24" y="6"/>
                      <a:pt x="27" y="10"/>
                      <a:pt x="27" y="15"/>
                    </a:cubicBezTo>
                    <a:cubicBezTo>
                      <a:pt x="27" y="22"/>
                      <a:pt x="19" y="25"/>
                      <a:pt x="13" y="25"/>
                    </a:cubicBezTo>
                    <a:cubicBezTo>
                      <a:pt x="9" y="25"/>
                      <a:pt x="9" y="25"/>
                      <a:pt x="9" y="25"/>
                    </a:cubicBezTo>
                    <a:cubicBezTo>
                      <a:pt x="9" y="30"/>
                      <a:pt x="9" y="30"/>
                      <a:pt x="9" y="30"/>
                    </a:cubicBezTo>
                    <a:cubicBezTo>
                      <a:pt x="13" y="30"/>
                      <a:pt x="13" y="30"/>
                      <a:pt x="13" y="30"/>
                    </a:cubicBezTo>
                    <a:cubicBezTo>
                      <a:pt x="21" y="30"/>
                      <a:pt x="29" y="34"/>
                      <a:pt x="29" y="42"/>
                    </a:cubicBezTo>
                    <a:cubicBezTo>
                      <a:pt x="29" y="47"/>
                      <a:pt x="26" y="53"/>
                      <a:pt x="15" y="53"/>
                    </a:cubicBezTo>
                    <a:cubicBezTo>
                      <a:pt x="10" y="53"/>
                      <a:pt x="5" y="51"/>
                      <a:pt x="2" y="49"/>
                    </a:cubicBezTo>
                    <a:lnTo>
                      <a:pt x="0"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775" tIns="45887" rIns="91775" bIns="45887" numCol="1" anchor="t" anchorCtr="0" compatLnSpc="1">
                <a:prstTxWarp prst="textNoShape">
                  <a:avLst/>
                </a:prstTxWarp>
              </a:bodyPr>
              <a:lstStyle/>
              <a:p>
                <a:pPr defTabSz="917783" fontAlgn="base">
                  <a:spcBef>
                    <a:spcPct val="0"/>
                  </a:spcBef>
                  <a:spcAft>
                    <a:spcPct val="0"/>
                  </a:spcAft>
                </a:pPr>
                <a:endParaRPr lang="zh-CN" altLang="en-US" sz="1405">
                  <a:solidFill>
                    <a:prstClr val="black"/>
                  </a:solidFill>
                  <a:latin typeface="Calibri" pitchFamily="34" charset="0"/>
                  <a:cs typeface="Calibri" panose="020F0502020204030204" pitchFamily="34" charset="0"/>
                </a:endParaRPr>
              </a:p>
            </p:txBody>
          </p:sp>
        </p:grpSp>
        <p:sp>
          <p:nvSpPr>
            <p:cNvPr id="1621" name="Aşağı Ok Belirtme Çizgisi 1620"/>
            <p:cNvSpPr/>
            <p:nvPr/>
          </p:nvSpPr>
          <p:spPr>
            <a:xfrm>
              <a:off x="6715743" y="2512379"/>
              <a:ext cx="4608000" cy="864000"/>
            </a:xfrm>
            <a:prstGeom prst="downArrowCallout">
              <a:avLst/>
            </a:prstGeom>
            <a:solidFill>
              <a:srgbClr val="66CCFF"/>
            </a:solidFill>
            <a:ln>
              <a:solidFill>
                <a:srgbClr val="66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7783" fontAlgn="base">
                <a:spcBef>
                  <a:spcPct val="0"/>
                </a:spcBef>
                <a:spcAft>
                  <a:spcPct val="0"/>
                </a:spcAft>
              </a:pPr>
              <a:r>
                <a:rPr lang="tr-TR" sz="1807" b="1" dirty="0">
                  <a:solidFill>
                    <a:prstClr val="black"/>
                  </a:solidFill>
                  <a:latin typeface="Calibri" panose="020F0502020204030204" pitchFamily="34" charset="0"/>
                  <a:cs typeface="Calibri" panose="020F0502020204030204" pitchFamily="34" charset="0"/>
                </a:rPr>
                <a:t>Süre</a:t>
              </a:r>
            </a:p>
          </p:txBody>
        </p:sp>
        <p:sp>
          <p:nvSpPr>
            <p:cNvPr id="1622" name="Dikdörtgen 1621"/>
            <p:cNvSpPr/>
            <p:nvPr/>
          </p:nvSpPr>
          <p:spPr>
            <a:xfrm>
              <a:off x="6715743" y="1561005"/>
              <a:ext cx="4608000" cy="936000"/>
            </a:xfrm>
            <a:prstGeom prst="rect">
              <a:avLst/>
            </a:prstGeom>
            <a:solidFill>
              <a:srgbClr val="FFFFFF"/>
            </a:solidFill>
            <a:ln>
              <a:solidFill>
                <a:srgbClr val="66CCFF"/>
              </a:solidFill>
            </a:ln>
          </p:spPr>
          <p:txBody>
            <a:bodyPr wrap="square">
              <a:spAutoFit/>
            </a:bodyPr>
            <a:lstStyle/>
            <a:p>
              <a:pPr algn="ctr" defTabSz="917783" fontAlgn="base">
                <a:spcBef>
                  <a:spcPct val="0"/>
                </a:spcBef>
                <a:spcAft>
                  <a:spcPct val="0"/>
                </a:spcAft>
              </a:pPr>
              <a:r>
                <a:rPr lang="tr-TR" sz="1807" kern="0" dirty="0">
                  <a:solidFill>
                    <a:prstClr val="black"/>
                  </a:solidFill>
                  <a:latin typeface="Calibri" pitchFamily="34" charset="0"/>
                  <a:ea typeface="ヒラギノ角ゴ Pro W3" pitchFamily="1" charset="-128"/>
                </a:rPr>
                <a:t>Program süresi 2 yıl olup Program tamamlandıktan sonra </a:t>
              </a:r>
              <a:r>
                <a:rPr lang="tr-TR" sz="1807" dirty="0">
                  <a:solidFill>
                    <a:prstClr val="black"/>
                  </a:solidFill>
                  <a:latin typeface="Calibri" pitchFamily="34" charset="0"/>
                  <a:ea typeface="ヒラギノ角ゴ Pro W3" pitchFamily="1" charset="-128"/>
                  <a:cs typeface="Calibri" panose="020F0502020204030204" pitchFamily="34" charset="0"/>
                </a:rPr>
                <a:t>bir defaya mahsus olmak üzere, yeniden yararlanabilir.</a:t>
              </a:r>
              <a:endParaRPr lang="tr-TR" sz="1807" kern="0" dirty="0">
                <a:solidFill>
                  <a:prstClr val="black"/>
                </a:solidFill>
                <a:latin typeface="Calibri" pitchFamily="34" charset="0"/>
                <a:ea typeface="ヒラギノ角ゴ Pro W3" pitchFamily="1" charset="-128"/>
              </a:endParaRPr>
            </a:p>
          </p:txBody>
        </p:sp>
      </p:grpSp>
      <p:sp>
        <p:nvSpPr>
          <p:cNvPr id="2" name="Metin kutusu 1"/>
          <p:cNvSpPr txBox="1"/>
          <p:nvPr/>
        </p:nvSpPr>
        <p:spPr>
          <a:xfrm>
            <a:off x="9796710" y="4223987"/>
            <a:ext cx="2214251" cy="1760745"/>
          </a:xfrm>
          <a:prstGeom prst="rect">
            <a:avLst/>
          </a:prstGeom>
          <a:noFill/>
        </p:spPr>
        <p:txBody>
          <a:bodyPr wrap="square" rtlCol="0">
            <a:spAutoFit/>
          </a:bodyPr>
          <a:lstStyle/>
          <a:p>
            <a:pPr algn="ctr" defTabSz="917783" fontAlgn="base">
              <a:spcBef>
                <a:spcPct val="0"/>
              </a:spcBef>
              <a:spcAft>
                <a:spcPct val="0"/>
              </a:spcAft>
            </a:pPr>
            <a:r>
              <a:rPr lang="tr-TR" sz="1807" b="1" dirty="0">
                <a:solidFill>
                  <a:prstClr val="black"/>
                </a:solidFill>
                <a:latin typeface="Calibri" pitchFamily="34" charset="0"/>
                <a:ea typeface="ヒラギノ角ゴ Pro W3" pitchFamily="1" charset="-128"/>
              </a:rPr>
              <a:t>İşletme İkinci programda birinci programdan yararlanılan desteklerden faydalanamaz.</a:t>
            </a:r>
          </a:p>
        </p:txBody>
      </p:sp>
    </p:spTree>
    <p:extLst>
      <p:ext uri="{BB962C8B-B14F-4D97-AF65-F5344CB8AC3E}">
        <p14:creationId xmlns:p14="http://schemas.microsoft.com/office/powerpoint/2010/main" val="1452387530"/>
      </p:ext>
    </p:extLst>
  </p:cSld>
  <p:clrMapOvr>
    <a:masterClrMapping/>
  </p:clrMapOvr>
  <p:transition spd="slow">
    <p:push dir="u"/>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defTabSz="1097302"/>
            <a:fld id="{7C1868C5-B491-42BF-9F5C-46095BC3F40A}" type="slidenum">
              <a:rPr lang="tr-TR">
                <a:solidFill>
                  <a:prstClr val="black"/>
                </a:solidFill>
                <a:latin typeface="Frutiger 45 Light"/>
                <a:ea typeface="ヒラギノ角ゴ Pro W3" pitchFamily="1" charset="-128"/>
              </a:rPr>
              <a:pPr defTabSz="1097302"/>
              <a:t>92</a:t>
            </a:fld>
            <a:endParaRPr lang="tr-TR" dirty="0">
              <a:solidFill>
                <a:prstClr val="black"/>
              </a:solidFill>
              <a:latin typeface="Frutiger 45 Light"/>
              <a:ea typeface="ヒラギノ角ゴ Pro W3" pitchFamily="1" charset="-128"/>
            </a:endParaRPr>
          </a:p>
        </p:txBody>
      </p:sp>
      <p:graphicFrame>
        <p:nvGraphicFramePr>
          <p:cNvPr id="5" name="Tablo 4"/>
          <p:cNvGraphicFramePr>
            <a:graphicFrameLocks noGrp="1"/>
          </p:cNvGraphicFramePr>
          <p:nvPr>
            <p:extLst/>
          </p:nvPr>
        </p:nvGraphicFramePr>
        <p:xfrm>
          <a:off x="1687439" y="864500"/>
          <a:ext cx="10118008" cy="3836633"/>
        </p:xfrm>
        <a:graphic>
          <a:graphicData uri="http://schemas.openxmlformats.org/drawingml/2006/table">
            <a:tbl>
              <a:tblPr firstRow="1" firstCol="1" bandRow="1">
                <a:tableStyleId>{5C22544A-7EE6-4342-B048-85BDC9FD1C3A}</a:tableStyleId>
              </a:tblPr>
              <a:tblGrid>
                <a:gridCol w="578172">
                  <a:extLst>
                    <a:ext uri="{9D8B030D-6E8A-4147-A177-3AD203B41FA5}">
                      <a16:colId xmlns:a16="http://schemas.microsoft.com/office/drawing/2014/main" val="1115712964"/>
                    </a:ext>
                  </a:extLst>
                </a:gridCol>
                <a:gridCol w="4769918">
                  <a:extLst>
                    <a:ext uri="{9D8B030D-6E8A-4147-A177-3AD203B41FA5}">
                      <a16:colId xmlns:a16="http://schemas.microsoft.com/office/drawing/2014/main" val="980313353"/>
                    </a:ext>
                  </a:extLst>
                </a:gridCol>
                <a:gridCol w="3035403">
                  <a:extLst>
                    <a:ext uri="{9D8B030D-6E8A-4147-A177-3AD203B41FA5}">
                      <a16:colId xmlns:a16="http://schemas.microsoft.com/office/drawing/2014/main" val="1752559816"/>
                    </a:ext>
                  </a:extLst>
                </a:gridCol>
                <a:gridCol w="1734515">
                  <a:extLst>
                    <a:ext uri="{9D8B030D-6E8A-4147-A177-3AD203B41FA5}">
                      <a16:colId xmlns:a16="http://schemas.microsoft.com/office/drawing/2014/main" val="3644866212"/>
                    </a:ext>
                  </a:extLst>
                </a:gridCol>
              </a:tblGrid>
              <a:tr h="390042">
                <a:tc>
                  <a:txBody>
                    <a:bodyPr/>
                    <a:lstStyle/>
                    <a:p>
                      <a:pPr>
                        <a:lnSpc>
                          <a:spcPct val="107000"/>
                        </a:lnSpc>
                        <a:spcAft>
                          <a:spcPts val="0"/>
                        </a:spcAft>
                      </a:pPr>
                      <a:r>
                        <a:rPr lang="tr-TR" sz="1600">
                          <a:effectLst/>
                          <a:latin typeface="Times New Roman" panose="02020603050405020304" pitchFamily="18" charset="0"/>
                          <a:cs typeface="Times New Roman" panose="02020603050405020304" pitchFamily="18" charset="0"/>
                        </a:rPr>
                        <a:t> </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indent="21590" algn="ctr">
                        <a:lnSpc>
                          <a:spcPct val="107000"/>
                        </a:lnSpc>
                        <a:spcAft>
                          <a:spcPts val="0"/>
                        </a:spcAft>
                      </a:pPr>
                      <a:r>
                        <a:rPr lang="tr-TR" sz="1600" dirty="0" smtClean="0">
                          <a:effectLst/>
                          <a:latin typeface="Times New Roman" panose="02020603050405020304" pitchFamily="18" charset="0"/>
                          <a:cs typeface="Times New Roman" panose="02020603050405020304" pitchFamily="18" charset="0"/>
                        </a:rPr>
                        <a:t>DESTEK</a:t>
                      </a:r>
                      <a:r>
                        <a:rPr lang="tr-TR" sz="1600" baseline="0" dirty="0" smtClean="0">
                          <a:effectLst/>
                          <a:latin typeface="Times New Roman" panose="02020603050405020304" pitchFamily="18" charset="0"/>
                          <a:cs typeface="Times New Roman" panose="02020603050405020304" pitchFamily="18" charset="0"/>
                        </a:rPr>
                        <a:t> ADI</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DESTEK ÜST LİMİTİ (TL)</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gn="ctr">
                        <a:lnSpc>
                          <a:spcPct val="107000"/>
                        </a:lnSpc>
                        <a:spcAft>
                          <a:spcPts val="0"/>
                        </a:spcAft>
                      </a:pPr>
                      <a:r>
                        <a:rPr lang="tr-TR" sz="1600">
                          <a:effectLst/>
                          <a:latin typeface="Times New Roman" panose="02020603050405020304" pitchFamily="18" charset="0"/>
                          <a:cs typeface="Times New Roman" panose="02020603050405020304" pitchFamily="18" charset="0"/>
                        </a:rPr>
                        <a:t>DESTEK ORANI</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extLst>
                  <a:ext uri="{0D108BD9-81ED-4DB2-BD59-A6C34878D82A}">
                    <a16:rowId xmlns:a16="http://schemas.microsoft.com/office/drawing/2014/main" val="685030420"/>
                  </a:ext>
                </a:extLst>
              </a:tr>
              <a:tr h="261877">
                <a:tc>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1</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nSpc>
                          <a:spcPct val="107000"/>
                        </a:lnSpc>
                        <a:spcAft>
                          <a:spcPts val="0"/>
                        </a:spcAft>
                      </a:pPr>
                      <a:r>
                        <a:rPr lang="tr-TR" sz="1600">
                          <a:effectLst/>
                          <a:latin typeface="Times New Roman" panose="02020603050405020304" pitchFamily="18" charset="0"/>
                          <a:cs typeface="Times New Roman" panose="02020603050405020304" pitchFamily="18" charset="0"/>
                        </a:rPr>
                        <a:t>Yurt İçi Fuar Desteği</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gn="ctr">
                        <a:lnSpc>
                          <a:spcPct val="107000"/>
                        </a:lnSpc>
                        <a:spcAft>
                          <a:spcPts val="0"/>
                        </a:spcAft>
                        <a:tabLst>
                          <a:tab pos="381000" algn="l"/>
                        </a:tabLst>
                      </a:pPr>
                      <a:r>
                        <a:rPr lang="tr-TR" sz="1600">
                          <a:effectLst/>
                          <a:latin typeface="Times New Roman" panose="02020603050405020304" pitchFamily="18" charset="0"/>
                          <a:cs typeface="Times New Roman" panose="02020603050405020304" pitchFamily="18" charset="0"/>
                        </a:rPr>
                        <a:t>50.000</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rowSpan="13">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60</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extLst>
                  <a:ext uri="{0D108BD9-81ED-4DB2-BD59-A6C34878D82A}">
                    <a16:rowId xmlns:a16="http://schemas.microsoft.com/office/drawing/2014/main" val="3836964776"/>
                  </a:ext>
                </a:extLst>
              </a:tr>
              <a:tr h="261877">
                <a:tc>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2</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nSpc>
                          <a:spcPct val="107000"/>
                        </a:lnSpc>
                        <a:spcAft>
                          <a:spcPts val="0"/>
                        </a:spcAft>
                      </a:pPr>
                      <a:r>
                        <a:rPr lang="tr-TR" sz="1600">
                          <a:effectLst/>
                          <a:latin typeface="Times New Roman" panose="02020603050405020304" pitchFamily="18" charset="0"/>
                          <a:cs typeface="Times New Roman" panose="02020603050405020304" pitchFamily="18" charset="0"/>
                        </a:rPr>
                        <a:t>Yurt Dışı İş Gezisi Desteği</a:t>
                      </a:r>
                      <a:r>
                        <a:rPr lang="tr-TR" sz="1600" baseline="30000">
                          <a:effectLst/>
                          <a:latin typeface="Times New Roman" panose="02020603050405020304" pitchFamily="18" charset="0"/>
                          <a:cs typeface="Times New Roman" panose="02020603050405020304" pitchFamily="18" charset="0"/>
                        </a:rPr>
                        <a:t>1</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gn="ctr">
                        <a:lnSpc>
                          <a:spcPct val="107000"/>
                        </a:lnSpc>
                        <a:spcAft>
                          <a:spcPts val="0"/>
                        </a:spcAft>
                        <a:tabLst>
                          <a:tab pos="381000" algn="l"/>
                        </a:tabLst>
                      </a:pPr>
                      <a:r>
                        <a:rPr lang="tr-TR" sz="1600">
                          <a:effectLst/>
                          <a:latin typeface="Times New Roman" panose="02020603050405020304" pitchFamily="18" charset="0"/>
                          <a:cs typeface="Times New Roman" panose="02020603050405020304" pitchFamily="18" charset="0"/>
                        </a:rPr>
                        <a:t>30.000</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vMerge="1">
                  <a:txBody>
                    <a:bodyPr/>
                    <a:lstStyle/>
                    <a:p>
                      <a:endParaRPr lang="tr-TR"/>
                    </a:p>
                  </a:txBody>
                  <a:tcPr/>
                </a:tc>
                <a:extLst>
                  <a:ext uri="{0D108BD9-81ED-4DB2-BD59-A6C34878D82A}">
                    <a16:rowId xmlns:a16="http://schemas.microsoft.com/office/drawing/2014/main" val="1870817488"/>
                  </a:ext>
                </a:extLst>
              </a:tr>
              <a:tr h="282972">
                <a:tc rowSpan="2">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3</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rowSpan="2">
                  <a:txBody>
                    <a:bodyPr/>
                    <a:lstStyle/>
                    <a:p>
                      <a:pPr>
                        <a:lnSpc>
                          <a:spcPct val="107000"/>
                        </a:lnSpc>
                        <a:spcAft>
                          <a:spcPts val="0"/>
                        </a:spcAft>
                      </a:pPr>
                      <a:r>
                        <a:rPr lang="tr-TR" sz="1600">
                          <a:effectLst/>
                          <a:latin typeface="Times New Roman" panose="02020603050405020304" pitchFamily="18" charset="0"/>
                          <a:cs typeface="Times New Roman" panose="02020603050405020304" pitchFamily="18" charset="0"/>
                        </a:rPr>
                        <a:t>Nitelikli Eleman İstihdam Desteği</a:t>
                      </a:r>
                      <a:r>
                        <a:rPr lang="tr-TR" sz="1600" baseline="30000">
                          <a:effectLst/>
                          <a:latin typeface="Times New Roman" panose="02020603050405020304" pitchFamily="18" charset="0"/>
                          <a:cs typeface="Times New Roman" panose="02020603050405020304" pitchFamily="18" charset="0"/>
                        </a:rPr>
                        <a:t>2</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a:txBody>
                    <a:bodyPr/>
                    <a:lstStyle/>
                    <a:p>
                      <a:pPr algn="ctr">
                        <a:lnSpc>
                          <a:spcPct val="107000"/>
                        </a:lnSpc>
                        <a:spcAft>
                          <a:spcPts val="0"/>
                        </a:spcAft>
                        <a:tabLst>
                          <a:tab pos="381000" algn="l"/>
                        </a:tabLst>
                      </a:pPr>
                      <a:r>
                        <a:rPr lang="tr-TR" sz="1600">
                          <a:effectLst/>
                          <a:latin typeface="Times New Roman" panose="02020603050405020304" pitchFamily="18" charset="0"/>
                          <a:cs typeface="Times New Roman" panose="02020603050405020304" pitchFamily="18" charset="0"/>
                        </a:rPr>
                        <a:t>50.000</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vMerge="1">
                  <a:txBody>
                    <a:bodyPr/>
                    <a:lstStyle/>
                    <a:p>
                      <a:endParaRPr lang="tr-TR"/>
                    </a:p>
                  </a:txBody>
                  <a:tcPr/>
                </a:tc>
                <a:extLst>
                  <a:ext uri="{0D108BD9-81ED-4DB2-BD59-A6C34878D82A}">
                    <a16:rowId xmlns:a16="http://schemas.microsoft.com/office/drawing/2014/main" val="1520831800"/>
                  </a:ext>
                </a:extLst>
              </a:tr>
              <a:tr h="282972">
                <a:tc vMerge="1">
                  <a:txBody>
                    <a:bodyPr/>
                    <a:lstStyle/>
                    <a:p>
                      <a:endParaRPr lang="tr-TR"/>
                    </a:p>
                  </a:txBody>
                  <a:tcPr/>
                </a:tc>
                <a:tc vMerge="1">
                  <a:txBody>
                    <a:bodyPr/>
                    <a:lstStyle/>
                    <a:p>
                      <a:endParaRPr lang="tr-TR"/>
                    </a:p>
                  </a:txBody>
                  <a:tcPr/>
                </a:tc>
                <a:tc>
                  <a:txBody>
                    <a:bodyPr/>
                    <a:lstStyle/>
                    <a:p>
                      <a:pPr algn="ctr">
                        <a:lnSpc>
                          <a:spcPct val="107000"/>
                        </a:lnSpc>
                        <a:spcAft>
                          <a:spcPts val="0"/>
                        </a:spcAft>
                      </a:pPr>
                      <a:r>
                        <a:rPr lang="tr-TR" sz="1600">
                          <a:effectLst/>
                          <a:latin typeface="Times New Roman" panose="02020603050405020304" pitchFamily="18" charset="0"/>
                          <a:cs typeface="Times New Roman" panose="02020603050405020304" pitchFamily="18" charset="0"/>
                        </a:rPr>
                        <a:t>75.000</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vMerge="1">
                  <a:txBody>
                    <a:bodyPr/>
                    <a:lstStyle/>
                    <a:p>
                      <a:endParaRPr lang="tr-TR"/>
                    </a:p>
                  </a:txBody>
                  <a:tcPr/>
                </a:tc>
                <a:extLst>
                  <a:ext uri="{0D108BD9-81ED-4DB2-BD59-A6C34878D82A}">
                    <a16:rowId xmlns:a16="http://schemas.microsoft.com/office/drawing/2014/main" val="433965076"/>
                  </a:ext>
                </a:extLst>
              </a:tr>
              <a:tr h="261877">
                <a:tc>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4</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nSpc>
                          <a:spcPct val="107000"/>
                        </a:lnSpc>
                        <a:spcAft>
                          <a:spcPts val="0"/>
                        </a:spcAft>
                      </a:pPr>
                      <a:r>
                        <a:rPr lang="tr-TR" sz="1600">
                          <a:effectLst/>
                          <a:latin typeface="Times New Roman" panose="02020603050405020304" pitchFamily="18" charset="0"/>
                          <a:cs typeface="Times New Roman" panose="02020603050405020304" pitchFamily="18" charset="0"/>
                        </a:rPr>
                        <a:t>Tasarım Desteği</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gn="ctr">
                        <a:lnSpc>
                          <a:spcPct val="107000"/>
                        </a:lnSpc>
                        <a:spcAft>
                          <a:spcPts val="0"/>
                        </a:spcAft>
                        <a:tabLst>
                          <a:tab pos="381000" algn="l"/>
                        </a:tabLst>
                      </a:pPr>
                      <a:r>
                        <a:rPr lang="tr-TR" sz="1600">
                          <a:effectLst/>
                          <a:latin typeface="Times New Roman" panose="02020603050405020304" pitchFamily="18" charset="0"/>
                          <a:cs typeface="Times New Roman" panose="02020603050405020304" pitchFamily="18" charset="0"/>
                        </a:rPr>
                        <a:t>50.000</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vMerge="1">
                  <a:txBody>
                    <a:bodyPr/>
                    <a:lstStyle/>
                    <a:p>
                      <a:endParaRPr lang="tr-TR"/>
                    </a:p>
                  </a:txBody>
                  <a:tcPr/>
                </a:tc>
                <a:extLst>
                  <a:ext uri="{0D108BD9-81ED-4DB2-BD59-A6C34878D82A}">
                    <a16:rowId xmlns:a16="http://schemas.microsoft.com/office/drawing/2014/main" val="3217135820"/>
                  </a:ext>
                </a:extLst>
              </a:tr>
              <a:tr h="261877">
                <a:tc>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5</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nSpc>
                          <a:spcPct val="107000"/>
                        </a:lnSpc>
                        <a:spcAft>
                          <a:spcPts val="0"/>
                        </a:spcAft>
                      </a:pPr>
                      <a:r>
                        <a:rPr lang="tr-TR" sz="1600">
                          <a:effectLst/>
                          <a:latin typeface="Times New Roman" panose="02020603050405020304" pitchFamily="18" charset="0"/>
                          <a:cs typeface="Times New Roman" panose="02020603050405020304" pitchFamily="18" charset="0"/>
                        </a:rPr>
                        <a:t>Sınai Mülkiyet Hakları Desteği</a:t>
                      </a:r>
                      <a:r>
                        <a:rPr lang="tr-TR" sz="1600" baseline="30000">
                          <a:effectLst/>
                          <a:latin typeface="Times New Roman" panose="02020603050405020304" pitchFamily="18" charset="0"/>
                          <a:cs typeface="Times New Roman" panose="02020603050405020304" pitchFamily="18" charset="0"/>
                        </a:rPr>
                        <a:t>3</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gn="ctr">
                        <a:lnSpc>
                          <a:spcPct val="107000"/>
                        </a:lnSpc>
                        <a:spcAft>
                          <a:spcPts val="0"/>
                        </a:spcAft>
                        <a:tabLst>
                          <a:tab pos="381000" algn="l"/>
                        </a:tabLst>
                      </a:pPr>
                      <a:r>
                        <a:rPr lang="tr-TR" sz="1600">
                          <a:effectLst/>
                          <a:latin typeface="Times New Roman" panose="02020603050405020304" pitchFamily="18" charset="0"/>
                          <a:cs typeface="Times New Roman" panose="02020603050405020304" pitchFamily="18" charset="0"/>
                        </a:rPr>
                        <a:t>50.000</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vMerge="1">
                  <a:txBody>
                    <a:bodyPr/>
                    <a:lstStyle/>
                    <a:p>
                      <a:endParaRPr lang="tr-TR"/>
                    </a:p>
                  </a:txBody>
                  <a:tcPr/>
                </a:tc>
                <a:extLst>
                  <a:ext uri="{0D108BD9-81ED-4DB2-BD59-A6C34878D82A}">
                    <a16:rowId xmlns:a16="http://schemas.microsoft.com/office/drawing/2014/main" val="1671852557"/>
                  </a:ext>
                </a:extLst>
              </a:tr>
              <a:tr h="261877">
                <a:tc>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6</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nSpc>
                          <a:spcPct val="107000"/>
                        </a:lnSpc>
                        <a:spcAft>
                          <a:spcPts val="0"/>
                        </a:spcAft>
                      </a:pPr>
                      <a:r>
                        <a:rPr lang="tr-TR" sz="1600">
                          <a:effectLst/>
                          <a:latin typeface="Times New Roman" panose="02020603050405020304" pitchFamily="18" charset="0"/>
                          <a:cs typeface="Times New Roman" panose="02020603050405020304" pitchFamily="18" charset="0"/>
                        </a:rPr>
                        <a:t>Belgelendirme Desteği</a:t>
                      </a:r>
                      <a:r>
                        <a:rPr lang="tr-TR" sz="1600" baseline="30000">
                          <a:effectLst/>
                          <a:latin typeface="Times New Roman" panose="02020603050405020304" pitchFamily="18" charset="0"/>
                          <a:cs typeface="Times New Roman" panose="02020603050405020304" pitchFamily="18" charset="0"/>
                        </a:rPr>
                        <a:t>4</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gn="ctr">
                        <a:lnSpc>
                          <a:spcPct val="107000"/>
                        </a:lnSpc>
                        <a:spcAft>
                          <a:spcPts val="0"/>
                        </a:spcAft>
                        <a:tabLst>
                          <a:tab pos="381000" algn="l"/>
                        </a:tabLst>
                      </a:pPr>
                      <a:r>
                        <a:rPr lang="tr-TR" sz="1600">
                          <a:effectLst/>
                          <a:latin typeface="Times New Roman" panose="02020603050405020304" pitchFamily="18" charset="0"/>
                          <a:cs typeface="Times New Roman" panose="02020603050405020304" pitchFamily="18" charset="0"/>
                        </a:rPr>
                        <a:t>150.000</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vMerge="1">
                  <a:txBody>
                    <a:bodyPr/>
                    <a:lstStyle/>
                    <a:p>
                      <a:endParaRPr lang="tr-TR"/>
                    </a:p>
                  </a:txBody>
                  <a:tcPr/>
                </a:tc>
                <a:extLst>
                  <a:ext uri="{0D108BD9-81ED-4DB2-BD59-A6C34878D82A}">
                    <a16:rowId xmlns:a16="http://schemas.microsoft.com/office/drawing/2014/main" val="3911759980"/>
                  </a:ext>
                </a:extLst>
              </a:tr>
              <a:tr h="261877">
                <a:tc>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7</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nSpc>
                          <a:spcPct val="107000"/>
                        </a:lnSpc>
                        <a:spcAft>
                          <a:spcPts val="0"/>
                        </a:spcAft>
                      </a:pPr>
                      <a:r>
                        <a:rPr lang="tr-TR" sz="1600">
                          <a:effectLst/>
                          <a:latin typeface="Times New Roman" panose="02020603050405020304" pitchFamily="18" charset="0"/>
                          <a:cs typeface="Times New Roman" panose="02020603050405020304" pitchFamily="18" charset="0"/>
                        </a:rPr>
                        <a:t>Test ve Analiz Desteği</a:t>
                      </a:r>
                      <a:r>
                        <a:rPr lang="tr-TR" sz="1600" baseline="30000">
                          <a:effectLst/>
                          <a:latin typeface="Times New Roman" panose="02020603050405020304" pitchFamily="18" charset="0"/>
                          <a:cs typeface="Times New Roman" panose="02020603050405020304" pitchFamily="18" charset="0"/>
                        </a:rPr>
                        <a:t>5</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gn="ctr">
                        <a:lnSpc>
                          <a:spcPct val="107000"/>
                        </a:lnSpc>
                        <a:spcAft>
                          <a:spcPts val="0"/>
                        </a:spcAft>
                        <a:tabLst>
                          <a:tab pos="381000" algn="l"/>
                        </a:tabLst>
                      </a:pPr>
                      <a:r>
                        <a:rPr lang="tr-TR" sz="1600">
                          <a:effectLst/>
                          <a:latin typeface="Times New Roman" panose="02020603050405020304" pitchFamily="18" charset="0"/>
                          <a:cs typeface="Times New Roman" panose="02020603050405020304" pitchFamily="18" charset="0"/>
                        </a:rPr>
                        <a:t>100.000</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vMerge="1">
                  <a:txBody>
                    <a:bodyPr/>
                    <a:lstStyle/>
                    <a:p>
                      <a:endParaRPr lang="tr-TR"/>
                    </a:p>
                  </a:txBody>
                  <a:tcPr/>
                </a:tc>
                <a:extLst>
                  <a:ext uri="{0D108BD9-81ED-4DB2-BD59-A6C34878D82A}">
                    <a16:rowId xmlns:a16="http://schemas.microsoft.com/office/drawing/2014/main" val="3443844235"/>
                  </a:ext>
                </a:extLst>
              </a:tr>
              <a:tr h="261877">
                <a:tc>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8</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nSpc>
                          <a:spcPct val="107000"/>
                        </a:lnSpc>
                        <a:spcAft>
                          <a:spcPts val="0"/>
                        </a:spcAft>
                      </a:pPr>
                      <a:r>
                        <a:rPr lang="tr-TR" sz="1600">
                          <a:effectLst/>
                          <a:latin typeface="Times New Roman" panose="02020603050405020304" pitchFamily="18" charset="0"/>
                          <a:cs typeface="Times New Roman" panose="02020603050405020304" pitchFamily="18" charset="0"/>
                        </a:rPr>
                        <a:t>Enerji Verimli Elektrik Motorları Değişimi Desteği</a:t>
                      </a:r>
                      <a:r>
                        <a:rPr lang="tr-TR" sz="1600" baseline="30000">
                          <a:effectLst/>
                          <a:latin typeface="Times New Roman" panose="02020603050405020304" pitchFamily="18" charset="0"/>
                          <a:cs typeface="Times New Roman" panose="02020603050405020304" pitchFamily="18" charset="0"/>
                        </a:rPr>
                        <a:t>6</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gn="ctr">
                        <a:lnSpc>
                          <a:spcPct val="107000"/>
                        </a:lnSpc>
                        <a:spcAft>
                          <a:spcPts val="0"/>
                        </a:spcAft>
                        <a:tabLst>
                          <a:tab pos="381000" algn="l"/>
                        </a:tabLst>
                      </a:pPr>
                      <a:r>
                        <a:rPr lang="tr-TR" sz="1600">
                          <a:effectLst/>
                          <a:latin typeface="Times New Roman" panose="02020603050405020304" pitchFamily="18" charset="0"/>
                          <a:cs typeface="Times New Roman" panose="02020603050405020304" pitchFamily="18" charset="0"/>
                        </a:rPr>
                        <a:t>80.000</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vMerge="1">
                  <a:txBody>
                    <a:bodyPr/>
                    <a:lstStyle/>
                    <a:p>
                      <a:endParaRPr lang="tr-TR"/>
                    </a:p>
                  </a:txBody>
                  <a:tcPr/>
                </a:tc>
                <a:extLst>
                  <a:ext uri="{0D108BD9-81ED-4DB2-BD59-A6C34878D82A}">
                    <a16:rowId xmlns:a16="http://schemas.microsoft.com/office/drawing/2014/main" val="519366801"/>
                  </a:ext>
                </a:extLst>
              </a:tr>
              <a:tr h="261877">
                <a:tc>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9</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nSpc>
                          <a:spcPct val="107000"/>
                        </a:lnSpc>
                        <a:spcAft>
                          <a:spcPts val="0"/>
                        </a:spcAft>
                      </a:pPr>
                      <a:r>
                        <a:rPr lang="tr-TR" sz="1600">
                          <a:effectLst/>
                          <a:latin typeface="Times New Roman" panose="02020603050405020304" pitchFamily="18" charset="0"/>
                          <a:cs typeface="Times New Roman" panose="02020603050405020304" pitchFamily="18" charset="0"/>
                        </a:rPr>
                        <a:t>Bağımsız Değerlendirme Desteği</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gn="ctr">
                        <a:lnSpc>
                          <a:spcPct val="107000"/>
                        </a:lnSpc>
                        <a:spcAft>
                          <a:spcPts val="0"/>
                        </a:spcAft>
                        <a:tabLst>
                          <a:tab pos="381000" algn="l"/>
                        </a:tabLst>
                      </a:pPr>
                      <a:r>
                        <a:rPr lang="tr-TR" sz="1600">
                          <a:effectLst/>
                          <a:latin typeface="Times New Roman" panose="02020603050405020304" pitchFamily="18" charset="0"/>
                          <a:cs typeface="Times New Roman" panose="02020603050405020304" pitchFamily="18" charset="0"/>
                        </a:rPr>
                        <a:t>20.000</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vMerge="1">
                  <a:txBody>
                    <a:bodyPr/>
                    <a:lstStyle/>
                    <a:p>
                      <a:endParaRPr lang="tr-TR"/>
                    </a:p>
                  </a:txBody>
                  <a:tcPr/>
                </a:tc>
                <a:extLst>
                  <a:ext uri="{0D108BD9-81ED-4DB2-BD59-A6C34878D82A}">
                    <a16:rowId xmlns:a16="http://schemas.microsoft.com/office/drawing/2014/main" val="2395908831"/>
                  </a:ext>
                </a:extLst>
              </a:tr>
              <a:tr h="261877">
                <a:tc>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10</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nSpc>
                          <a:spcPct val="107000"/>
                        </a:lnSpc>
                        <a:spcAft>
                          <a:spcPts val="0"/>
                        </a:spcAft>
                      </a:pPr>
                      <a:r>
                        <a:rPr lang="tr-TR" sz="1600">
                          <a:effectLst/>
                          <a:latin typeface="Times New Roman" panose="02020603050405020304" pitchFamily="18" charset="0"/>
                          <a:cs typeface="Times New Roman" panose="02020603050405020304" pitchFamily="18" charset="0"/>
                        </a:rPr>
                        <a:t>Model Fabrika Desteği</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tc>
                <a:tc>
                  <a:txBody>
                    <a:bodyPr/>
                    <a:lstStyle/>
                    <a:p>
                      <a:pPr algn="ctr">
                        <a:lnSpc>
                          <a:spcPct val="107000"/>
                        </a:lnSpc>
                        <a:spcAft>
                          <a:spcPts val="0"/>
                        </a:spcAft>
                        <a:tabLst>
                          <a:tab pos="381000" algn="l"/>
                        </a:tabLst>
                      </a:pPr>
                      <a:r>
                        <a:rPr lang="tr-TR" sz="1600">
                          <a:effectLst/>
                          <a:latin typeface="Times New Roman" panose="02020603050405020304" pitchFamily="18" charset="0"/>
                          <a:cs typeface="Times New Roman" panose="02020603050405020304" pitchFamily="18" charset="0"/>
                        </a:rPr>
                        <a:t>70.000</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vMerge="1">
                  <a:txBody>
                    <a:bodyPr/>
                    <a:lstStyle/>
                    <a:p>
                      <a:endParaRPr lang="tr-TR"/>
                    </a:p>
                  </a:txBody>
                  <a:tcPr/>
                </a:tc>
                <a:extLst>
                  <a:ext uri="{0D108BD9-81ED-4DB2-BD59-A6C34878D82A}">
                    <a16:rowId xmlns:a16="http://schemas.microsoft.com/office/drawing/2014/main" val="3052010910"/>
                  </a:ext>
                </a:extLst>
              </a:tr>
              <a:tr h="261877">
                <a:tc rowSpan="2">
                  <a:txBody>
                    <a:bodyPr/>
                    <a:lstStyle/>
                    <a:p>
                      <a:pPr algn="ctr">
                        <a:lnSpc>
                          <a:spcPct val="107000"/>
                        </a:lnSpc>
                        <a:spcAft>
                          <a:spcPts val="0"/>
                        </a:spcAft>
                      </a:pPr>
                      <a:r>
                        <a:rPr lang="tr-TR" sz="1600" dirty="0">
                          <a:effectLst/>
                          <a:latin typeface="Times New Roman" panose="02020603050405020304" pitchFamily="18" charset="0"/>
                          <a:cs typeface="Times New Roman" panose="02020603050405020304" pitchFamily="18" charset="0"/>
                        </a:rPr>
                        <a:t>11</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rowSpan="2">
                  <a:txBody>
                    <a:bodyPr/>
                    <a:lstStyle/>
                    <a:p>
                      <a:pPr>
                        <a:lnSpc>
                          <a:spcPct val="107000"/>
                        </a:lnSpc>
                        <a:spcAft>
                          <a:spcPts val="0"/>
                        </a:spcAft>
                      </a:pPr>
                      <a:r>
                        <a:rPr lang="tr-TR" sz="1600">
                          <a:effectLst/>
                          <a:latin typeface="Times New Roman" panose="02020603050405020304" pitchFamily="18" charset="0"/>
                          <a:cs typeface="Times New Roman" panose="02020603050405020304" pitchFamily="18" charset="0"/>
                        </a:rPr>
                        <a:t>Teknik Danışmanlık Desteği</a:t>
                      </a:r>
                      <a:r>
                        <a:rPr lang="tr-TR" sz="1600" baseline="30000">
                          <a:effectLst/>
                          <a:latin typeface="Times New Roman" panose="02020603050405020304" pitchFamily="18" charset="0"/>
                          <a:cs typeface="Times New Roman" panose="02020603050405020304" pitchFamily="18" charset="0"/>
                        </a:rPr>
                        <a:t>7</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a:txBody>
                    <a:bodyPr/>
                    <a:lstStyle/>
                    <a:p>
                      <a:pPr algn="ctr">
                        <a:lnSpc>
                          <a:spcPct val="107000"/>
                        </a:lnSpc>
                        <a:spcAft>
                          <a:spcPts val="0"/>
                        </a:spcAft>
                        <a:tabLst>
                          <a:tab pos="381000" algn="l"/>
                        </a:tabLst>
                      </a:pPr>
                      <a:r>
                        <a:rPr lang="tr-TR" sz="1600">
                          <a:effectLst/>
                          <a:latin typeface="Times New Roman" panose="02020603050405020304" pitchFamily="18" charset="0"/>
                          <a:cs typeface="Times New Roman" panose="02020603050405020304" pitchFamily="18" charset="0"/>
                        </a:rPr>
                        <a:t>40.000</a:t>
                      </a:r>
                      <a:endParaRPr lang="tr-TR" sz="200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vMerge="1">
                  <a:txBody>
                    <a:bodyPr/>
                    <a:lstStyle/>
                    <a:p>
                      <a:endParaRPr lang="tr-TR"/>
                    </a:p>
                  </a:txBody>
                  <a:tcPr/>
                </a:tc>
                <a:extLst>
                  <a:ext uri="{0D108BD9-81ED-4DB2-BD59-A6C34878D82A}">
                    <a16:rowId xmlns:a16="http://schemas.microsoft.com/office/drawing/2014/main" val="69096094"/>
                  </a:ext>
                </a:extLst>
              </a:tr>
              <a:tr h="261877">
                <a:tc vMerge="1">
                  <a:txBody>
                    <a:bodyPr/>
                    <a:lstStyle/>
                    <a:p>
                      <a:endParaRPr lang="tr-TR"/>
                    </a:p>
                  </a:txBody>
                  <a:tcPr/>
                </a:tc>
                <a:tc vMerge="1">
                  <a:txBody>
                    <a:bodyPr/>
                    <a:lstStyle/>
                    <a:p>
                      <a:endParaRPr lang="tr-TR"/>
                    </a:p>
                  </a:txBody>
                  <a:tcPr/>
                </a:tc>
                <a:tc>
                  <a:txBody>
                    <a:bodyPr/>
                    <a:lstStyle/>
                    <a:p>
                      <a:pPr algn="ctr">
                        <a:lnSpc>
                          <a:spcPct val="107000"/>
                        </a:lnSpc>
                        <a:spcAft>
                          <a:spcPts val="0"/>
                        </a:spcAft>
                        <a:tabLst>
                          <a:tab pos="381000" algn="l"/>
                        </a:tabLst>
                      </a:pPr>
                      <a:r>
                        <a:rPr lang="tr-TR" sz="1600" dirty="0">
                          <a:effectLst/>
                          <a:latin typeface="Times New Roman" panose="02020603050405020304" pitchFamily="18" charset="0"/>
                          <a:cs typeface="Times New Roman" panose="02020603050405020304" pitchFamily="18" charset="0"/>
                        </a:rPr>
                        <a:t>50.000</a:t>
                      </a:r>
                      <a:endParaRPr lang="tr-TR"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831" marR="68831" marT="0" marB="0" anchor="ctr"/>
                </a:tc>
                <a:tc vMerge="1">
                  <a:txBody>
                    <a:bodyPr/>
                    <a:lstStyle/>
                    <a:p>
                      <a:endParaRPr lang="tr-TR"/>
                    </a:p>
                  </a:txBody>
                  <a:tcPr/>
                </a:tc>
                <a:extLst>
                  <a:ext uri="{0D108BD9-81ED-4DB2-BD59-A6C34878D82A}">
                    <a16:rowId xmlns:a16="http://schemas.microsoft.com/office/drawing/2014/main" val="4253537872"/>
                  </a:ext>
                </a:extLst>
              </a:tr>
            </a:tbl>
          </a:graphicData>
        </a:graphic>
      </p:graphicFrame>
      <p:sp>
        <p:nvSpPr>
          <p:cNvPr id="6" name="Rectangle 1"/>
          <p:cNvSpPr>
            <a:spLocks noChangeArrowheads="1"/>
          </p:cNvSpPr>
          <p:nvPr/>
        </p:nvSpPr>
        <p:spPr bwMode="auto">
          <a:xfrm>
            <a:off x="628562" y="4716485"/>
            <a:ext cx="11563438" cy="1946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75" tIns="45887" rIns="91775" bIns="45887" numCol="1" anchor="ctr" anchorCtr="0" compatLnSpc="1">
            <a:prstTxWarp prst="textNoShape">
              <a:avLst/>
            </a:prstTxWarp>
            <a:spAutoFit/>
          </a:bodyPr>
          <a:lstStyle/>
          <a:p>
            <a:pPr algn="just" defTabSz="917783" eaLnBrk="0" fontAlgn="base" hangingPunct="0">
              <a:spcBef>
                <a:spcPct val="0"/>
              </a:spcBef>
              <a:spcAft>
                <a:spcPct val="0"/>
              </a:spcAft>
            </a:pPr>
            <a:r>
              <a:rPr lang="tr-TR" altLang="tr-TR" sz="1004"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 KOSGEB KOBİ ve Girişimcilik Ödülleri kapsamında her yıl belirlenen finalistler, KOSGEB tarafından düzenlenen yurt dışı iş gezisi programından bir defaya mahsus olmak üzere üst limitler dikkate alınmaksızın %100 oranında desteklenir.</a:t>
            </a:r>
            <a:endParaRPr lang="tr-TR" altLang="tr-TR" sz="1004" dirty="0">
              <a:solidFill>
                <a:prstClr val="black"/>
              </a:solidFill>
              <a:latin typeface="Times New Roman" panose="02020603050405020304" pitchFamily="18" charset="0"/>
              <a:ea typeface="ヒラギノ角ゴ Pro W3" pitchFamily="1" charset="-128"/>
              <a:cs typeface="Times New Roman" panose="02020603050405020304" pitchFamily="18" charset="0"/>
            </a:endParaRPr>
          </a:p>
          <a:p>
            <a:pPr algn="just" defTabSz="917783" eaLnBrk="0" fontAlgn="base" hangingPunct="0">
              <a:spcBef>
                <a:spcPct val="0"/>
              </a:spcBef>
              <a:spcAft>
                <a:spcPct val="0"/>
              </a:spcAft>
            </a:pPr>
            <a:r>
              <a:rPr lang="tr-TR" altLang="tr-TR" sz="1004"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  Nitelikli Eleman İstihdam Desteği kapsamında; İstihdam edilecek elemanın; yeni mezun, kadın, engelli, birinci derece şehit yakını veya gazi olması halinde destek oranına %20 ilave edilir. Teknoparklarda faaliyet gösteren işletmeler ile Ar-Ge merkezleri ve tasarım merkezleri için Nitelikli eleman istihdamı desteğinin üst limiti 75.000 TL’dir.</a:t>
            </a:r>
            <a:endParaRPr lang="tr-TR" altLang="tr-TR" sz="1004" dirty="0">
              <a:solidFill>
                <a:prstClr val="black"/>
              </a:solidFill>
              <a:latin typeface="Times New Roman" panose="02020603050405020304" pitchFamily="18" charset="0"/>
              <a:ea typeface="ヒラギノ角ゴ Pro W3" pitchFamily="1" charset="-128"/>
              <a:cs typeface="Times New Roman" panose="02020603050405020304" pitchFamily="18" charset="0"/>
            </a:endParaRPr>
          </a:p>
          <a:p>
            <a:pPr algn="just" defTabSz="917783" eaLnBrk="0" fontAlgn="base" hangingPunct="0">
              <a:spcBef>
                <a:spcPct val="0"/>
              </a:spcBef>
              <a:spcAft>
                <a:spcPct val="0"/>
              </a:spcAft>
            </a:pPr>
            <a:r>
              <a:rPr lang="tr-TR" altLang="tr-TR" sz="1004"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3) </a:t>
            </a:r>
            <a:r>
              <a:rPr lang="tr-TR" altLang="tr-TR" sz="1004" dirty="0" err="1">
                <a:solidFill>
                  <a:srgbClr val="000000"/>
                </a:solidFill>
                <a:latin typeface="Times New Roman" panose="02020603050405020304" pitchFamily="18" charset="0"/>
                <a:ea typeface="Calibri" panose="020F0502020204030204" pitchFamily="34" charset="0"/>
                <a:cs typeface="Times New Roman" panose="02020603050405020304" pitchFamily="18" charset="0"/>
              </a:rPr>
              <a:t>TÜRKPATENT’ten</a:t>
            </a:r>
            <a:r>
              <a:rPr lang="tr-TR" altLang="tr-TR" sz="1004"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lınacak belgeler, destek üst limitleri dahilinde %80 oranında desteklenir.</a:t>
            </a:r>
            <a:endParaRPr lang="tr-TR" altLang="tr-TR" sz="1004" dirty="0">
              <a:solidFill>
                <a:prstClr val="black"/>
              </a:solidFill>
              <a:latin typeface="Times New Roman" panose="02020603050405020304" pitchFamily="18" charset="0"/>
              <a:ea typeface="ヒラギノ角ゴ Pro W3" pitchFamily="1" charset="-128"/>
              <a:cs typeface="Times New Roman" panose="02020603050405020304" pitchFamily="18" charset="0"/>
            </a:endParaRPr>
          </a:p>
          <a:p>
            <a:pPr algn="just" defTabSz="917783" eaLnBrk="0" fontAlgn="base" hangingPunct="0">
              <a:spcBef>
                <a:spcPct val="0"/>
              </a:spcBef>
              <a:spcAft>
                <a:spcPct val="0"/>
              </a:spcAft>
            </a:pPr>
            <a:r>
              <a:rPr lang="tr-TR" altLang="tr-TR" sz="1004"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4) Belgelendirme desteği kapsamında;</a:t>
            </a:r>
            <a:endParaRPr lang="tr-TR" altLang="tr-TR" sz="1004" dirty="0">
              <a:solidFill>
                <a:prstClr val="black"/>
              </a:solidFill>
              <a:latin typeface="Times New Roman" panose="02020603050405020304" pitchFamily="18" charset="0"/>
              <a:ea typeface="ヒラギノ角ゴ Pro W3" pitchFamily="1" charset="-128"/>
              <a:cs typeface="Times New Roman" panose="02020603050405020304" pitchFamily="18" charset="0"/>
            </a:endParaRPr>
          </a:p>
          <a:p>
            <a:pPr algn="just" defTabSz="917783" eaLnBrk="0" fontAlgn="base" hangingPunct="0">
              <a:spcBef>
                <a:spcPct val="0"/>
              </a:spcBef>
              <a:spcAft>
                <a:spcPct val="0"/>
              </a:spcAft>
            </a:pPr>
            <a:r>
              <a:rPr lang="tr-TR" altLang="tr-TR" sz="1004"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TSE’den alınacak hizmetler, destek üst limitleri dahilinde %80, </a:t>
            </a:r>
            <a:r>
              <a:rPr lang="tr-TR" altLang="tr-TR" sz="1004" dirty="0">
                <a:solidFill>
                  <a:prstClr val="black"/>
                </a:solidFill>
                <a:latin typeface="Times New Roman" panose="02020603050405020304" pitchFamily="18" charset="0"/>
                <a:ea typeface="ヒラギノ角ゴ Pro W3" pitchFamily="1" charset="-128"/>
                <a:cs typeface="Times New Roman" panose="02020603050405020304" pitchFamily="18" charset="0"/>
              </a:rPr>
              <a:t>yurtiçi </a:t>
            </a:r>
            <a:r>
              <a:rPr lang="tr-TR" altLang="tr-TR" sz="1004"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70, İşletmelerin yurtdışından alacakları CE Uygunluk İşareti Belgesi için TSE tarafından verilenlerine destek sağlanmaz, sadece TSE tarafından verilmeyen belgeler %60 oranında desteklenir. Destek programı süresince yurtdışından alınacak CE Uygunluk İşareti Belgesi için destek üst limiti 150.000 TL olup, diğer belgeler için desteğin üst limiti 50.000 TL’dir.</a:t>
            </a:r>
            <a:endParaRPr lang="tr-TR" altLang="tr-TR" sz="1004" dirty="0">
              <a:solidFill>
                <a:prstClr val="black"/>
              </a:solidFill>
              <a:latin typeface="Times New Roman" panose="02020603050405020304" pitchFamily="18" charset="0"/>
              <a:ea typeface="ヒラギノ角ゴ Pro W3" pitchFamily="1" charset="-128"/>
              <a:cs typeface="Times New Roman" panose="02020603050405020304" pitchFamily="18" charset="0"/>
            </a:endParaRPr>
          </a:p>
          <a:p>
            <a:pPr algn="just" defTabSz="917783" eaLnBrk="0" fontAlgn="base" hangingPunct="0">
              <a:spcBef>
                <a:spcPct val="0"/>
              </a:spcBef>
              <a:spcAft>
                <a:spcPct val="0"/>
              </a:spcAft>
            </a:pPr>
            <a:r>
              <a:rPr lang="tr-TR" altLang="tr-TR" sz="1004"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5) Test ve analiz desteği kapsamında; TSE’den alınacak hizmetler %80, </a:t>
            </a:r>
            <a:r>
              <a:rPr lang="tr-TR" altLang="tr-TR" sz="1004" dirty="0">
                <a:solidFill>
                  <a:prstClr val="black"/>
                </a:solidFill>
                <a:latin typeface="Times New Roman" panose="02020603050405020304" pitchFamily="18" charset="0"/>
                <a:ea typeface="ヒラギノ角ゴ Pro W3" pitchFamily="1" charset="-128"/>
                <a:cs typeface="Times New Roman" panose="02020603050405020304" pitchFamily="18" charset="0"/>
              </a:rPr>
              <a:t>yurtiçi </a:t>
            </a:r>
            <a:r>
              <a:rPr lang="tr-TR" altLang="tr-TR" sz="1004"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70 , Yurtdışından alınacak hizmetlerden, TSE tarafından verilenlerine destek sağlanmaz, TSE tarafından verilmeyen hizmetler %60 oranında desteklenir.</a:t>
            </a:r>
            <a:endParaRPr lang="tr-TR" altLang="tr-TR" sz="1004" dirty="0">
              <a:solidFill>
                <a:prstClr val="black"/>
              </a:solidFill>
              <a:latin typeface="Times New Roman" panose="02020603050405020304" pitchFamily="18" charset="0"/>
              <a:ea typeface="ヒラギノ角ゴ Pro W3" pitchFamily="1" charset="-128"/>
              <a:cs typeface="Times New Roman" panose="02020603050405020304" pitchFamily="18" charset="0"/>
            </a:endParaRPr>
          </a:p>
          <a:p>
            <a:pPr algn="just" defTabSz="917783" eaLnBrk="0" fontAlgn="base" hangingPunct="0">
              <a:spcBef>
                <a:spcPct val="0"/>
              </a:spcBef>
              <a:spcAft>
                <a:spcPct val="0"/>
              </a:spcAft>
            </a:pPr>
            <a:r>
              <a:rPr lang="tr-TR" altLang="tr-TR" sz="1004"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6) Enerji verimli elektrik motorları değişimi desteği kapsamında; yerli malı belgesine sahip elektrik motoru için destek oranlarına %15 ilave edilir. </a:t>
            </a:r>
            <a:endParaRPr lang="tr-TR" altLang="tr-TR" sz="1004" dirty="0">
              <a:solidFill>
                <a:prstClr val="black"/>
              </a:solidFill>
              <a:latin typeface="Times New Roman" panose="02020603050405020304" pitchFamily="18" charset="0"/>
              <a:ea typeface="ヒラギノ角ゴ Pro W3" pitchFamily="1" charset="-128"/>
              <a:cs typeface="Times New Roman" panose="02020603050405020304" pitchFamily="18" charset="0"/>
            </a:endParaRPr>
          </a:p>
          <a:p>
            <a:pPr algn="just" defTabSz="917783" eaLnBrk="0" fontAlgn="base" hangingPunct="0">
              <a:spcBef>
                <a:spcPct val="0"/>
              </a:spcBef>
              <a:spcAft>
                <a:spcPct val="0"/>
              </a:spcAft>
            </a:pPr>
            <a:r>
              <a:rPr lang="tr-TR" altLang="tr-TR" sz="1004"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7) Teknoparklarda faaliyet gösteren işletmeler için Teknik danışmanlık desteğinin üst limiti 50.000 TL’dir.</a:t>
            </a:r>
            <a:endParaRPr lang="tr-TR" altLang="tr-TR" sz="1004" dirty="0">
              <a:solidFill>
                <a:prstClr val="black"/>
              </a:solidFill>
              <a:latin typeface="Times New Roman" panose="02020603050405020304" pitchFamily="18" charset="0"/>
              <a:ea typeface="ヒラギノ角ゴ Pro W3" pitchFamily="1" charset="-128"/>
              <a:cs typeface="Times New Roman" panose="02020603050405020304" pitchFamily="18" charset="0"/>
            </a:endParaRPr>
          </a:p>
        </p:txBody>
      </p:sp>
      <p:sp>
        <p:nvSpPr>
          <p:cNvPr id="7" name="Rectangle 8"/>
          <p:cNvSpPr>
            <a:spLocks noChangeArrowheads="1"/>
          </p:cNvSpPr>
          <p:nvPr/>
        </p:nvSpPr>
        <p:spPr bwMode="auto">
          <a:xfrm>
            <a:off x="1687440" y="247443"/>
            <a:ext cx="5402066" cy="461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spAutoFit/>
          </a:bodyPr>
          <a:lstStyle/>
          <a:p>
            <a:pPr algn="ctr" defTabSz="1097302">
              <a:spcBef>
                <a:spcPct val="50000"/>
              </a:spcBef>
            </a:pPr>
            <a:r>
              <a:rPr lang="tr-TR" sz="2409" b="1" dirty="0">
                <a:solidFill>
                  <a:srgbClr val="00A6E6"/>
                </a:solidFill>
                <a:latin typeface="Calibri" pitchFamily="34" charset="0"/>
                <a:ea typeface="ヒラギノ角ゴ Pro W3" pitchFamily="1" charset="-128"/>
                <a:cs typeface="Calibri" panose="020F0502020204030204" pitchFamily="34" charset="0"/>
              </a:rPr>
              <a:t>İŞLETME GELİŞTİRME DESTEK PROGRAMI</a:t>
            </a:r>
          </a:p>
        </p:txBody>
      </p:sp>
    </p:spTree>
    <p:extLst>
      <p:ext uri="{BB962C8B-B14F-4D97-AF65-F5344CB8AC3E}">
        <p14:creationId xmlns:p14="http://schemas.microsoft.com/office/powerpoint/2010/main" val="2931374186"/>
      </p:ext>
    </p:extLst>
  </p:cSld>
  <p:clrMapOvr>
    <a:masterClrMapping/>
  </p:clrMapOvr>
  <p:transition spd="slow">
    <p:push dir="u"/>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txBox="1">
            <a:spLocks noChangeArrowheads="1"/>
          </p:cNvSpPr>
          <p:nvPr/>
        </p:nvSpPr>
        <p:spPr bwMode="auto">
          <a:xfrm>
            <a:off x="1084238" y="1297430"/>
            <a:ext cx="5240350" cy="1297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4169" indent="-344169" algn="just" defTabSz="917783">
              <a:lnSpc>
                <a:spcPct val="80000"/>
              </a:lnSpc>
              <a:buNone/>
              <a:defRPr/>
            </a:pPr>
            <a:r>
              <a:rPr lang="tr-TR" sz="2160" dirty="0">
                <a:solidFill>
                  <a:prstClr val="black"/>
                </a:solidFill>
                <a:effectLst>
                  <a:outerShdw blurRad="38100" dist="38100" dir="2700000" algn="tl">
                    <a:srgbClr val="000000">
                      <a:alpha val="43137"/>
                    </a:srgbClr>
                  </a:outerShdw>
                </a:effectLst>
                <a:latin typeface="Arial" pitchFamily="34" charset="0"/>
                <a:cs typeface="Arial" pitchFamily="34" charset="0"/>
              </a:rPr>
              <a:t>     </a:t>
            </a:r>
            <a:endParaRPr lang="tr-TR" sz="2041" dirty="0">
              <a:solidFill>
                <a:prstClr val="black"/>
              </a:solidFill>
              <a:effectLst>
                <a:outerShdw blurRad="38100" dist="38100" dir="2700000" algn="tl">
                  <a:srgbClr val="000000">
                    <a:alpha val="43137"/>
                  </a:srgbClr>
                </a:outerShdw>
              </a:effectLst>
              <a:latin typeface="Arial" pitchFamily="34" charset="0"/>
              <a:cs typeface="Arial" pitchFamily="34" charset="0"/>
            </a:endParaRPr>
          </a:p>
        </p:txBody>
      </p:sp>
      <p:sp>
        <p:nvSpPr>
          <p:cNvPr id="11267" name="7 Metin kutusu"/>
          <p:cNvSpPr txBox="1">
            <a:spLocks noChangeArrowheads="1"/>
          </p:cNvSpPr>
          <p:nvPr/>
        </p:nvSpPr>
        <p:spPr bwMode="auto">
          <a:xfrm>
            <a:off x="2034984" y="443163"/>
            <a:ext cx="7688134" cy="4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ase" hangingPunct="1">
              <a:spcBef>
                <a:spcPct val="0"/>
              </a:spcBef>
              <a:spcAft>
                <a:spcPct val="0"/>
              </a:spcAft>
            </a:pPr>
            <a:r>
              <a:rPr lang="tr-TR" altLang="tr-TR" sz="2400" b="1" dirty="0">
                <a:solidFill>
                  <a:srgbClr val="00A6E6"/>
                </a:solidFill>
                <a:latin typeface="Calibri" panose="020F0502020204030204" pitchFamily="34" charset="0"/>
                <a:ea typeface="ヒラギノ角ゴ Pro W3" pitchFamily="1" charset="-128"/>
                <a:cs typeface="Calibri" panose="020F0502020204030204" pitchFamily="34" charset="0"/>
              </a:rPr>
              <a:t>YURTİÇİ FUAR DESTEĞİ </a:t>
            </a:r>
          </a:p>
        </p:txBody>
      </p:sp>
      <p:sp>
        <p:nvSpPr>
          <p:cNvPr id="5" name="Rectangle 3"/>
          <p:cNvSpPr txBox="1">
            <a:spLocks noChangeArrowheads="1"/>
          </p:cNvSpPr>
          <p:nvPr/>
        </p:nvSpPr>
        <p:spPr bwMode="auto">
          <a:xfrm>
            <a:off x="493723" y="1183138"/>
            <a:ext cx="5529894" cy="3763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3289" indent="0" algn="just" defTabSz="917783" eaLnBrk="1" fontAlgn="b" hangingPunct="1">
              <a:lnSpc>
                <a:spcPct val="150000"/>
              </a:lnSpc>
              <a:spcBef>
                <a:spcPts val="0"/>
              </a:spcBef>
              <a:spcAft>
                <a:spcPts val="0"/>
              </a:spcAft>
              <a:buNone/>
              <a:defRPr/>
            </a:pPr>
            <a:r>
              <a:rPr lang="tr-TR" sz="2208" dirty="0">
                <a:solidFill>
                  <a:srgbClr val="020202"/>
                </a:solidFill>
                <a:latin typeface="Calibri" panose="020F0502020204030204" pitchFamily="34" charset="0"/>
                <a:cs typeface="Calibri" panose="020F0502020204030204" pitchFamily="34" charset="0"/>
              </a:rPr>
              <a:t>İşletmelerin;</a:t>
            </a:r>
          </a:p>
          <a:p>
            <a:pPr marL="344169" indent="-344169" algn="just" defTabSz="917783" eaLnBrk="1" fontAlgn="b" hangingPunct="1">
              <a:lnSpc>
                <a:spcPct val="150000"/>
              </a:lnSpc>
              <a:spcBef>
                <a:spcPts val="0"/>
              </a:spcBef>
              <a:spcAft>
                <a:spcPts val="0"/>
              </a:spcAft>
              <a:buFont typeface="Wingdings" panose="05000000000000000000" pitchFamily="2" charset="2"/>
              <a:buChar char="ü"/>
              <a:defRPr/>
            </a:pPr>
            <a:r>
              <a:rPr lang="tr-TR" sz="2208" dirty="0">
                <a:solidFill>
                  <a:srgbClr val="020202"/>
                </a:solidFill>
                <a:latin typeface="Calibri" panose="020F0502020204030204" pitchFamily="34" charset="0"/>
                <a:cs typeface="Calibri" panose="020F0502020204030204" pitchFamily="34" charset="0"/>
              </a:rPr>
              <a:t>Yurt içi ihtisas fuarlarına,</a:t>
            </a:r>
          </a:p>
          <a:p>
            <a:pPr marL="344169" indent="-344169" algn="just" defTabSz="917783" eaLnBrk="1" fontAlgn="b" hangingPunct="1">
              <a:lnSpc>
                <a:spcPct val="150000"/>
              </a:lnSpc>
              <a:spcBef>
                <a:spcPts val="0"/>
              </a:spcBef>
              <a:spcAft>
                <a:spcPts val="0"/>
              </a:spcAft>
              <a:buFont typeface="Wingdings" panose="05000000000000000000" pitchFamily="2" charset="2"/>
              <a:buChar char="ü"/>
              <a:defRPr/>
            </a:pPr>
            <a:r>
              <a:rPr lang="tr-TR" sz="2208" dirty="0">
                <a:solidFill>
                  <a:srgbClr val="020202"/>
                </a:solidFill>
                <a:latin typeface="Calibri" panose="020F0502020204030204" pitchFamily="34" charset="0"/>
                <a:cs typeface="Calibri" panose="020F0502020204030204" pitchFamily="34" charset="0"/>
              </a:rPr>
              <a:t>Yurt içi uluslararası ihtisas fuarlarına,</a:t>
            </a:r>
          </a:p>
          <a:p>
            <a:pPr marL="344169" indent="-344169" algn="just" defTabSz="917783" eaLnBrk="1" fontAlgn="b" hangingPunct="1">
              <a:lnSpc>
                <a:spcPct val="150000"/>
              </a:lnSpc>
              <a:spcBef>
                <a:spcPts val="0"/>
              </a:spcBef>
              <a:spcAft>
                <a:spcPts val="0"/>
              </a:spcAft>
              <a:buFont typeface="Wingdings" panose="05000000000000000000" pitchFamily="2" charset="2"/>
              <a:buChar char="ü"/>
              <a:defRPr/>
            </a:pPr>
            <a:r>
              <a:rPr lang="tr-TR" sz="2208" dirty="0">
                <a:solidFill>
                  <a:srgbClr val="020202"/>
                </a:solidFill>
                <a:latin typeface="Calibri" panose="020F0502020204030204" pitchFamily="34" charset="0"/>
                <a:cs typeface="Calibri" panose="020F0502020204030204" pitchFamily="34" charset="0"/>
              </a:rPr>
              <a:t>İzmir Enternasyonal Fuarına,</a:t>
            </a:r>
          </a:p>
          <a:p>
            <a:pPr marL="344169" indent="-344169" algn="just" defTabSz="917783" eaLnBrk="1" fontAlgn="b" hangingPunct="1">
              <a:lnSpc>
                <a:spcPct val="150000"/>
              </a:lnSpc>
              <a:spcBef>
                <a:spcPts val="0"/>
              </a:spcBef>
              <a:spcAft>
                <a:spcPts val="0"/>
              </a:spcAft>
              <a:buFont typeface="Wingdings" panose="05000000000000000000" pitchFamily="2" charset="2"/>
              <a:buChar char="ü"/>
              <a:defRPr/>
            </a:pPr>
            <a:r>
              <a:rPr lang="tr-TR" sz="2208" dirty="0">
                <a:solidFill>
                  <a:srgbClr val="020202"/>
                </a:solidFill>
                <a:latin typeface="Calibri" panose="020F0502020204030204" pitchFamily="34" charset="0"/>
                <a:cs typeface="Calibri" panose="020F0502020204030204" pitchFamily="34" charset="0"/>
              </a:rPr>
              <a:t>IDEF Uluslararası Savunma Sanayi Fuarına</a:t>
            </a:r>
          </a:p>
          <a:p>
            <a:pPr marL="0" indent="0" algn="just" defTabSz="917783" eaLnBrk="1" fontAlgn="b" hangingPunct="1">
              <a:lnSpc>
                <a:spcPct val="150000"/>
              </a:lnSpc>
              <a:spcBef>
                <a:spcPts val="0"/>
              </a:spcBef>
              <a:spcAft>
                <a:spcPts val="0"/>
              </a:spcAft>
              <a:buNone/>
              <a:defRPr/>
            </a:pPr>
            <a:r>
              <a:rPr lang="tr-TR" sz="2208" dirty="0">
                <a:solidFill>
                  <a:srgbClr val="020202"/>
                </a:solidFill>
                <a:latin typeface="Calibri" panose="020F0502020204030204" pitchFamily="34" charset="0"/>
                <a:cs typeface="Calibri" panose="020F0502020204030204" pitchFamily="34" charset="0"/>
              </a:rPr>
              <a:t>katılımlarına destek verilir.</a:t>
            </a:r>
          </a:p>
          <a:p>
            <a:pPr marL="344169" indent="-344169" algn="just" defTabSz="917783">
              <a:lnSpc>
                <a:spcPct val="80000"/>
              </a:lnSpc>
              <a:buNone/>
              <a:defRPr/>
            </a:pPr>
            <a:endParaRPr lang="tr-TR" sz="2208" dirty="0">
              <a:solidFill>
                <a:prstClr val="black"/>
              </a:solidFill>
              <a:latin typeface="Calibri" panose="020F0502020204030204" pitchFamily="34" charset="0"/>
              <a:cs typeface="Calibri" panose="020F0502020204030204" pitchFamily="34" charset="0"/>
            </a:endParaRPr>
          </a:p>
        </p:txBody>
      </p:sp>
      <p:pic>
        <p:nvPicPr>
          <p:cNvPr id="11270" name="Picture 6" descr="C:\Users\yildiz.sapmaz\Desktop\SALONLAR GENEL GÖRÜNÜM (43) (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5103" y="1490285"/>
            <a:ext cx="4137419" cy="2160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3"/>
          <p:cNvSpPr txBox="1">
            <a:spLocks noChangeArrowheads="1"/>
          </p:cNvSpPr>
          <p:nvPr/>
        </p:nvSpPr>
        <p:spPr bwMode="auto">
          <a:xfrm>
            <a:off x="421440" y="4654360"/>
            <a:ext cx="10915223" cy="1517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3289" indent="0" algn="just" defTabSz="917783" eaLnBrk="1" fontAlgn="b" hangingPunct="1">
              <a:lnSpc>
                <a:spcPct val="150000"/>
              </a:lnSpc>
              <a:spcBef>
                <a:spcPts val="0"/>
              </a:spcBef>
              <a:spcAft>
                <a:spcPts val="0"/>
              </a:spcAft>
              <a:buNone/>
              <a:defRPr/>
            </a:pPr>
            <a:r>
              <a:rPr lang="tr-TR" sz="2208" dirty="0">
                <a:solidFill>
                  <a:srgbClr val="020202"/>
                </a:solidFill>
                <a:latin typeface="Calibri" panose="020F0502020204030204" pitchFamily="34" charset="0"/>
                <a:cs typeface="Calibri" panose="020F0502020204030204" pitchFamily="34" charset="0"/>
              </a:rPr>
              <a:t>Fuar kapsamında; </a:t>
            </a:r>
            <a:r>
              <a:rPr lang="tr-TR" sz="2208" b="1" dirty="0">
                <a:solidFill>
                  <a:srgbClr val="020202"/>
                </a:solidFill>
                <a:latin typeface="Calibri" panose="020F0502020204030204" pitchFamily="34" charset="0"/>
                <a:cs typeface="Calibri" panose="020F0502020204030204" pitchFamily="34" charset="0"/>
              </a:rPr>
              <a:t>boş alan (yer) kirası, standart stant konstrüksiyonu ve dekorasyonuna </a:t>
            </a:r>
            <a:r>
              <a:rPr lang="tr-TR" sz="2208" dirty="0">
                <a:solidFill>
                  <a:srgbClr val="020202"/>
                </a:solidFill>
                <a:latin typeface="Calibri" panose="020F0502020204030204" pitchFamily="34" charset="0"/>
                <a:cs typeface="Calibri" panose="020F0502020204030204" pitchFamily="34" charset="0"/>
              </a:rPr>
              <a:t>ilişkin giderlere destek verilir</a:t>
            </a:r>
            <a:r>
              <a:rPr lang="tr-TR" sz="2208" dirty="0">
                <a:solidFill>
                  <a:srgbClr val="020202"/>
                </a:solidFill>
                <a:latin typeface="Calibri" panose="020F0502020204030204" pitchFamily="34" charset="0"/>
                <a:cs typeface="Calibri" panose="020F0502020204030204" pitchFamily="34" charset="0"/>
                <a:hlinkClick r:id="" action="ppaction://noaction"/>
              </a:rPr>
              <a:t>.</a:t>
            </a:r>
            <a:endParaRPr lang="tr-TR" sz="2208" dirty="0">
              <a:solidFill>
                <a:srgbClr val="020202"/>
              </a:solidFill>
              <a:latin typeface="Calibri" panose="020F0502020204030204" pitchFamily="34" charset="0"/>
              <a:cs typeface="Calibri" panose="020F0502020204030204" pitchFamily="34" charset="0"/>
            </a:endParaRPr>
          </a:p>
          <a:p>
            <a:pPr marL="344169" indent="-344169" algn="just" defTabSz="917783">
              <a:lnSpc>
                <a:spcPct val="80000"/>
              </a:lnSpc>
              <a:buNone/>
              <a:defRPr/>
            </a:pPr>
            <a:endParaRPr lang="tr-TR" sz="2208"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5858882"/>
      </p:ext>
    </p:extLst>
  </p:cSld>
  <p:clrMapOvr>
    <a:masterClrMapping/>
  </p:clrMapOvr>
  <p:transition spd="slow">
    <p:push dir="u"/>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2"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19602" y="995357"/>
            <a:ext cx="3706915" cy="3802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Dikdörtgen 1"/>
          <p:cNvSpPr/>
          <p:nvPr/>
        </p:nvSpPr>
        <p:spPr>
          <a:xfrm>
            <a:off x="242009" y="1183353"/>
            <a:ext cx="7660779" cy="3614163"/>
          </a:xfrm>
          <a:prstGeom prst="rect">
            <a:avLst/>
          </a:prstGeom>
        </p:spPr>
        <p:txBody>
          <a:bodyPr wrap="square">
            <a:spAutoFit/>
          </a:bodyPr>
          <a:lstStyle/>
          <a:p>
            <a:pPr marL="356916" algn="just" defTabSz="917783" fontAlgn="b">
              <a:lnSpc>
                <a:spcPct val="150000"/>
              </a:lnSpc>
              <a:defRPr/>
            </a:pPr>
            <a:r>
              <a:rPr lang="tr-TR" sz="1907" dirty="0">
                <a:solidFill>
                  <a:srgbClr val="020202"/>
                </a:solidFill>
                <a:latin typeface="Calibri" pitchFamily="34" charset="0"/>
                <a:ea typeface="ヒラギノ角ゴ Pro W3" pitchFamily="1" charset="-128"/>
                <a:cs typeface="Calibri" panose="020F0502020204030204" pitchFamily="34" charset="0"/>
              </a:rPr>
              <a:t>Destekleme alanı her bir fuar katılımı için işletme başına azami </a:t>
            </a:r>
            <a:r>
              <a:rPr lang="tr-TR" sz="1907" b="1" dirty="0">
                <a:solidFill>
                  <a:srgbClr val="020202"/>
                </a:solidFill>
                <a:latin typeface="Calibri" pitchFamily="34" charset="0"/>
                <a:ea typeface="ヒラギノ角ゴ Pro W3" pitchFamily="1" charset="-128"/>
                <a:cs typeface="Calibri" panose="020F0502020204030204" pitchFamily="34" charset="0"/>
              </a:rPr>
              <a:t>50 m²</a:t>
            </a:r>
            <a:r>
              <a:rPr lang="tr-TR" sz="1907" dirty="0">
                <a:solidFill>
                  <a:srgbClr val="020202"/>
                </a:solidFill>
                <a:latin typeface="Calibri" pitchFamily="34" charset="0"/>
                <a:ea typeface="ヒラギノ角ゴ Pro W3" pitchFamily="1" charset="-128"/>
                <a:cs typeface="Calibri" panose="020F0502020204030204" pitchFamily="34" charset="0"/>
              </a:rPr>
              <a:t> olup, destek üst limit;</a:t>
            </a:r>
            <a:endParaRPr lang="tr-TR" sz="1907" b="1" dirty="0">
              <a:solidFill>
                <a:srgbClr val="020202"/>
              </a:solidFill>
              <a:latin typeface="Calibri" pitchFamily="34" charset="0"/>
              <a:ea typeface="ヒラギノ角ゴ Pro W3" pitchFamily="1" charset="-128"/>
              <a:cs typeface="Calibri" panose="020F0502020204030204" pitchFamily="34" charset="0"/>
            </a:endParaRPr>
          </a:p>
          <a:p>
            <a:pPr marL="701084" indent="-344169" algn="just" defTabSz="917783" fontAlgn="b">
              <a:lnSpc>
                <a:spcPct val="150000"/>
              </a:lnSpc>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Yurt İçi Uluslararası İhtisas Fuarlarında m² başına </a:t>
            </a:r>
            <a:r>
              <a:rPr lang="tr-TR" sz="1907" b="1" dirty="0">
                <a:solidFill>
                  <a:srgbClr val="020202"/>
                </a:solidFill>
                <a:latin typeface="Calibri" pitchFamily="34" charset="0"/>
                <a:ea typeface="ヒラギノ角ゴ Pro W3" pitchFamily="1" charset="-128"/>
                <a:cs typeface="Calibri" panose="020F0502020204030204" pitchFamily="34" charset="0"/>
              </a:rPr>
              <a:t>250 TL</a:t>
            </a:r>
            <a:r>
              <a:rPr lang="tr-TR" sz="1907" dirty="0">
                <a:solidFill>
                  <a:srgbClr val="020202"/>
                </a:solidFill>
                <a:latin typeface="Calibri" pitchFamily="34" charset="0"/>
                <a:ea typeface="ヒラギノ角ゴ Pro W3" pitchFamily="1" charset="-128"/>
                <a:cs typeface="Calibri" panose="020F0502020204030204" pitchFamily="34" charset="0"/>
              </a:rPr>
              <a:t>,</a:t>
            </a:r>
          </a:p>
          <a:p>
            <a:pPr marL="701084" indent="-344169" algn="just" defTabSz="917783" fontAlgn="b">
              <a:lnSpc>
                <a:spcPct val="150000"/>
              </a:lnSpc>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Yurt İçi İhtisas Fuarları ve İzmir Enternasyonal Fuarında m² başına </a:t>
            </a:r>
            <a:r>
              <a:rPr lang="tr-TR" sz="1907" b="1" dirty="0">
                <a:solidFill>
                  <a:srgbClr val="020202"/>
                </a:solidFill>
                <a:latin typeface="Calibri" pitchFamily="34" charset="0"/>
                <a:ea typeface="ヒラギノ角ゴ Pro W3" pitchFamily="1" charset="-128"/>
                <a:cs typeface="Calibri" panose="020F0502020204030204" pitchFamily="34" charset="0"/>
              </a:rPr>
              <a:t>150 TL, </a:t>
            </a:r>
          </a:p>
          <a:p>
            <a:pPr marL="701084" indent="-344169" algn="just" defTabSz="917783" fontAlgn="b">
              <a:lnSpc>
                <a:spcPct val="150000"/>
              </a:lnSpc>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IDEF Uluslararası Savunma Sanayi Fuarında m² başına </a:t>
            </a:r>
            <a:r>
              <a:rPr lang="tr-TR" sz="1907" b="1" dirty="0">
                <a:solidFill>
                  <a:srgbClr val="020202"/>
                </a:solidFill>
                <a:latin typeface="Calibri" pitchFamily="34" charset="0"/>
                <a:ea typeface="ヒラギノ角ゴ Pro W3" pitchFamily="1" charset="-128"/>
                <a:cs typeface="Calibri" panose="020F0502020204030204" pitchFamily="34" charset="0"/>
              </a:rPr>
              <a:t>1.000 TL,</a:t>
            </a:r>
          </a:p>
          <a:p>
            <a:pPr marL="701084" indent="-344169" algn="just" defTabSz="917783" fontAlgn="b">
              <a:lnSpc>
                <a:spcPct val="150000"/>
              </a:lnSpc>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Konusu savunma, havacılık ve uzay olan fuarlar için m² başına </a:t>
            </a:r>
            <a:r>
              <a:rPr lang="tr-TR" sz="1907" b="1" dirty="0">
                <a:solidFill>
                  <a:srgbClr val="020202"/>
                </a:solidFill>
                <a:latin typeface="Calibri" pitchFamily="34" charset="0"/>
                <a:ea typeface="ヒラギノ角ゴ Pro W3" pitchFamily="1" charset="-128"/>
                <a:cs typeface="Calibri" panose="020F0502020204030204" pitchFamily="34" charset="0"/>
              </a:rPr>
              <a:t>500 TL</a:t>
            </a:r>
          </a:p>
          <a:p>
            <a:pPr marL="356916" algn="just" defTabSz="917783" fontAlgn="b">
              <a:lnSpc>
                <a:spcPct val="150000"/>
              </a:lnSpc>
              <a:defRPr/>
            </a:pPr>
            <a:r>
              <a:rPr lang="tr-TR" sz="1907" dirty="0">
                <a:solidFill>
                  <a:srgbClr val="020202"/>
                </a:solidFill>
                <a:latin typeface="Calibri" pitchFamily="34" charset="0"/>
                <a:ea typeface="ヒラギノ角ゴ Pro W3" pitchFamily="1" charset="-128"/>
                <a:cs typeface="Calibri" panose="020F0502020204030204" pitchFamily="34" charset="0"/>
              </a:rPr>
              <a:t>olarak uygulanır</a:t>
            </a:r>
            <a:r>
              <a:rPr lang="tr-TR" sz="1907" dirty="0">
                <a:solidFill>
                  <a:srgbClr val="020202"/>
                </a:solidFill>
                <a:latin typeface="Calibri" pitchFamily="34" charset="0"/>
                <a:ea typeface="ヒラギノ角ゴ Pro W3" pitchFamily="1" charset="-128"/>
                <a:cs typeface="Calibri" panose="020F0502020204030204" pitchFamily="34" charset="0"/>
                <a:hlinkClick r:id="" action="ppaction://noaction"/>
              </a:rPr>
              <a:t>.</a:t>
            </a:r>
            <a:endParaRPr lang="tr-TR" sz="602" b="1" dirty="0">
              <a:solidFill>
                <a:srgbClr val="020202"/>
              </a:solidFill>
              <a:latin typeface="Calibri" pitchFamily="34" charset="0"/>
              <a:ea typeface="ヒラギノ角ゴ Pro W3" pitchFamily="1" charset="-128"/>
              <a:cs typeface="Calibri" panose="020F0502020204030204" pitchFamily="34" charset="0"/>
            </a:endParaRPr>
          </a:p>
        </p:txBody>
      </p:sp>
      <p:sp>
        <p:nvSpPr>
          <p:cNvPr id="6" name="7 Metin kutusu"/>
          <p:cNvSpPr txBox="1">
            <a:spLocks noChangeArrowheads="1"/>
          </p:cNvSpPr>
          <p:nvPr/>
        </p:nvSpPr>
        <p:spPr bwMode="auto">
          <a:xfrm>
            <a:off x="1798632" y="321326"/>
            <a:ext cx="7688134" cy="4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ase" hangingPunct="1">
              <a:spcBef>
                <a:spcPct val="0"/>
              </a:spcBef>
              <a:spcAft>
                <a:spcPct val="0"/>
              </a:spcAft>
            </a:pPr>
            <a:r>
              <a:rPr lang="tr-TR" altLang="tr-TR" sz="2400" b="1" dirty="0">
                <a:solidFill>
                  <a:srgbClr val="00A6E6"/>
                </a:solidFill>
                <a:latin typeface="Calibri" panose="020F0502020204030204" pitchFamily="34" charset="0"/>
                <a:ea typeface="ヒラギノ角ゴ Pro W3" pitchFamily="1" charset="-128"/>
                <a:cs typeface="Calibri" panose="020F0502020204030204" pitchFamily="34" charset="0"/>
              </a:rPr>
              <a:t>YURTİÇİ FUAR DESTEĞİ </a:t>
            </a:r>
          </a:p>
        </p:txBody>
      </p:sp>
      <p:sp>
        <p:nvSpPr>
          <p:cNvPr id="3" name="Dikdörtgen 2"/>
          <p:cNvSpPr/>
          <p:nvPr/>
        </p:nvSpPr>
        <p:spPr>
          <a:xfrm>
            <a:off x="258473" y="5009608"/>
            <a:ext cx="10768452" cy="1135218"/>
          </a:xfrm>
          <a:prstGeom prst="rect">
            <a:avLst/>
          </a:prstGeom>
        </p:spPr>
        <p:txBody>
          <a:bodyPr wrap="square">
            <a:spAutoFit/>
          </a:bodyPr>
          <a:lstStyle/>
          <a:p>
            <a:pPr marL="356916" algn="just" defTabSz="917783" fontAlgn="b">
              <a:lnSpc>
                <a:spcPct val="150000"/>
              </a:lnSpc>
              <a:defRPr/>
            </a:pPr>
            <a:r>
              <a:rPr lang="tr-TR" sz="2007" dirty="0">
                <a:solidFill>
                  <a:srgbClr val="020202"/>
                </a:solidFill>
                <a:latin typeface="Calibri" pitchFamily="34" charset="0"/>
                <a:ea typeface="ヒラギノ角ゴ Pro W3" pitchFamily="1" charset="-128"/>
                <a:cs typeface="Calibri" panose="020F0502020204030204" pitchFamily="34" charset="0"/>
              </a:rPr>
              <a:t>İşletmenin program süresince en fazla </a:t>
            </a:r>
            <a:r>
              <a:rPr lang="tr-TR" sz="2007" b="1" dirty="0">
                <a:solidFill>
                  <a:srgbClr val="020202"/>
                </a:solidFill>
                <a:latin typeface="Calibri" pitchFamily="34" charset="0"/>
                <a:ea typeface="ヒラギノ角ゴ Pro W3" pitchFamily="1" charset="-128"/>
                <a:cs typeface="Calibri" panose="020F0502020204030204" pitchFamily="34" charset="0"/>
              </a:rPr>
              <a:t>4</a:t>
            </a:r>
            <a:r>
              <a:rPr lang="tr-TR" sz="2007" dirty="0">
                <a:solidFill>
                  <a:srgbClr val="020202"/>
                </a:solidFill>
                <a:latin typeface="Calibri" pitchFamily="34" charset="0"/>
                <a:ea typeface="ヒラギノ角ゴ Pro W3" pitchFamily="1" charset="-128"/>
                <a:cs typeface="Calibri" panose="020F0502020204030204" pitchFamily="34" charset="0"/>
              </a:rPr>
              <a:t> fuara katılımına destek verilir.</a:t>
            </a:r>
          </a:p>
          <a:p>
            <a:pPr marL="356916" algn="just" defTabSz="917783" fontAlgn="b">
              <a:lnSpc>
                <a:spcPct val="150000"/>
              </a:lnSpc>
              <a:defRPr/>
            </a:pPr>
            <a:endParaRPr lang="tr-TR" sz="502" dirty="0">
              <a:solidFill>
                <a:srgbClr val="020202"/>
              </a:solidFill>
              <a:latin typeface="Calibri" pitchFamily="34" charset="0"/>
              <a:ea typeface="ヒラギノ角ゴ Pro W3" pitchFamily="1" charset="-128"/>
              <a:cs typeface="Calibri" panose="020F0502020204030204" pitchFamily="34" charset="0"/>
            </a:endParaRPr>
          </a:p>
          <a:p>
            <a:pPr marL="356916" algn="just" defTabSz="917783" fontAlgn="b">
              <a:lnSpc>
                <a:spcPct val="150000"/>
              </a:lnSpc>
              <a:defRPr/>
            </a:pPr>
            <a:r>
              <a:rPr lang="tr-TR" sz="2007" dirty="0">
                <a:solidFill>
                  <a:srgbClr val="020202"/>
                </a:solidFill>
                <a:latin typeface="Calibri" pitchFamily="34" charset="0"/>
                <a:ea typeface="ヒラギノ角ゴ Pro W3" pitchFamily="1" charset="-128"/>
                <a:cs typeface="Calibri" panose="020F0502020204030204" pitchFamily="34" charset="0"/>
              </a:rPr>
              <a:t>Desteğin üst limiti </a:t>
            </a:r>
            <a:r>
              <a:rPr lang="tr-TR" sz="2007" b="1" dirty="0">
                <a:solidFill>
                  <a:srgbClr val="020202"/>
                </a:solidFill>
                <a:latin typeface="Calibri" pitchFamily="34" charset="0"/>
                <a:ea typeface="ヒラギノ角ゴ Pro W3" pitchFamily="1" charset="-128"/>
                <a:cs typeface="Calibri" panose="020F0502020204030204" pitchFamily="34" charset="0"/>
              </a:rPr>
              <a:t>50.000 TL </a:t>
            </a:r>
            <a:r>
              <a:rPr lang="tr-TR" sz="2007" dirty="0">
                <a:solidFill>
                  <a:srgbClr val="020202"/>
                </a:solidFill>
                <a:latin typeface="Calibri" pitchFamily="34" charset="0"/>
                <a:ea typeface="ヒラギノ角ゴ Pro W3" pitchFamily="1" charset="-128"/>
                <a:cs typeface="Calibri" panose="020F0502020204030204" pitchFamily="34" charset="0"/>
              </a:rPr>
              <a:t>olup destek oranı </a:t>
            </a:r>
            <a:r>
              <a:rPr lang="tr-TR" sz="2007" b="1" dirty="0">
                <a:solidFill>
                  <a:srgbClr val="020202"/>
                </a:solidFill>
                <a:latin typeface="Calibri" pitchFamily="34" charset="0"/>
                <a:ea typeface="ヒラギノ角ゴ Pro W3" pitchFamily="1" charset="-128"/>
                <a:cs typeface="Calibri" panose="020F0502020204030204" pitchFamily="34" charset="0"/>
              </a:rPr>
              <a:t>%60</a:t>
            </a:r>
            <a:r>
              <a:rPr lang="tr-TR" sz="2007" dirty="0">
                <a:solidFill>
                  <a:srgbClr val="020202"/>
                </a:solidFill>
                <a:latin typeface="Calibri" pitchFamily="34" charset="0"/>
                <a:ea typeface="ヒラギノ角ゴ Pro W3" pitchFamily="1" charset="-128"/>
                <a:cs typeface="Calibri" panose="020F0502020204030204" pitchFamily="34" charset="0"/>
              </a:rPr>
              <a:t>’dır</a:t>
            </a:r>
            <a:r>
              <a:rPr lang="tr-TR" sz="2007" dirty="0">
                <a:solidFill>
                  <a:srgbClr val="020202"/>
                </a:solidFill>
                <a:latin typeface="Calibri" pitchFamily="34" charset="0"/>
                <a:ea typeface="ヒラギノ角ゴ Pro W3" pitchFamily="1" charset="-128"/>
                <a:cs typeface="Calibri" panose="020F0502020204030204" pitchFamily="34" charset="0"/>
                <a:hlinkClick r:id="" action="ppaction://noaction"/>
              </a:rPr>
              <a:t>.</a:t>
            </a:r>
            <a:endParaRPr lang="tr-TR" sz="2007" dirty="0">
              <a:solidFill>
                <a:srgbClr val="020202"/>
              </a:solidFill>
              <a:latin typeface="Calibri" pitchFamily="34" charset="0"/>
              <a:ea typeface="ヒラギノ角ゴ Pro W3" pitchFamily="1" charset="-128"/>
              <a:cs typeface="Calibri" panose="020F0502020204030204" pitchFamily="34" charset="0"/>
            </a:endParaRPr>
          </a:p>
        </p:txBody>
      </p:sp>
    </p:spTree>
    <p:extLst>
      <p:ext uri="{BB962C8B-B14F-4D97-AF65-F5344CB8AC3E}">
        <p14:creationId xmlns:p14="http://schemas.microsoft.com/office/powerpoint/2010/main" val="927489386"/>
      </p:ext>
    </p:extLst>
  </p:cSld>
  <p:clrMapOvr>
    <a:masterClrMapping/>
  </p:clrMapOvr>
  <p:transition spd="slow">
    <p:push dir="u"/>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7 Metin kutusu"/>
          <p:cNvSpPr txBox="1">
            <a:spLocks noChangeArrowheads="1"/>
          </p:cNvSpPr>
          <p:nvPr/>
        </p:nvSpPr>
        <p:spPr bwMode="auto">
          <a:xfrm>
            <a:off x="1976525" y="393598"/>
            <a:ext cx="7688134" cy="4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ase" hangingPunct="1">
              <a:spcBef>
                <a:spcPct val="0"/>
              </a:spcBef>
              <a:spcAft>
                <a:spcPct val="0"/>
              </a:spcAft>
            </a:pPr>
            <a:r>
              <a:rPr lang="tr-TR" altLang="tr-TR" sz="2400" b="1" dirty="0">
                <a:solidFill>
                  <a:srgbClr val="00A6E6"/>
                </a:solidFill>
                <a:latin typeface="Calibri" panose="020F0502020204030204" pitchFamily="34" charset="0"/>
                <a:ea typeface="ヒラギノ角ゴ Pro W3" pitchFamily="1" charset="-128"/>
                <a:cs typeface="Calibri" panose="020F0502020204030204" pitchFamily="34" charset="0"/>
              </a:rPr>
              <a:t>YURTDIŞI İŞ GEZİSİ DESTEĞİ</a:t>
            </a:r>
          </a:p>
        </p:txBody>
      </p:sp>
      <p:sp>
        <p:nvSpPr>
          <p:cNvPr id="2" name="Dikdörtgen 1"/>
          <p:cNvSpPr/>
          <p:nvPr/>
        </p:nvSpPr>
        <p:spPr>
          <a:xfrm>
            <a:off x="19936" y="1140832"/>
            <a:ext cx="8961665" cy="3150808"/>
          </a:xfrm>
          <a:prstGeom prst="rect">
            <a:avLst/>
          </a:prstGeom>
        </p:spPr>
        <p:txBody>
          <a:bodyPr wrap="square">
            <a:spAutoFit/>
          </a:bodyPr>
          <a:lstStyle/>
          <a:p>
            <a:pPr marL="178458" algn="just" defTabSz="917783" fontAlgn="b">
              <a:lnSpc>
                <a:spcPct val="150000"/>
              </a:lnSpc>
              <a:defRPr/>
            </a:pPr>
            <a:r>
              <a:rPr lang="tr-TR" sz="1807" dirty="0">
                <a:solidFill>
                  <a:prstClr val="white">
                    <a:lumMod val="10000"/>
                  </a:prstClr>
                </a:solidFill>
                <a:latin typeface="Calibri" pitchFamily="34" charset="0"/>
                <a:ea typeface="ヒラギノ角ゴ Pro W3" pitchFamily="1" charset="-128"/>
                <a:cs typeface="Calibri" panose="020F0502020204030204" pitchFamily="34" charset="0"/>
              </a:rPr>
              <a:t>İşletmelerin, </a:t>
            </a:r>
            <a:r>
              <a:rPr lang="tr-TR" sz="1807" b="1" dirty="0">
                <a:solidFill>
                  <a:prstClr val="white">
                    <a:lumMod val="10000"/>
                  </a:prstClr>
                </a:solidFill>
                <a:latin typeface="Calibri" pitchFamily="34" charset="0"/>
                <a:ea typeface="ヒラギノ角ゴ Pro W3" pitchFamily="1" charset="-128"/>
                <a:cs typeface="Calibri" panose="020F0502020204030204" pitchFamily="34" charset="0"/>
              </a:rPr>
              <a:t>KOSGEB Birimleri, TOBB, TESK, TİM </a:t>
            </a:r>
            <a:r>
              <a:rPr lang="tr-TR" sz="1807" dirty="0">
                <a:solidFill>
                  <a:prstClr val="white">
                    <a:lumMod val="10000"/>
                  </a:prstClr>
                </a:solidFill>
                <a:latin typeface="Calibri" pitchFamily="34" charset="0"/>
                <a:ea typeface="ヒラギノ角ゴ Pro W3" pitchFamily="1" charset="-128"/>
                <a:cs typeface="Calibri" panose="020F0502020204030204" pitchFamily="34" charset="0"/>
              </a:rPr>
              <a:t>veya</a:t>
            </a:r>
            <a:r>
              <a:rPr lang="tr-TR" sz="1807" b="1" dirty="0">
                <a:solidFill>
                  <a:prstClr val="white">
                    <a:lumMod val="10000"/>
                  </a:prstClr>
                </a:solidFill>
                <a:latin typeface="Calibri" pitchFamily="34" charset="0"/>
                <a:ea typeface="ヒラギノ角ゴ Pro W3" pitchFamily="1" charset="-128"/>
                <a:cs typeface="Calibri" panose="020F0502020204030204" pitchFamily="34" charset="0"/>
              </a:rPr>
              <a:t> DEİK</a:t>
            </a:r>
            <a:r>
              <a:rPr lang="tr-TR" sz="1807" dirty="0">
                <a:solidFill>
                  <a:prstClr val="white">
                    <a:lumMod val="10000"/>
                  </a:prstClr>
                </a:solidFill>
                <a:latin typeface="Calibri" pitchFamily="34" charset="0"/>
                <a:ea typeface="ヒラギノ角ゴ Pro W3" pitchFamily="1" charset="-128"/>
                <a:cs typeface="Calibri" panose="020F0502020204030204" pitchFamily="34" charset="0"/>
              </a:rPr>
              <a:t> tarafından düzenlenen yurt dışı iş gezisi programlarına katılımına destek verilir. </a:t>
            </a:r>
          </a:p>
          <a:p>
            <a:pPr marL="178458" algn="just" defTabSz="917783" fontAlgn="b">
              <a:lnSpc>
                <a:spcPct val="150000"/>
              </a:lnSpc>
              <a:defRPr/>
            </a:pPr>
            <a:endParaRPr lang="tr-TR" sz="602" dirty="0">
              <a:solidFill>
                <a:srgbClr val="020202"/>
              </a:solidFill>
              <a:latin typeface="Calibri" pitchFamily="34" charset="0"/>
              <a:ea typeface="ヒラギノ角ゴ Pro W3" pitchFamily="1" charset="-128"/>
              <a:cs typeface="Calibri" panose="020F0502020204030204" pitchFamily="34" charset="0"/>
            </a:endParaRPr>
          </a:p>
          <a:p>
            <a:pPr marL="178458" algn="just" defTabSz="917783" fontAlgn="b">
              <a:lnSpc>
                <a:spcPct val="150000"/>
              </a:lnSpc>
              <a:defRPr/>
            </a:pPr>
            <a:r>
              <a:rPr lang="tr-TR" sz="1807" dirty="0">
                <a:solidFill>
                  <a:srgbClr val="020202"/>
                </a:solidFill>
                <a:latin typeface="Calibri" pitchFamily="34" charset="0"/>
                <a:ea typeface="ヒラギノ角ゴ Pro W3" pitchFamily="1" charset="-128"/>
                <a:cs typeface="Calibri" panose="020F0502020204030204" pitchFamily="34" charset="0"/>
              </a:rPr>
              <a:t>Yurt Dışı İş Gezisi Programlarında işletme temsilcilerinin; </a:t>
            </a:r>
          </a:p>
          <a:p>
            <a:pPr marL="898663" indent="-181645" algn="just" defTabSz="917783" fontAlgn="b">
              <a:lnSpc>
                <a:spcPct val="150000"/>
              </a:lnSpc>
              <a:buFont typeface="Wingdings" panose="05000000000000000000" pitchFamily="2" charset="2"/>
              <a:buChar char="Ø"/>
              <a:defRPr/>
            </a:pPr>
            <a:r>
              <a:rPr lang="tr-TR" sz="1807" b="1" dirty="0">
                <a:solidFill>
                  <a:srgbClr val="020202"/>
                </a:solidFill>
                <a:latin typeface="Calibri" pitchFamily="34" charset="0"/>
                <a:ea typeface="ヒラギノ角ゴ Pro W3" pitchFamily="1" charset="-128"/>
                <a:cs typeface="Calibri" panose="020F0502020204030204" pitchFamily="34" charset="0"/>
              </a:rPr>
              <a:t> </a:t>
            </a:r>
            <a:r>
              <a:rPr lang="tr-TR" sz="1807" dirty="0">
                <a:solidFill>
                  <a:srgbClr val="020202"/>
                </a:solidFill>
                <a:latin typeface="Calibri" pitchFamily="34" charset="0"/>
                <a:ea typeface="ヒラギノ角ゴ Pro W3" pitchFamily="1" charset="-128"/>
                <a:cs typeface="Calibri" panose="020F0502020204030204" pitchFamily="34" charset="0"/>
              </a:rPr>
              <a:t>Konaklama giderlerini,  </a:t>
            </a:r>
          </a:p>
          <a:p>
            <a:pPr marL="898663" indent="-181645" algn="just" defTabSz="917783" fontAlgn="b">
              <a:lnSpc>
                <a:spcPct val="150000"/>
              </a:lnSpc>
              <a:buFont typeface="Wingdings" panose="05000000000000000000" pitchFamily="2" charset="2"/>
              <a:buChar char="Ø"/>
              <a:defRPr/>
            </a:pPr>
            <a:r>
              <a:rPr lang="tr-TR" sz="1807" dirty="0">
                <a:solidFill>
                  <a:srgbClr val="020202"/>
                </a:solidFill>
                <a:latin typeface="Calibri" pitchFamily="34" charset="0"/>
                <a:ea typeface="ヒラギノ角ゴ Pro W3" pitchFamily="1" charset="-128"/>
                <a:cs typeface="Calibri" panose="020F0502020204030204" pitchFamily="34" charset="0"/>
              </a:rPr>
              <a:t> Ulaşım giderlerini, </a:t>
            </a:r>
          </a:p>
          <a:p>
            <a:pPr marL="898663" indent="-181645" algn="just" defTabSz="917783" fontAlgn="b">
              <a:lnSpc>
                <a:spcPct val="150000"/>
              </a:lnSpc>
              <a:buFont typeface="Wingdings" panose="05000000000000000000" pitchFamily="2" charset="2"/>
              <a:buChar char="Ø"/>
              <a:defRPr/>
            </a:pPr>
            <a:r>
              <a:rPr lang="tr-TR" sz="1807" dirty="0">
                <a:solidFill>
                  <a:srgbClr val="020202"/>
                </a:solidFill>
                <a:latin typeface="Calibri" pitchFamily="34" charset="0"/>
                <a:ea typeface="ヒラギノ角ゴ Pro W3" pitchFamily="1" charset="-128"/>
                <a:cs typeface="Calibri" panose="020F0502020204030204" pitchFamily="34" charset="0"/>
              </a:rPr>
              <a:t> Yurt dışı iş gezisi programı ile ilgili tercüme, rehberlik giderleri, fuar giriş ücretleri ve toplantı-organizasyon giderlerini kapsar.</a:t>
            </a:r>
          </a:p>
        </p:txBody>
      </p:sp>
      <p:sp>
        <p:nvSpPr>
          <p:cNvPr id="7" name="İçerik Yer Tutucusu 4"/>
          <p:cNvSpPr>
            <a:spLocks noGrp="1"/>
          </p:cNvSpPr>
          <p:nvPr>
            <p:ph sz="quarter" idx="4294967295"/>
          </p:nvPr>
        </p:nvSpPr>
        <p:spPr>
          <a:xfrm>
            <a:off x="242010" y="4291640"/>
            <a:ext cx="11481784" cy="2095873"/>
          </a:xfrm>
        </p:spPr>
        <p:txBody>
          <a:bodyPr>
            <a:normAutofit/>
          </a:bodyPr>
          <a:lstStyle/>
          <a:p>
            <a:pPr marL="178458" indent="0" algn="just" defTabSz="917783" fontAlgn="b">
              <a:lnSpc>
                <a:spcPct val="150000"/>
              </a:lnSpc>
              <a:spcBef>
                <a:spcPts val="0"/>
              </a:spcBef>
              <a:buNone/>
              <a:defRPr/>
            </a:pPr>
            <a:r>
              <a:rPr lang="tr-TR" sz="1807" dirty="0">
                <a:solidFill>
                  <a:srgbClr val="020202"/>
                </a:solidFill>
                <a:latin typeface="Calibri" panose="020F0502020204030204" pitchFamily="34" charset="0"/>
                <a:cs typeface="Calibri" panose="020F0502020204030204" pitchFamily="34" charset="0"/>
              </a:rPr>
              <a:t>Her bir yurt dışı iş gezisi için işletme başına sağlanacak azami destek; </a:t>
            </a:r>
          </a:p>
          <a:p>
            <a:pPr marL="522627" indent="-344169" algn="just" defTabSz="917783" fontAlgn="b">
              <a:lnSpc>
                <a:spcPct val="150000"/>
              </a:lnSpc>
              <a:spcBef>
                <a:spcPts val="0"/>
              </a:spcBef>
              <a:buFont typeface="Wingdings" panose="05000000000000000000" pitchFamily="2" charset="2"/>
              <a:buChar char="ü"/>
              <a:defRPr/>
            </a:pPr>
            <a:r>
              <a:rPr lang="tr-TR" sz="1807" dirty="0">
                <a:solidFill>
                  <a:srgbClr val="020202"/>
                </a:solidFill>
                <a:latin typeface="Calibri" panose="020F0502020204030204" pitchFamily="34" charset="0"/>
                <a:cs typeface="Calibri" panose="020F0502020204030204" pitchFamily="34" charset="0"/>
              </a:rPr>
              <a:t>Kuzey Amerika, Güney Amerika ve Avustralya kıtası ile Asya Pasifik Ülkeleri için </a:t>
            </a:r>
            <a:r>
              <a:rPr lang="tr-TR" sz="1807" b="1" dirty="0">
                <a:solidFill>
                  <a:srgbClr val="020202"/>
                </a:solidFill>
                <a:latin typeface="Calibri" panose="020F0502020204030204" pitchFamily="34" charset="0"/>
                <a:cs typeface="Calibri" panose="020F0502020204030204" pitchFamily="34" charset="0"/>
              </a:rPr>
              <a:t>10.000 TL</a:t>
            </a:r>
            <a:r>
              <a:rPr lang="tr-TR" sz="1807" dirty="0">
                <a:solidFill>
                  <a:srgbClr val="020202"/>
                </a:solidFill>
                <a:latin typeface="Calibri" panose="020F0502020204030204" pitchFamily="34" charset="0"/>
                <a:cs typeface="Calibri" panose="020F0502020204030204" pitchFamily="34" charset="0"/>
              </a:rPr>
              <a:t>, </a:t>
            </a:r>
          </a:p>
          <a:p>
            <a:pPr marL="522627" indent="-344169" algn="just" defTabSz="917783" fontAlgn="b">
              <a:lnSpc>
                <a:spcPct val="150000"/>
              </a:lnSpc>
              <a:spcBef>
                <a:spcPts val="0"/>
              </a:spcBef>
              <a:buFont typeface="Wingdings" panose="05000000000000000000" pitchFamily="2" charset="2"/>
              <a:buChar char="ü"/>
              <a:defRPr/>
            </a:pPr>
            <a:r>
              <a:rPr lang="tr-TR" sz="1807" dirty="0">
                <a:solidFill>
                  <a:srgbClr val="020202"/>
                </a:solidFill>
                <a:latin typeface="Calibri" panose="020F0502020204030204" pitchFamily="34" charset="0"/>
                <a:cs typeface="Calibri" panose="020F0502020204030204" pitchFamily="34" charset="0"/>
              </a:rPr>
              <a:t>Çin Halk Cumhuriyeti dâhil diğer ülkeler için </a:t>
            </a:r>
            <a:r>
              <a:rPr lang="tr-TR" sz="1807" b="1" dirty="0">
                <a:solidFill>
                  <a:srgbClr val="020202"/>
                </a:solidFill>
                <a:latin typeface="Calibri" panose="020F0502020204030204" pitchFamily="34" charset="0"/>
                <a:cs typeface="Calibri" panose="020F0502020204030204" pitchFamily="34" charset="0"/>
              </a:rPr>
              <a:t>5.000 TL</a:t>
            </a:r>
            <a:r>
              <a:rPr lang="tr-TR" sz="1807" dirty="0">
                <a:solidFill>
                  <a:srgbClr val="020202"/>
                </a:solidFill>
                <a:latin typeface="Calibri" panose="020F0502020204030204" pitchFamily="34" charset="0"/>
                <a:cs typeface="Calibri" panose="020F0502020204030204" pitchFamily="34" charset="0"/>
              </a:rPr>
              <a:t>’dir.</a:t>
            </a:r>
          </a:p>
          <a:p>
            <a:pPr marL="178458" indent="0" algn="just" defTabSz="917783" fontAlgn="b">
              <a:lnSpc>
                <a:spcPct val="150000"/>
              </a:lnSpc>
              <a:spcBef>
                <a:spcPts val="0"/>
              </a:spcBef>
              <a:buNone/>
              <a:defRPr/>
            </a:pPr>
            <a:r>
              <a:rPr lang="tr-TR" sz="1807" dirty="0">
                <a:solidFill>
                  <a:srgbClr val="020202"/>
                </a:solidFill>
                <a:latin typeface="Calibri" panose="020F0502020204030204" pitchFamily="34" charset="0"/>
                <a:cs typeface="Calibri" panose="020F0502020204030204" pitchFamily="34" charset="0"/>
              </a:rPr>
              <a:t>Desteğin üst limiti </a:t>
            </a:r>
            <a:r>
              <a:rPr lang="tr-TR" sz="1807" b="1" dirty="0">
                <a:solidFill>
                  <a:srgbClr val="020202"/>
                </a:solidFill>
                <a:latin typeface="Calibri" panose="020F0502020204030204" pitchFamily="34" charset="0"/>
                <a:cs typeface="Calibri" panose="020F0502020204030204" pitchFamily="34" charset="0"/>
              </a:rPr>
              <a:t>30.000 </a:t>
            </a:r>
            <a:r>
              <a:rPr lang="tr-TR" sz="1807" dirty="0">
                <a:solidFill>
                  <a:srgbClr val="020202"/>
                </a:solidFill>
                <a:latin typeface="Calibri" panose="020F0502020204030204" pitchFamily="34" charset="0"/>
                <a:cs typeface="Calibri" panose="020F0502020204030204" pitchFamily="34" charset="0"/>
              </a:rPr>
              <a:t>TL olup destek oranı </a:t>
            </a:r>
            <a:r>
              <a:rPr lang="tr-TR" sz="1807" b="1" dirty="0">
                <a:solidFill>
                  <a:srgbClr val="020202"/>
                </a:solidFill>
                <a:latin typeface="Calibri" panose="020F0502020204030204" pitchFamily="34" charset="0"/>
                <a:cs typeface="Calibri" panose="020F0502020204030204" pitchFamily="34" charset="0"/>
              </a:rPr>
              <a:t>%60</a:t>
            </a:r>
            <a:r>
              <a:rPr lang="tr-TR" sz="1807" dirty="0">
                <a:solidFill>
                  <a:srgbClr val="020202"/>
                </a:solidFill>
                <a:latin typeface="Calibri" panose="020F0502020204030204" pitchFamily="34" charset="0"/>
                <a:cs typeface="Calibri" panose="020F0502020204030204" pitchFamily="34" charset="0"/>
              </a:rPr>
              <a:t>’dır</a:t>
            </a:r>
            <a:r>
              <a:rPr lang="tr-TR" sz="1807" dirty="0">
                <a:solidFill>
                  <a:srgbClr val="020202"/>
                </a:solidFill>
                <a:latin typeface="Calibri" panose="020F0502020204030204" pitchFamily="34" charset="0"/>
                <a:cs typeface="Calibri" panose="020F0502020204030204" pitchFamily="34" charset="0"/>
                <a:hlinkClick r:id="" action="ppaction://noaction"/>
              </a:rPr>
              <a:t>.</a:t>
            </a:r>
            <a:endParaRPr lang="tr-TR" sz="1807" dirty="0">
              <a:solidFill>
                <a:srgbClr val="020202"/>
              </a:solidFill>
              <a:latin typeface="Calibri" panose="020F0502020204030204" pitchFamily="34" charset="0"/>
              <a:cs typeface="Calibri" panose="020F0502020204030204" pitchFamily="34" charset="0"/>
            </a:endParaRPr>
          </a:p>
        </p:txBody>
      </p:sp>
      <p:pic>
        <p:nvPicPr>
          <p:cNvPr id="1026" name="Picture 2" descr="https://encrypted-tbn0.gstatic.com/images?q=tbn:ANd9GcTrXM1tLpfPAYuZ2AFa06ciaAWyI6YtdA3NXXvHiVQt3znn1idP&amp;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41430" y="1549942"/>
            <a:ext cx="3699883" cy="1945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7023366"/>
      </p:ext>
    </p:extLst>
  </p:cSld>
  <p:clrMapOvr>
    <a:masterClrMapping/>
  </p:clrMapOvr>
  <p:transition spd="slow">
    <p:push dir="u"/>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7 Metin kutusu"/>
          <p:cNvSpPr txBox="1">
            <a:spLocks noChangeArrowheads="1"/>
          </p:cNvSpPr>
          <p:nvPr/>
        </p:nvSpPr>
        <p:spPr bwMode="auto">
          <a:xfrm>
            <a:off x="1976525" y="405921"/>
            <a:ext cx="7688134" cy="4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ase" hangingPunct="1">
              <a:spcBef>
                <a:spcPct val="0"/>
              </a:spcBef>
              <a:spcAft>
                <a:spcPct val="0"/>
              </a:spcAft>
            </a:pPr>
            <a:r>
              <a:rPr lang="tr-TR" sz="2409" b="1" dirty="0">
                <a:solidFill>
                  <a:srgbClr val="00A6E6"/>
                </a:solidFill>
                <a:latin typeface="Calibri" panose="020F0502020204030204" pitchFamily="34" charset="0"/>
                <a:ea typeface="ヒラギノ角ゴ Pro W3" pitchFamily="1" charset="-128"/>
                <a:cs typeface="Calibri" panose="020F0502020204030204" pitchFamily="34" charset="0"/>
              </a:rPr>
              <a:t>MODEL FABRİKA DESTEĞİ</a:t>
            </a:r>
          </a:p>
        </p:txBody>
      </p:sp>
      <p:sp>
        <p:nvSpPr>
          <p:cNvPr id="2" name="Dikdörtgen 1"/>
          <p:cNvSpPr/>
          <p:nvPr/>
        </p:nvSpPr>
        <p:spPr>
          <a:xfrm>
            <a:off x="603367" y="1333127"/>
            <a:ext cx="5998534" cy="4169603"/>
          </a:xfrm>
          <a:prstGeom prst="rect">
            <a:avLst/>
          </a:prstGeom>
        </p:spPr>
        <p:txBody>
          <a:bodyPr wrap="square">
            <a:spAutoFit/>
          </a:bodyPr>
          <a:lstStyle/>
          <a:p>
            <a:pPr algn="just" defTabSz="917783" fontAlgn="base"/>
            <a:r>
              <a:rPr lang="tr-TR" sz="2208" dirty="0" err="1">
                <a:solidFill>
                  <a:srgbClr val="020202"/>
                </a:solidFill>
                <a:latin typeface="Calibri" pitchFamily="34" charset="0"/>
                <a:ea typeface="ヒラギノ角ゴ Pro W3" pitchFamily="1" charset="-128"/>
                <a:cs typeface="Calibri" panose="020F0502020204030204" pitchFamily="34" charset="0"/>
              </a:rPr>
              <a:t>Operasyonel</a:t>
            </a:r>
            <a:r>
              <a:rPr lang="tr-TR" sz="2208" dirty="0">
                <a:solidFill>
                  <a:srgbClr val="020202"/>
                </a:solidFill>
                <a:latin typeface="Calibri" pitchFamily="34" charset="0"/>
                <a:ea typeface="ヒラギノ角ゴ Pro W3" pitchFamily="1" charset="-128"/>
                <a:cs typeface="Calibri" panose="020F0502020204030204" pitchFamily="34" charset="0"/>
              </a:rPr>
              <a:t> mükemmeliyet ilkelerinin, deneyimsel öğrenme tekniklerini kullanarak, ölçeklenebilir bir şekilde yaygınlaştırılmasını sağlayan (ortak kullanıma yönelik bir yetkinlik merkezi) </a:t>
            </a:r>
            <a:r>
              <a:rPr lang="tr-TR" sz="2208" b="1" dirty="0">
                <a:solidFill>
                  <a:srgbClr val="020202"/>
                </a:solidFill>
                <a:latin typeface="Calibri" pitchFamily="34" charset="0"/>
                <a:ea typeface="ヒラギノ角ゴ Pro W3" pitchFamily="1" charset="-128"/>
                <a:cs typeface="Calibri" panose="020F0502020204030204" pitchFamily="34" charset="0"/>
              </a:rPr>
              <a:t>Model Fabrikalardan </a:t>
            </a:r>
            <a:r>
              <a:rPr lang="tr-TR" sz="2208" dirty="0">
                <a:solidFill>
                  <a:srgbClr val="020202"/>
                </a:solidFill>
                <a:latin typeface="Calibri" pitchFamily="34" charset="0"/>
                <a:ea typeface="ヒラギノ角ゴ Pro W3" pitchFamily="1" charset="-128"/>
                <a:cs typeface="Calibri" panose="020F0502020204030204" pitchFamily="34" charset="0"/>
              </a:rPr>
              <a:t>işletmelerin alacakları eğitim hizmetlerine destek sağlanmaktadır.</a:t>
            </a:r>
          </a:p>
          <a:p>
            <a:pPr algn="just" defTabSz="917783" fontAlgn="base"/>
            <a:endParaRPr lang="tr-TR" sz="2208" dirty="0">
              <a:solidFill>
                <a:srgbClr val="020202"/>
              </a:solidFill>
              <a:latin typeface="Calibri" pitchFamily="34" charset="0"/>
              <a:ea typeface="ヒラギノ角ゴ Pro W3" pitchFamily="1" charset="-128"/>
              <a:cs typeface="Calibri" panose="020F0502020204030204" pitchFamily="34" charset="0"/>
            </a:endParaRPr>
          </a:p>
          <a:p>
            <a:pPr algn="just" defTabSz="917783" fontAlgn="base"/>
            <a:r>
              <a:rPr lang="tr-TR" sz="2208" dirty="0">
                <a:solidFill>
                  <a:srgbClr val="020202"/>
                </a:solidFill>
                <a:latin typeface="Calibri" pitchFamily="34" charset="0"/>
                <a:ea typeface="ヒラギノ角ゴ Pro W3" pitchFamily="1" charset="-128"/>
                <a:cs typeface="Calibri" panose="020F0502020204030204" pitchFamily="34" charset="0"/>
              </a:rPr>
              <a:t>Model Fabrikalar Ankara, Bursa, </a:t>
            </a:r>
            <a:r>
              <a:rPr lang="tr-TR" sz="2208" dirty="0">
                <a:solidFill>
                  <a:prstClr val="black"/>
                </a:solidFill>
                <a:latin typeface="Calibri" pitchFamily="34" charset="0"/>
                <a:ea typeface="ヒラギノ角ゴ Pro W3" pitchFamily="1" charset="-128"/>
                <a:cs typeface="Calibri" panose="020F0502020204030204" pitchFamily="34" charset="0"/>
              </a:rPr>
              <a:t>Konya,  Kayseri, İzmir ve Gaziantep'te faaliyet göstermektedir.</a:t>
            </a:r>
          </a:p>
          <a:p>
            <a:pPr algn="just" defTabSz="917783" fontAlgn="base"/>
            <a:endParaRPr lang="tr-TR" sz="2208" dirty="0">
              <a:solidFill>
                <a:prstClr val="black"/>
              </a:solidFill>
              <a:latin typeface="Calibri" pitchFamily="34" charset="0"/>
              <a:ea typeface="ヒラギノ角ゴ Pro W3" pitchFamily="1" charset="-128"/>
              <a:cs typeface="Calibri" panose="020F0502020204030204" pitchFamily="34" charset="0"/>
            </a:endParaRPr>
          </a:p>
          <a:p>
            <a:pPr algn="just" defTabSz="917783" fontAlgn="base"/>
            <a:r>
              <a:rPr lang="tr-TR" sz="2208" dirty="0">
                <a:solidFill>
                  <a:srgbClr val="020202"/>
                </a:solidFill>
                <a:latin typeface="Calibri" pitchFamily="34" charset="0"/>
                <a:ea typeface="ヒラギノ角ゴ Pro W3" pitchFamily="1" charset="-128"/>
                <a:cs typeface="Calibri" panose="020F0502020204030204" pitchFamily="34" charset="0"/>
              </a:rPr>
              <a:t>Desteğin üst limiti </a:t>
            </a:r>
            <a:r>
              <a:rPr lang="tr-TR" sz="2208" b="1" dirty="0">
                <a:solidFill>
                  <a:srgbClr val="020202"/>
                </a:solidFill>
                <a:latin typeface="Calibri" pitchFamily="34" charset="0"/>
                <a:ea typeface="ヒラギノ角ゴ Pro W3" pitchFamily="1" charset="-128"/>
                <a:cs typeface="Calibri" panose="020F0502020204030204" pitchFamily="34" charset="0"/>
              </a:rPr>
              <a:t>70.000 TL </a:t>
            </a:r>
            <a:r>
              <a:rPr lang="tr-TR" sz="2208" dirty="0">
                <a:solidFill>
                  <a:srgbClr val="020202"/>
                </a:solidFill>
                <a:latin typeface="Calibri" pitchFamily="34" charset="0"/>
                <a:ea typeface="ヒラギノ角ゴ Pro W3" pitchFamily="1" charset="-128"/>
                <a:cs typeface="Calibri" panose="020F0502020204030204" pitchFamily="34" charset="0"/>
              </a:rPr>
              <a:t>olup</a:t>
            </a:r>
            <a:r>
              <a:rPr lang="tr-TR" sz="2208" b="1" dirty="0">
                <a:solidFill>
                  <a:srgbClr val="020202"/>
                </a:solidFill>
                <a:latin typeface="Calibri" pitchFamily="34" charset="0"/>
                <a:ea typeface="ヒラギノ角ゴ Pro W3" pitchFamily="1" charset="-128"/>
                <a:cs typeface="Calibri" panose="020F0502020204030204" pitchFamily="34" charset="0"/>
              </a:rPr>
              <a:t> </a:t>
            </a:r>
            <a:r>
              <a:rPr lang="tr-TR" sz="2208" dirty="0">
                <a:solidFill>
                  <a:srgbClr val="020202"/>
                </a:solidFill>
                <a:latin typeface="Calibri" pitchFamily="34" charset="0"/>
                <a:ea typeface="ヒラギノ角ゴ Pro W3" pitchFamily="1" charset="-128"/>
                <a:cs typeface="Calibri" panose="020F0502020204030204" pitchFamily="34" charset="0"/>
              </a:rPr>
              <a:t>d</a:t>
            </a:r>
            <a:r>
              <a:rPr lang="tr-TR" sz="2208" dirty="0">
                <a:solidFill>
                  <a:prstClr val="black"/>
                </a:solidFill>
                <a:latin typeface="Calibri" pitchFamily="34" charset="0"/>
                <a:ea typeface="ヒラギノ角ゴ Pro W3" pitchFamily="1" charset="-128"/>
              </a:rPr>
              <a:t>estek oranı </a:t>
            </a:r>
            <a:r>
              <a:rPr lang="tr-TR" sz="2208" b="1" dirty="0">
                <a:solidFill>
                  <a:prstClr val="black"/>
                </a:solidFill>
                <a:latin typeface="Calibri" pitchFamily="34" charset="0"/>
                <a:ea typeface="ヒラギノ角ゴ Pro W3" pitchFamily="1" charset="-128"/>
              </a:rPr>
              <a:t>%60</a:t>
            </a:r>
            <a:r>
              <a:rPr lang="tr-TR" sz="2208" dirty="0">
                <a:solidFill>
                  <a:prstClr val="black"/>
                </a:solidFill>
                <a:latin typeface="Calibri" pitchFamily="34" charset="0"/>
                <a:ea typeface="ヒラギノ角ゴ Pro W3" pitchFamily="1" charset="-128"/>
              </a:rPr>
              <a:t>’dır</a:t>
            </a:r>
            <a:r>
              <a:rPr lang="tr-TR" sz="2208" dirty="0">
                <a:solidFill>
                  <a:prstClr val="black"/>
                </a:solidFill>
                <a:latin typeface="Calibri" pitchFamily="34" charset="0"/>
                <a:ea typeface="ヒラギノ角ゴ Pro W3" pitchFamily="1" charset="-128"/>
                <a:hlinkClick r:id="rId2" action="ppaction://hlinkfile"/>
              </a:rPr>
              <a:t>. </a:t>
            </a:r>
            <a:endParaRPr lang="tr-TR" sz="2208" dirty="0">
              <a:solidFill>
                <a:prstClr val="black"/>
              </a:solidFill>
              <a:latin typeface="Calibri" pitchFamily="34" charset="0"/>
              <a:ea typeface="ヒラギノ角ゴ Pro W3" pitchFamily="1" charset="-128"/>
            </a:endParaRPr>
          </a:p>
        </p:txBody>
      </p:sp>
      <p:pic>
        <p:nvPicPr>
          <p:cNvPr id="3" name="Resim 2"/>
          <p:cNvPicPr>
            <a:picLocks noChangeAspect="1"/>
          </p:cNvPicPr>
          <p:nvPr/>
        </p:nvPicPr>
        <p:blipFill>
          <a:blip r:embed="rId3"/>
          <a:stretch>
            <a:fillRect/>
          </a:stretch>
        </p:blipFill>
        <p:spPr>
          <a:xfrm>
            <a:off x="7298981" y="1009520"/>
            <a:ext cx="4134811" cy="5290926"/>
          </a:xfrm>
          <a:prstGeom prst="rect">
            <a:avLst/>
          </a:prstGeom>
        </p:spPr>
      </p:pic>
    </p:spTree>
    <p:extLst>
      <p:ext uri="{BB962C8B-B14F-4D97-AF65-F5344CB8AC3E}">
        <p14:creationId xmlns:p14="http://schemas.microsoft.com/office/powerpoint/2010/main" val="2895228342"/>
      </p:ext>
    </p:extLst>
  </p:cSld>
  <p:clrMapOvr>
    <a:masterClrMapping/>
  </p:clrMapOvr>
  <p:transition spd="slow">
    <p:push dir="u"/>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7 Metin kutusu"/>
          <p:cNvSpPr txBox="1">
            <a:spLocks noChangeArrowheads="1"/>
          </p:cNvSpPr>
          <p:nvPr/>
        </p:nvSpPr>
        <p:spPr bwMode="auto">
          <a:xfrm>
            <a:off x="1831982" y="486839"/>
            <a:ext cx="7688134" cy="4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ase" hangingPunct="1">
              <a:spcBef>
                <a:spcPct val="0"/>
              </a:spcBef>
              <a:spcAft>
                <a:spcPct val="0"/>
              </a:spcAft>
            </a:pPr>
            <a:r>
              <a:rPr lang="tr-TR" altLang="tr-TR" sz="2400" b="1" dirty="0">
                <a:solidFill>
                  <a:srgbClr val="00A6E6"/>
                </a:solidFill>
                <a:latin typeface="Calibri" panose="020F0502020204030204" pitchFamily="34" charset="0"/>
                <a:ea typeface="ヒラギノ角ゴ Pro W3" pitchFamily="1" charset="-128"/>
                <a:cs typeface="Calibri" panose="020F0502020204030204" pitchFamily="34" charset="0"/>
              </a:rPr>
              <a:t>NİTELİKLİ ELEMAN İSTİHDAM DESTEĞİ</a:t>
            </a:r>
          </a:p>
        </p:txBody>
      </p:sp>
      <p:pic>
        <p:nvPicPr>
          <p:cNvPr id="25605"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0116" y="1188584"/>
            <a:ext cx="2388731" cy="3495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Dikdörtgen 1"/>
          <p:cNvSpPr/>
          <p:nvPr/>
        </p:nvSpPr>
        <p:spPr>
          <a:xfrm>
            <a:off x="-191620" y="1044041"/>
            <a:ext cx="9335620" cy="4679877"/>
          </a:xfrm>
          <a:prstGeom prst="rect">
            <a:avLst/>
          </a:prstGeom>
        </p:spPr>
        <p:txBody>
          <a:bodyPr wrap="square">
            <a:spAutoFit/>
          </a:bodyPr>
          <a:lstStyle/>
          <a:p>
            <a:pPr marL="644743" indent="-286807" algn="just" defTabSz="917783" fontAlgn="b">
              <a:lnSpc>
                <a:spcPct val="150000"/>
              </a:lnSpc>
              <a:buSzPts val="1800"/>
              <a:buFont typeface="Wingdings" panose="05000000000000000000" pitchFamily="2" charset="2"/>
              <a:buChar char="ü"/>
            </a:pPr>
            <a:r>
              <a:rPr lang="tr-TR" sz="1807" dirty="0">
                <a:solidFill>
                  <a:srgbClr val="161C1C"/>
                </a:solidFill>
                <a:latin typeface="Calibri" pitchFamily="34" charset="0"/>
                <a:ea typeface="ヒラギノ角ゴ Pro W3" pitchFamily="1" charset="-128"/>
                <a:cs typeface="Calibri" panose="020F0502020204030204" pitchFamily="34" charset="0"/>
              </a:rPr>
              <a:t>İşletmede işe giriş tarihi itibariyle son </a:t>
            </a:r>
            <a:r>
              <a:rPr lang="tr-TR" sz="1807" b="1" dirty="0">
                <a:solidFill>
                  <a:srgbClr val="161C1C"/>
                </a:solidFill>
                <a:latin typeface="Calibri" pitchFamily="34" charset="0"/>
                <a:ea typeface="ヒラギノ角ゴ Pro W3" pitchFamily="1" charset="-128"/>
                <a:cs typeface="Calibri" panose="020F0502020204030204" pitchFamily="34" charset="0"/>
              </a:rPr>
              <a:t>12 ay </a:t>
            </a:r>
            <a:r>
              <a:rPr lang="tr-TR" sz="1807" dirty="0">
                <a:solidFill>
                  <a:srgbClr val="161C1C"/>
                </a:solidFill>
                <a:latin typeface="Calibri" pitchFamily="34" charset="0"/>
                <a:ea typeface="ヒラギノ角ゴ Pro W3" pitchFamily="1" charset="-128"/>
                <a:cs typeface="Calibri" panose="020F0502020204030204" pitchFamily="34" charset="0"/>
              </a:rPr>
              <a:t>içinde istihdam edilmemiş, yükseköğretim kurumundan mezun ve işletmede tam zamanlı olarak çalışan eleman için verilir.</a:t>
            </a:r>
          </a:p>
          <a:p>
            <a:pPr marL="644743" indent="-286807" algn="just" defTabSz="917783" fontAlgn="b">
              <a:lnSpc>
                <a:spcPct val="150000"/>
              </a:lnSpc>
              <a:buSzPts val="1800"/>
              <a:buFont typeface="Wingdings" panose="05000000000000000000" pitchFamily="2" charset="2"/>
              <a:buChar char="ü"/>
            </a:pPr>
            <a:r>
              <a:rPr lang="tr-TR" sz="1807" dirty="0">
                <a:solidFill>
                  <a:srgbClr val="161C1C"/>
                </a:solidFill>
                <a:latin typeface="Calibri" pitchFamily="34" charset="0"/>
                <a:ea typeface="ヒラギノ角ゴ Pro W3" pitchFamily="1" charset="-128"/>
                <a:cs typeface="Calibri" panose="020F0502020204030204" pitchFamily="34" charset="0"/>
              </a:rPr>
              <a:t>Nitelikli elemanın işe giriş tarihinden önce, işletmenin </a:t>
            </a:r>
            <a:r>
              <a:rPr lang="tr-TR" sz="1807" b="1" dirty="0">
                <a:solidFill>
                  <a:srgbClr val="161C1C"/>
                </a:solidFill>
                <a:latin typeface="Calibri" pitchFamily="34" charset="0"/>
                <a:ea typeface="ヒラギノ角ゴ Pro W3" pitchFamily="1" charset="-128"/>
                <a:cs typeface="Calibri" panose="020F0502020204030204" pitchFamily="34" charset="0"/>
              </a:rPr>
              <a:t>son 2 aya </a:t>
            </a:r>
            <a:r>
              <a:rPr lang="tr-TR" sz="1807" dirty="0">
                <a:solidFill>
                  <a:srgbClr val="161C1C"/>
                </a:solidFill>
                <a:latin typeface="Calibri" pitchFamily="34" charset="0"/>
                <a:ea typeface="ヒラギノ角ゴ Pro W3" pitchFamily="1" charset="-128"/>
                <a:cs typeface="Calibri" panose="020F0502020204030204" pitchFamily="34" charset="0"/>
              </a:rPr>
              <a:t>ait SGK Tahakkuk Fişlerinin gün sayısı toplamının en az </a:t>
            </a:r>
            <a:r>
              <a:rPr lang="tr-TR" sz="1807" b="1" dirty="0">
                <a:solidFill>
                  <a:srgbClr val="161C1C"/>
                </a:solidFill>
                <a:latin typeface="Calibri" pitchFamily="34" charset="0"/>
                <a:ea typeface="ヒラギノ角ゴ Pro W3" pitchFamily="1" charset="-128"/>
                <a:cs typeface="Calibri" panose="020F0502020204030204" pitchFamily="34" charset="0"/>
              </a:rPr>
              <a:t>120 gün </a:t>
            </a:r>
            <a:r>
              <a:rPr lang="tr-TR" sz="1807" dirty="0">
                <a:solidFill>
                  <a:srgbClr val="161C1C"/>
                </a:solidFill>
                <a:latin typeface="Calibri" pitchFamily="34" charset="0"/>
                <a:ea typeface="ヒラギノ角ゴ Pro W3" pitchFamily="1" charset="-128"/>
                <a:cs typeface="Calibri" panose="020F0502020204030204" pitchFamily="34" charset="0"/>
              </a:rPr>
              <a:t>olması gerekir. Bu koşul, </a:t>
            </a:r>
            <a:r>
              <a:rPr lang="tr-TR" sz="1807" b="1" dirty="0">
                <a:solidFill>
                  <a:srgbClr val="161C1C"/>
                </a:solidFill>
                <a:latin typeface="Calibri" pitchFamily="34" charset="0"/>
                <a:ea typeface="ヒラギノ角ゴ Pro W3" pitchFamily="1" charset="-128"/>
                <a:cs typeface="Calibri" panose="020F0502020204030204" pitchFamily="34" charset="0"/>
              </a:rPr>
              <a:t>Öncelikli Teknoloji Alanları Tablosunda belirtilen öncelikli teknoloji alanlarında veya teknopark </a:t>
            </a:r>
            <a:r>
              <a:rPr lang="tr-TR" sz="1807" dirty="0">
                <a:solidFill>
                  <a:srgbClr val="161C1C"/>
                </a:solidFill>
                <a:latin typeface="Calibri" pitchFamily="34" charset="0"/>
                <a:ea typeface="ヒラギノ角ゴ Pro W3" pitchFamily="1" charset="-128"/>
                <a:cs typeface="Calibri" panose="020F0502020204030204" pitchFamily="34" charset="0"/>
              </a:rPr>
              <a:t>sınırları içerisinde faaliyet gösteren işletmeler için aranmaz.</a:t>
            </a:r>
          </a:p>
          <a:p>
            <a:pPr marL="644743" indent="-286807" algn="just" defTabSz="917783" fontAlgn="b">
              <a:lnSpc>
                <a:spcPct val="150000"/>
              </a:lnSpc>
              <a:buSzPts val="1800"/>
              <a:buFont typeface="Wingdings" panose="05000000000000000000" pitchFamily="2" charset="2"/>
              <a:buChar char="ü"/>
            </a:pPr>
            <a:r>
              <a:rPr lang="tr-TR" sz="1807" dirty="0">
                <a:solidFill>
                  <a:srgbClr val="161C1C"/>
                </a:solidFill>
                <a:latin typeface="Calibri" pitchFamily="34" charset="0"/>
                <a:ea typeface="ヒラギノ角ゴ Pro W3" pitchFamily="1" charset="-128"/>
                <a:cs typeface="Calibri" panose="020F0502020204030204" pitchFamily="34" charset="0"/>
              </a:rPr>
              <a:t>İşletmeye program süresince destek üst limiti dâhilinde en fazla </a:t>
            </a:r>
            <a:r>
              <a:rPr lang="tr-TR" sz="1807" b="1" dirty="0">
                <a:solidFill>
                  <a:srgbClr val="161C1C"/>
                </a:solidFill>
                <a:latin typeface="Calibri" pitchFamily="34" charset="0"/>
                <a:ea typeface="ヒラギノ角ゴ Pro W3" pitchFamily="1" charset="-128"/>
                <a:cs typeface="Calibri" panose="020F0502020204030204" pitchFamily="34" charset="0"/>
              </a:rPr>
              <a:t>4 </a:t>
            </a:r>
            <a:r>
              <a:rPr lang="tr-TR" sz="1807" dirty="0">
                <a:solidFill>
                  <a:srgbClr val="161C1C"/>
                </a:solidFill>
                <a:latin typeface="Calibri" pitchFamily="34" charset="0"/>
                <a:ea typeface="ヒラギノ角ゴ Pro W3" pitchFamily="1" charset="-128"/>
                <a:cs typeface="Calibri" panose="020F0502020204030204" pitchFamily="34" charset="0"/>
              </a:rPr>
              <a:t>nitelikli eleman için destek ödemesi yapılır.</a:t>
            </a:r>
          </a:p>
          <a:p>
            <a:pPr marL="644743" indent="-286807" algn="just" defTabSz="917783" fontAlgn="b">
              <a:lnSpc>
                <a:spcPct val="150000"/>
              </a:lnSpc>
              <a:buSzPts val="1800"/>
              <a:buFont typeface="Wingdings" panose="05000000000000000000" pitchFamily="2" charset="2"/>
              <a:buChar char="ü"/>
            </a:pPr>
            <a:r>
              <a:rPr lang="tr-TR" sz="1807" dirty="0">
                <a:solidFill>
                  <a:srgbClr val="161C1C"/>
                </a:solidFill>
                <a:latin typeface="Calibri" pitchFamily="34" charset="0"/>
                <a:ea typeface="ヒラギノ角ゴ Pro W3" pitchFamily="1" charset="-128"/>
                <a:cs typeface="Calibri" panose="020F0502020204030204" pitchFamily="34" charset="0"/>
              </a:rPr>
              <a:t>Destek üst limiti </a:t>
            </a:r>
            <a:r>
              <a:rPr lang="tr-TR" sz="1807" b="1" dirty="0">
                <a:solidFill>
                  <a:srgbClr val="161C1C"/>
                </a:solidFill>
                <a:latin typeface="Calibri" pitchFamily="34" charset="0"/>
                <a:ea typeface="ヒラギノ角ゴ Pro W3" pitchFamily="1" charset="-128"/>
                <a:cs typeface="Calibri" panose="020F0502020204030204" pitchFamily="34" charset="0"/>
              </a:rPr>
              <a:t>50.000</a:t>
            </a:r>
            <a:r>
              <a:rPr lang="tr-TR" sz="1807" dirty="0">
                <a:solidFill>
                  <a:srgbClr val="161C1C"/>
                </a:solidFill>
                <a:latin typeface="Calibri" pitchFamily="34" charset="0"/>
                <a:ea typeface="ヒラギノ角ゴ Pro W3" pitchFamily="1" charset="-128"/>
                <a:cs typeface="Calibri" panose="020F0502020204030204" pitchFamily="34" charset="0"/>
              </a:rPr>
              <a:t> TL olup destek oranı </a:t>
            </a:r>
            <a:r>
              <a:rPr lang="tr-TR" sz="1807" b="1" dirty="0">
                <a:solidFill>
                  <a:srgbClr val="161C1C"/>
                </a:solidFill>
                <a:latin typeface="Calibri" pitchFamily="34" charset="0"/>
                <a:ea typeface="ヒラギノ角ゴ Pro W3" pitchFamily="1" charset="-128"/>
                <a:cs typeface="Calibri" panose="020F0502020204030204" pitchFamily="34" charset="0"/>
              </a:rPr>
              <a:t>%60</a:t>
            </a:r>
            <a:r>
              <a:rPr lang="tr-TR" sz="1807" dirty="0">
                <a:solidFill>
                  <a:srgbClr val="161C1C"/>
                </a:solidFill>
                <a:latin typeface="Calibri" pitchFamily="34" charset="0"/>
                <a:ea typeface="ヒラギノ角ゴ Pro W3" pitchFamily="1" charset="-128"/>
                <a:cs typeface="Calibri" panose="020F0502020204030204" pitchFamily="34" charset="0"/>
              </a:rPr>
              <a:t>’tır. İstihdam edilecek elemanın yeni mezun, kadın, engelli, birinci derece şehit yakını veya gazi olması halinde destek oranına </a:t>
            </a:r>
            <a:r>
              <a:rPr lang="tr-TR" sz="1807" b="1" dirty="0">
                <a:solidFill>
                  <a:srgbClr val="161C1C"/>
                </a:solidFill>
                <a:latin typeface="Calibri" pitchFamily="34" charset="0"/>
                <a:ea typeface="ヒラギノ角ゴ Pro W3" pitchFamily="1" charset="-128"/>
                <a:cs typeface="Calibri" panose="020F0502020204030204" pitchFamily="34" charset="0"/>
              </a:rPr>
              <a:t>%20 </a:t>
            </a:r>
            <a:r>
              <a:rPr lang="tr-TR" sz="1807" dirty="0">
                <a:solidFill>
                  <a:srgbClr val="161C1C"/>
                </a:solidFill>
                <a:latin typeface="Calibri" pitchFamily="34" charset="0"/>
                <a:ea typeface="ヒラギノ角ゴ Pro W3" pitchFamily="1" charset="-128"/>
                <a:cs typeface="Calibri" panose="020F0502020204030204" pitchFamily="34" charset="0"/>
              </a:rPr>
              <a:t>ilave edilir. </a:t>
            </a:r>
            <a:endParaRPr lang="tr-TR" sz="1807" dirty="0">
              <a:solidFill>
                <a:prstClr val="black"/>
              </a:solidFill>
              <a:latin typeface="Calibri" pitchFamily="34" charset="0"/>
              <a:ea typeface="ヒラギノ角ゴ Pro W3" pitchFamily="1" charset="-128"/>
              <a:cs typeface="Calibri" panose="020F0502020204030204" pitchFamily="34" charset="0"/>
            </a:endParaRPr>
          </a:p>
        </p:txBody>
      </p:sp>
      <p:sp>
        <p:nvSpPr>
          <p:cNvPr id="3" name="Dikdörtgen 2"/>
          <p:cNvSpPr/>
          <p:nvPr/>
        </p:nvSpPr>
        <p:spPr>
          <a:xfrm>
            <a:off x="403423" y="5597675"/>
            <a:ext cx="11522294" cy="412385"/>
          </a:xfrm>
          <a:prstGeom prst="rect">
            <a:avLst/>
          </a:prstGeom>
        </p:spPr>
        <p:txBody>
          <a:bodyPr wrap="square">
            <a:spAutoFit/>
          </a:bodyPr>
          <a:lstStyle/>
          <a:p>
            <a:pPr algn="just" defTabSz="917783" fontAlgn="base">
              <a:lnSpc>
                <a:spcPct val="115000"/>
              </a:lnSpc>
              <a:spcBef>
                <a:spcPct val="0"/>
              </a:spcBef>
              <a:spcAft>
                <a:spcPts val="1004"/>
              </a:spcAft>
            </a:pPr>
            <a:r>
              <a:rPr lang="tr-TR" sz="1807" dirty="0">
                <a:solidFill>
                  <a:srgbClr val="161C1C"/>
                </a:solidFill>
                <a:latin typeface="Calibri" pitchFamily="34" charset="0"/>
                <a:ea typeface="ヒラギノ角ゴ Pro W3" pitchFamily="1" charset="-128"/>
                <a:cs typeface="Calibri" panose="020F0502020204030204" pitchFamily="34" charset="0"/>
              </a:rPr>
              <a:t>Teknoparklarda faaliyet gösteren işletmeler ile Ar-Ge merkezleri ve tasarım merkezleri için desteğin üst limiti </a:t>
            </a:r>
            <a:r>
              <a:rPr lang="tr-TR" sz="1807" b="1" dirty="0">
                <a:solidFill>
                  <a:srgbClr val="161C1C"/>
                </a:solidFill>
                <a:latin typeface="Calibri" pitchFamily="34" charset="0"/>
                <a:ea typeface="ヒラギノ角ゴ Pro W3" pitchFamily="1" charset="-128"/>
                <a:cs typeface="Calibri" panose="020F0502020204030204" pitchFamily="34" charset="0"/>
              </a:rPr>
              <a:t>75.000</a:t>
            </a:r>
            <a:r>
              <a:rPr lang="tr-TR" sz="1807" dirty="0">
                <a:solidFill>
                  <a:srgbClr val="161C1C"/>
                </a:solidFill>
                <a:latin typeface="Calibri" pitchFamily="34" charset="0"/>
                <a:ea typeface="ヒラギノ角ゴ Pro W3" pitchFamily="1" charset="-128"/>
                <a:cs typeface="Calibri" panose="020F0502020204030204" pitchFamily="34" charset="0"/>
              </a:rPr>
              <a:t> TL’dir</a:t>
            </a:r>
            <a:r>
              <a:rPr lang="tr-TR" sz="1807" dirty="0">
                <a:solidFill>
                  <a:srgbClr val="161C1C"/>
                </a:solidFill>
                <a:latin typeface="Calibri" pitchFamily="34" charset="0"/>
                <a:ea typeface="ヒラギノ角ゴ Pro W3" pitchFamily="1" charset="-128"/>
                <a:cs typeface="Calibri" panose="020F0502020204030204" pitchFamily="34" charset="0"/>
                <a:hlinkClick r:id="rId4" action="ppaction://hlinkfile"/>
              </a:rPr>
              <a:t>.</a:t>
            </a:r>
            <a:r>
              <a:rPr lang="tr-TR" sz="1807" dirty="0">
                <a:solidFill>
                  <a:srgbClr val="161C1C"/>
                </a:solidFill>
                <a:latin typeface="Calibri" pitchFamily="34" charset="0"/>
                <a:ea typeface="ヒラギノ角ゴ Pro W3" pitchFamily="1" charset="-128"/>
                <a:cs typeface="Calibri" panose="020F0502020204030204" pitchFamily="34" charset="0"/>
              </a:rPr>
              <a:t> </a:t>
            </a:r>
          </a:p>
        </p:txBody>
      </p:sp>
    </p:spTree>
    <p:extLst>
      <p:ext uri="{BB962C8B-B14F-4D97-AF65-F5344CB8AC3E}">
        <p14:creationId xmlns:p14="http://schemas.microsoft.com/office/powerpoint/2010/main" val="2300427034"/>
      </p:ext>
    </p:extLst>
  </p:cSld>
  <p:clrMapOvr>
    <a:masterClrMapping/>
  </p:clrMapOvr>
  <p:transition spd="slow">
    <p:push dir="u"/>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7 Metin kutusu"/>
          <p:cNvSpPr txBox="1">
            <a:spLocks noChangeArrowheads="1"/>
          </p:cNvSpPr>
          <p:nvPr/>
        </p:nvSpPr>
        <p:spPr bwMode="auto">
          <a:xfrm>
            <a:off x="2071254" y="249055"/>
            <a:ext cx="7688134" cy="4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ase" hangingPunct="1">
              <a:spcBef>
                <a:spcPct val="0"/>
              </a:spcBef>
              <a:spcAft>
                <a:spcPct val="0"/>
              </a:spcAft>
            </a:pPr>
            <a:r>
              <a:rPr lang="tr-TR" altLang="tr-TR" sz="2400" b="1" dirty="0">
                <a:solidFill>
                  <a:srgbClr val="00A6E6"/>
                </a:solidFill>
                <a:latin typeface="Calibri" panose="020F0502020204030204" pitchFamily="34" charset="0"/>
                <a:ea typeface="ヒラギノ角ゴ Pro W3" pitchFamily="1" charset="-128"/>
                <a:cs typeface="Calibri" panose="020F0502020204030204" pitchFamily="34" charset="0"/>
              </a:rPr>
              <a:t>TASARIM DESTEĞİ </a:t>
            </a:r>
          </a:p>
        </p:txBody>
      </p:sp>
      <p:pic>
        <p:nvPicPr>
          <p:cNvPr id="46084" name="Picture 6" descr="C:\Users\yildiz.sapmaz\Desktop\imagesCAYELVA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15578" y="1781938"/>
            <a:ext cx="3476422" cy="3196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ikdörtgen 2"/>
          <p:cNvSpPr/>
          <p:nvPr/>
        </p:nvSpPr>
        <p:spPr>
          <a:xfrm>
            <a:off x="97466" y="1354212"/>
            <a:ext cx="9133423" cy="3119918"/>
          </a:xfrm>
          <a:prstGeom prst="rect">
            <a:avLst/>
          </a:prstGeom>
        </p:spPr>
        <p:txBody>
          <a:bodyPr wrap="square">
            <a:spAutoFit/>
          </a:bodyPr>
          <a:lstStyle/>
          <a:p>
            <a:pPr marL="363289" algn="just" defTabSz="917783" fontAlgn="b">
              <a:spcBef>
                <a:spcPts val="602"/>
              </a:spcBef>
              <a:defRPr/>
            </a:pPr>
            <a:r>
              <a:rPr lang="tr-TR" sz="1907" dirty="0">
                <a:solidFill>
                  <a:prstClr val="black">
                    <a:lumMod val="50000"/>
                  </a:prstClr>
                </a:solidFill>
                <a:latin typeface="Calibri" pitchFamily="34" charset="0"/>
                <a:ea typeface="ヒラギノ角ゴ Pro W3" pitchFamily="1" charset="-128"/>
                <a:cs typeface="Calibri" panose="020F0502020204030204" pitchFamily="34" charset="0"/>
              </a:rPr>
              <a:t> </a:t>
            </a:r>
            <a:r>
              <a:rPr lang="tr-TR" sz="1907" dirty="0">
                <a:solidFill>
                  <a:srgbClr val="020202"/>
                </a:solidFill>
                <a:latin typeface="Calibri" pitchFamily="34" charset="0"/>
                <a:ea typeface="ヒラギノ角ゴ Pro W3" pitchFamily="1" charset="-128"/>
                <a:cs typeface="Calibri" panose="020F0502020204030204" pitchFamily="34" charset="0"/>
              </a:rPr>
              <a:t>İşletmelerin; </a:t>
            </a:r>
          </a:p>
          <a:p>
            <a:pPr marL="936904" indent="-286807" algn="just" defTabSz="917783" fontAlgn="b">
              <a:spcBef>
                <a:spcPts val="602"/>
              </a:spcBef>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 Endüstriyel Tasarımcılar Meslek Kuruluşu Derneği, Grafikerler Meslek Kuruluşu Derneği,  Moda Tasarımcıları Derneği ve İç Mimarlar Odası üyeleri ile üyelerinin; sahibi, ortağı veya çalışanı olduğu firmalardan,</a:t>
            </a:r>
          </a:p>
          <a:p>
            <a:pPr marL="936904" indent="-286807" algn="just" defTabSz="917783" fontAlgn="b">
              <a:spcBef>
                <a:spcPts val="602"/>
              </a:spcBef>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 Üniversitelerden, </a:t>
            </a:r>
          </a:p>
          <a:p>
            <a:pPr marL="936904" indent="-286807" algn="just" defTabSz="917783" fontAlgn="b">
              <a:spcBef>
                <a:spcPts val="602"/>
              </a:spcBef>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 </a:t>
            </a:r>
            <a:r>
              <a:rPr lang="tr-TR" sz="1907" dirty="0" err="1">
                <a:solidFill>
                  <a:srgbClr val="020202"/>
                </a:solidFill>
                <a:latin typeface="Calibri" pitchFamily="34" charset="0"/>
                <a:ea typeface="ヒラギノ角ゴ Pro W3" pitchFamily="1" charset="-128"/>
                <a:cs typeface="Calibri" panose="020F0502020204030204" pitchFamily="34" charset="0"/>
              </a:rPr>
              <a:t>GETHAM’dan</a:t>
            </a:r>
            <a:r>
              <a:rPr lang="tr-TR" sz="1907" dirty="0">
                <a:solidFill>
                  <a:srgbClr val="020202"/>
                </a:solidFill>
                <a:latin typeface="Calibri" pitchFamily="34" charset="0"/>
                <a:ea typeface="ヒラギノ角ゴ Pro W3" pitchFamily="1" charset="-128"/>
                <a:cs typeface="Calibri" panose="020F0502020204030204" pitchFamily="34" charset="0"/>
              </a:rPr>
              <a:t> ve </a:t>
            </a:r>
          </a:p>
          <a:p>
            <a:pPr marL="936904" indent="-286807" algn="just" defTabSz="917783" fontAlgn="b">
              <a:spcBef>
                <a:spcPts val="602"/>
              </a:spcBef>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 28/2/2008 tarihli ve 5746 sayılı Araştırma, Geliştirme ve Tasarım Faaliyetlerinin Desteklenmesi Hakkında Kanun kapsamındaki tasarım merkezlerinden </a:t>
            </a:r>
          </a:p>
          <a:p>
            <a:pPr marL="650096" algn="just" defTabSz="917783" fontAlgn="b">
              <a:spcBef>
                <a:spcPts val="602"/>
              </a:spcBef>
              <a:defRPr/>
            </a:pPr>
            <a:r>
              <a:rPr lang="tr-TR" sz="1907" b="1" dirty="0">
                <a:solidFill>
                  <a:srgbClr val="020202"/>
                </a:solidFill>
                <a:latin typeface="Calibri" pitchFamily="34" charset="0"/>
                <a:ea typeface="ヒラギノ角ゴ Pro W3" pitchFamily="1" charset="-128"/>
                <a:cs typeface="Calibri" panose="020F0502020204030204" pitchFamily="34" charset="0"/>
              </a:rPr>
              <a:t>ürün tasarımına </a:t>
            </a:r>
            <a:r>
              <a:rPr lang="tr-TR" sz="1907" dirty="0">
                <a:solidFill>
                  <a:srgbClr val="020202"/>
                </a:solidFill>
                <a:latin typeface="Calibri" pitchFamily="34" charset="0"/>
                <a:ea typeface="ヒラギノ角ゴ Pro W3" pitchFamily="1" charset="-128"/>
                <a:cs typeface="Calibri" panose="020F0502020204030204" pitchFamily="34" charset="0"/>
              </a:rPr>
              <a:t>yönelik hizmet alımlarına destek verilir. </a:t>
            </a:r>
          </a:p>
        </p:txBody>
      </p:sp>
      <p:sp>
        <p:nvSpPr>
          <p:cNvPr id="5" name="Dikdörtgen 4"/>
          <p:cNvSpPr/>
          <p:nvPr/>
        </p:nvSpPr>
        <p:spPr>
          <a:xfrm>
            <a:off x="97466" y="4657616"/>
            <a:ext cx="11635710" cy="1559959"/>
          </a:xfrm>
          <a:prstGeom prst="rect">
            <a:avLst/>
          </a:prstGeom>
        </p:spPr>
        <p:txBody>
          <a:bodyPr wrap="square">
            <a:spAutoFit/>
          </a:bodyPr>
          <a:lstStyle/>
          <a:p>
            <a:pPr marL="363289" algn="just" defTabSz="917783" fontAlgn="b">
              <a:lnSpc>
                <a:spcPct val="150000"/>
              </a:lnSpc>
            </a:pPr>
            <a:r>
              <a:rPr lang="tr-TR" sz="1907" dirty="0">
                <a:solidFill>
                  <a:prstClr val="black">
                    <a:lumMod val="50000"/>
                  </a:prstClr>
                </a:solidFill>
                <a:latin typeface="Calibri" pitchFamily="34" charset="0"/>
                <a:ea typeface="ヒラギノ角ゴ Pro W3" pitchFamily="1" charset="-128"/>
                <a:cs typeface="Calibri" panose="020F0502020204030204" pitchFamily="34" charset="0"/>
              </a:rPr>
              <a:t>Her bir ürün tasarımı için destek üst limiti </a:t>
            </a:r>
            <a:r>
              <a:rPr lang="tr-TR" sz="1907" b="1" dirty="0">
                <a:solidFill>
                  <a:prstClr val="black">
                    <a:lumMod val="50000"/>
                  </a:prstClr>
                </a:solidFill>
                <a:latin typeface="Calibri" pitchFamily="34" charset="0"/>
                <a:ea typeface="ヒラギノ角ゴ Pro W3" pitchFamily="1" charset="-128"/>
                <a:cs typeface="Calibri" panose="020F0502020204030204" pitchFamily="34" charset="0"/>
              </a:rPr>
              <a:t>2.000</a:t>
            </a:r>
            <a:r>
              <a:rPr lang="tr-TR" sz="1907" dirty="0">
                <a:solidFill>
                  <a:prstClr val="black">
                    <a:lumMod val="50000"/>
                  </a:prstClr>
                </a:solidFill>
                <a:latin typeface="Calibri" pitchFamily="34" charset="0"/>
                <a:ea typeface="ヒラギノ角ゴ Pro W3" pitchFamily="1" charset="-128"/>
                <a:cs typeface="Calibri" panose="020F0502020204030204" pitchFamily="34" charset="0"/>
              </a:rPr>
              <a:t> TL’dir. </a:t>
            </a:r>
          </a:p>
          <a:p>
            <a:pPr marL="363289" algn="just" defTabSz="917783" fontAlgn="b"/>
            <a:r>
              <a:rPr lang="tr-TR" sz="1907" dirty="0">
                <a:solidFill>
                  <a:prstClr val="black">
                    <a:lumMod val="50000"/>
                  </a:prstClr>
                </a:solidFill>
                <a:latin typeface="Calibri" pitchFamily="34" charset="0"/>
                <a:ea typeface="ヒラギノ角ゴ Pro W3" pitchFamily="1" charset="-128"/>
                <a:cs typeface="Calibri" panose="020F0502020204030204" pitchFamily="34" charset="0"/>
              </a:rPr>
              <a:t>Ürün tasarımının Patent Belgesi, Faydalı Model Belgesi, Endüstriyel Tasarım Tescil Belgesi veya Entegre Devre Topografyaları Tescil Belgesi alımı ile sonuçlanmış olması halinde destek üst limiti </a:t>
            </a:r>
            <a:r>
              <a:rPr lang="tr-TR" sz="1907" b="1" dirty="0">
                <a:solidFill>
                  <a:prstClr val="black">
                    <a:lumMod val="50000"/>
                  </a:prstClr>
                </a:solidFill>
                <a:latin typeface="Calibri" pitchFamily="34" charset="0"/>
                <a:ea typeface="ヒラギノ角ゴ Pro W3" pitchFamily="1" charset="-128"/>
                <a:cs typeface="Calibri" panose="020F0502020204030204" pitchFamily="34" charset="0"/>
              </a:rPr>
              <a:t>10.000</a:t>
            </a:r>
            <a:r>
              <a:rPr lang="tr-TR" sz="1907" dirty="0">
                <a:solidFill>
                  <a:prstClr val="black">
                    <a:lumMod val="50000"/>
                  </a:prstClr>
                </a:solidFill>
                <a:latin typeface="Calibri" pitchFamily="34" charset="0"/>
                <a:ea typeface="ヒラギノ角ゴ Pro W3" pitchFamily="1" charset="-128"/>
                <a:cs typeface="Calibri" panose="020F0502020204030204" pitchFamily="34" charset="0"/>
              </a:rPr>
              <a:t>  TL’dir.</a:t>
            </a:r>
          </a:p>
          <a:p>
            <a:pPr marL="363289" algn="just" defTabSz="917783" fontAlgn="b">
              <a:lnSpc>
                <a:spcPct val="150000"/>
              </a:lnSpc>
            </a:pPr>
            <a:r>
              <a:rPr lang="tr-TR" sz="1907" dirty="0">
                <a:solidFill>
                  <a:prstClr val="black">
                    <a:lumMod val="50000"/>
                  </a:prstClr>
                </a:solidFill>
                <a:latin typeface="Calibri" pitchFamily="34" charset="0"/>
                <a:ea typeface="ヒラギノ角ゴ Pro W3" pitchFamily="1" charset="-128"/>
                <a:cs typeface="Calibri" panose="020F0502020204030204" pitchFamily="34" charset="0"/>
              </a:rPr>
              <a:t>Desteğinin üst limiti </a:t>
            </a:r>
            <a:r>
              <a:rPr lang="tr-TR" sz="1907" b="1" dirty="0">
                <a:solidFill>
                  <a:prstClr val="black">
                    <a:lumMod val="50000"/>
                  </a:prstClr>
                </a:solidFill>
                <a:latin typeface="Calibri" pitchFamily="34" charset="0"/>
                <a:ea typeface="ヒラギノ角ゴ Pro W3" pitchFamily="1" charset="-128"/>
                <a:cs typeface="Calibri" panose="020F0502020204030204" pitchFamily="34" charset="0"/>
              </a:rPr>
              <a:t>50.000 TL</a:t>
            </a:r>
            <a:r>
              <a:rPr lang="tr-TR" sz="1907" b="1" dirty="0">
                <a:solidFill>
                  <a:srgbClr val="020202"/>
                </a:solidFill>
                <a:latin typeface="Calibri" pitchFamily="34" charset="0"/>
                <a:ea typeface="ヒラギノ角ゴ Pro W3" pitchFamily="1" charset="-128"/>
                <a:cs typeface="Calibri" panose="020F0502020204030204" pitchFamily="34" charset="0"/>
              </a:rPr>
              <a:t> </a:t>
            </a:r>
            <a:r>
              <a:rPr lang="tr-TR" sz="1907" dirty="0">
                <a:solidFill>
                  <a:srgbClr val="020202"/>
                </a:solidFill>
                <a:latin typeface="Calibri" pitchFamily="34" charset="0"/>
                <a:ea typeface="ヒラギノ角ゴ Pro W3" pitchFamily="1" charset="-128"/>
                <a:cs typeface="Calibri" panose="020F0502020204030204" pitchFamily="34" charset="0"/>
              </a:rPr>
              <a:t>olup destek oranı </a:t>
            </a:r>
            <a:r>
              <a:rPr lang="tr-TR" sz="1907" b="1" dirty="0">
                <a:solidFill>
                  <a:srgbClr val="020202"/>
                </a:solidFill>
                <a:latin typeface="Calibri" pitchFamily="34" charset="0"/>
                <a:ea typeface="ヒラギノ角ゴ Pro W3" pitchFamily="1" charset="-128"/>
                <a:cs typeface="Calibri" panose="020F0502020204030204" pitchFamily="34" charset="0"/>
              </a:rPr>
              <a:t>%60</a:t>
            </a:r>
            <a:r>
              <a:rPr lang="tr-TR" sz="1907" dirty="0">
                <a:solidFill>
                  <a:srgbClr val="020202"/>
                </a:solidFill>
                <a:latin typeface="Calibri" pitchFamily="34" charset="0"/>
                <a:ea typeface="ヒラギノ角ゴ Pro W3" pitchFamily="1" charset="-128"/>
                <a:cs typeface="Calibri" panose="020F0502020204030204" pitchFamily="34" charset="0"/>
              </a:rPr>
              <a:t>’dır.</a:t>
            </a:r>
          </a:p>
        </p:txBody>
      </p:sp>
    </p:spTree>
    <p:extLst>
      <p:ext uri="{BB962C8B-B14F-4D97-AF65-F5344CB8AC3E}">
        <p14:creationId xmlns:p14="http://schemas.microsoft.com/office/powerpoint/2010/main" val="1523285773"/>
      </p:ext>
    </p:extLst>
  </p:cSld>
  <p:clrMapOvr>
    <a:masterClrMapping/>
  </p:clrMapOvr>
  <p:transition spd="slow">
    <p:push dir="u"/>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7 Metin kutusu"/>
          <p:cNvSpPr txBox="1">
            <a:spLocks noChangeArrowheads="1"/>
          </p:cNvSpPr>
          <p:nvPr/>
        </p:nvSpPr>
        <p:spPr bwMode="auto">
          <a:xfrm>
            <a:off x="2552905" y="423085"/>
            <a:ext cx="7688134" cy="4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7783" eaLnBrk="1" fontAlgn="base" hangingPunct="1">
              <a:spcBef>
                <a:spcPct val="0"/>
              </a:spcBef>
              <a:spcAft>
                <a:spcPct val="0"/>
              </a:spcAft>
            </a:pPr>
            <a:r>
              <a:rPr lang="tr-TR" altLang="tr-TR" sz="2400" b="1" dirty="0">
                <a:solidFill>
                  <a:srgbClr val="00A6E6"/>
                </a:solidFill>
                <a:latin typeface="Calibri" panose="020F0502020204030204" pitchFamily="34" charset="0"/>
                <a:ea typeface="ヒラギノ角ゴ Pro W3" pitchFamily="1" charset="-128"/>
                <a:cs typeface="Calibri" panose="020F0502020204030204" pitchFamily="34" charset="0"/>
              </a:rPr>
              <a:t>SINAİ MÜLKİYET HAKLARI DESTEĞİ </a:t>
            </a:r>
          </a:p>
        </p:txBody>
      </p:sp>
      <p:sp>
        <p:nvSpPr>
          <p:cNvPr id="2" name="İçerik Yer Tutucusu 1"/>
          <p:cNvSpPr>
            <a:spLocks noGrp="1"/>
          </p:cNvSpPr>
          <p:nvPr>
            <p:ph idx="1"/>
          </p:nvPr>
        </p:nvSpPr>
        <p:spPr>
          <a:xfrm>
            <a:off x="452836" y="1188584"/>
            <a:ext cx="6718811" cy="3167572"/>
          </a:xfrm>
        </p:spPr>
        <p:txBody>
          <a:bodyPr>
            <a:normAutofit/>
          </a:bodyPr>
          <a:lstStyle/>
          <a:p>
            <a:pPr marL="0" indent="0">
              <a:lnSpc>
                <a:spcPct val="110000"/>
              </a:lnSpc>
              <a:spcBef>
                <a:spcPts val="602"/>
              </a:spcBef>
              <a:buNone/>
              <a:defRPr/>
            </a:pPr>
            <a:r>
              <a:rPr lang="tr-TR" sz="1907" dirty="0">
                <a:latin typeface="Calibri" panose="020F0502020204030204" pitchFamily="34" charset="0"/>
                <a:cs typeface="Calibri" panose="020F0502020204030204" pitchFamily="34" charset="0"/>
              </a:rPr>
              <a:t>İşletmelerin; </a:t>
            </a:r>
            <a:r>
              <a:rPr lang="tr-TR" sz="1907" dirty="0">
                <a:solidFill>
                  <a:srgbClr val="020202"/>
                </a:solidFill>
                <a:latin typeface="Calibri" pitchFamily="34" charset="0"/>
                <a:ea typeface="ヒラギノ角ゴ Pro W3" pitchFamily="1" charset="-128"/>
                <a:cs typeface="Calibri" panose="020F0502020204030204" pitchFamily="34" charset="0"/>
              </a:rPr>
              <a:t> Türk Patent ve Marka Kurumu (TÜRKPATENT) veya muadili  yurt dışı kurum/kuruluşlardan;</a:t>
            </a:r>
          </a:p>
          <a:p>
            <a:pPr>
              <a:lnSpc>
                <a:spcPct val="110000"/>
              </a:lnSpc>
              <a:spcBef>
                <a:spcPts val="602"/>
              </a:spcBef>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Patent</a:t>
            </a:r>
          </a:p>
          <a:p>
            <a:pPr>
              <a:lnSpc>
                <a:spcPct val="110000"/>
              </a:lnSpc>
              <a:spcBef>
                <a:spcPts val="602"/>
              </a:spcBef>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Faydalı model belgesi</a:t>
            </a:r>
          </a:p>
          <a:p>
            <a:pPr>
              <a:lnSpc>
                <a:spcPct val="110000"/>
              </a:lnSpc>
              <a:spcBef>
                <a:spcPts val="602"/>
              </a:spcBef>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Endüstriyel tasarım tescili belgesi </a:t>
            </a:r>
          </a:p>
          <a:p>
            <a:pPr>
              <a:lnSpc>
                <a:spcPct val="110000"/>
              </a:lnSpc>
              <a:spcBef>
                <a:spcPts val="602"/>
              </a:spcBef>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Entegre devre topografyaları tescil belgesi için yaptığı giderler</a:t>
            </a:r>
          </a:p>
          <a:p>
            <a:pPr>
              <a:lnSpc>
                <a:spcPct val="110000"/>
              </a:lnSpc>
              <a:spcBef>
                <a:spcPts val="602"/>
              </a:spcBef>
              <a:buFont typeface="Wingdings" panose="05000000000000000000" pitchFamily="2" charset="2"/>
              <a:buChar char="ü"/>
              <a:defRPr/>
            </a:pPr>
            <a:r>
              <a:rPr lang="tr-TR" sz="1907" dirty="0">
                <a:solidFill>
                  <a:srgbClr val="020202"/>
                </a:solidFill>
                <a:latin typeface="Calibri" pitchFamily="34" charset="0"/>
                <a:ea typeface="ヒラギノ角ゴ Pro W3" pitchFamily="1" charset="-128"/>
                <a:cs typeface="Calibri" panose="020F0502020204030204" pitchFamily="34" charset="0"/>
              </a:rPr>
              <a:t>Patent ve Marka vekili giderleri desteklenir.</a:t>
            </a:r>
          </a:p>
          <a:p>
            <a:pPr>
              <a:lnSpc>
                <a:spcPct val="110000"/>
              </a:lnSpc>
              <a:spcBef>
                <a:spcPts val="602"/>
              </a:spcBef>
              <a:defRPr/>
            </a:pPr>
            <a:endParaRPr lang="tr-TR" sz="1907" dirty="0">
              <a:latin typeface="Calibri" panose="020F0502020204030204" pitchFamily="34" charset="0"/>
              <a:cs typeface="Calibri" panose="020F0502020204030204" pitchFamily="34" charset="0"/>
            </a:endParaRPr>
          </a:p>
        </p:txBody>
      </p:sp>
      <p:pic>
        <p:nvPicPr>
          <p:cNvPr id="49156" name="Picture 5" descr="C:\Users\yildiz.sapmaz\Desktop\imagesCAG4T2QZ.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89641" y="737707"/>
            <a:ext cx="3504997" cy="3196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Dikdörtgen 3"/>
          <p:cNvSpPr/>
          <p:nvPr/>
        </p:nvSpPr>
        <p:spPr>
          <a:xfrm>
            <a:off x="-21882" y="3962616"/>
            <a:ext cx="12213882" cy="1853416"/>
          </a:xfrm>
          <a:prstGeom prst="rect">
            <a:avLst/>
          </a:prstGeom>
        </p:spPr>
        <p:txBody>
          <a:bodyPr wrap="square">
            <a:spAutoFit/>
          </a:bodyPr>
          <a:lstStyle/>
          <a:p>
            <a:pPr marL="363289" algn="just" defTabSz="917783" fontAlgn="base">
              <a:lnSpc>
                <a:spcPct val="150000"/>
              </a:lnSpc>
              <a:spcAft>
                <a:spcPct val="0"/>
              </a:spcAft>
              <a:defRPr/>
            </a:pPr>
            <a:r>
              <a:rPr lang="tr-TR" sz="1907" dirty="0" err="1">
                <a:solidFill>
                  <a:srgbClr val="020202"/>
                </a:solidFill>
                <a:latin typeface="Calibri" pitchFamily="34" charset="0"/>
                <a:ea typeface="ヒラギノ角ゴ Pro W3" pitchFamily="1" charset="-128"/>
                <a:cs typeface="Calibri" panose="020F0502020204030204" pitchFamily="34" charset="0"/>
              </a:rPr>
              <a:t>TÜRKPATENT’ten</a:t>
            </a:r>
            <a:r>
              <a:rPr lang="tr-TR" sz="1907" dirty="0">
                <a:solidFill>
                  <a:srgbClr val="020202"/>
                </a:solidFill>
                <a:latin typeface="Calibri" pitchFamily="34" charset="0"/>
                <a:ea typeface="ヒラギノ角ゴ Pro W3" pitchFamily="1" charset="-128"/>
                <a:cs typeface="Calibri" panose="020F0502020204030204" pitchFamily="34" charset="0"/>
              </a:rPr>
              <a:t> alınacak her bir belge için destek üst limiti </a:t>
            </a:r>
            <a:r>
              <a:rPr lang="tr-TR" sz="1907" b="1" dirty="0">
                <a:solidFill>
                  <a:srgbClr val="020202"/>
                </a:solidFill>
                <a:latin typeface="Calibri" pitchFamily="34" charset="0"/>
                <a:ea typeface="ヒラギノ角ゴ Pro W3" pitchFamily="1" charset="-128"/>
                <a:cs typeface="Calibri" panose="020F0502020204030204" pitchFamily="34" charset="0"/>
              </a:rPr>
              <a:t>5.000 TL</a:t>
            </a:r>
            <a:r>
              <a:rPr lang="tr-TR" sz="1907" dirty="0">
                <a:solidFill>
                  <a:srgbClr val="020202"/>
                </a:solidFill>
                <a:latin typeface="Calibri" pitchFamily="34" charset="0"/>
                <a:ea typeface="ヒラギノ角ゴ Pro W3" pitchFamily="1" charset="-128"/>
                <a:cs typeface="Calibri" panose="020F0502020204030204" pitchFamily="34" charset="0"/>
              </a:rPr>
              <a:t>, </a:t>
            </a:r>
          </a:p>
          <a:p>
            <a:pPr marL="363289" algn="just" defTabSz="917783" fontAlgn="base">
              <a:lnSpc>
                <a:spcPct val="150000"/>
              </a:lnSpc>
              <a:spcAft>
                <a:spcPct val="0"/>
              </a:spcAft>
              <a:defRPr/>
            </a:pPr>
            <a:r>
              <a:rPr lang="tr-TR" sz="1907" dirty="0">
                <a:solidFill>
                  <a:srgbClr val="020202"/>
                </a:solidFill>
                <a:latin typeface="Calibri" pitchFamily="34" charset="0"/>
                <a:ea typeface="ヒラギノ角ゴ Pro W3" pitchFamily="1" charset="-128"/>
                <a:cs typeface="Calibri" panose="020F0502020204030204" pitchFamily="34" charset="0"/>
              </a:rPr>
              <a:t>TÜRKPATENT muadili yurt dışı kurum/kuruluşlardan alınacak her bir belge için destek üst limiti </a:t>
            </a:r>
            <a:r>
              <a:rPr lang="tr-TR" sz="1907" b="1" dirty="0">
                <a:solidFill>
                  <a:srgbClr val="020202"/>
                </a:solidFill>
                <a:latin typeface="Calibri" pitchFamily="34" charset="0"/>
                <a:ea typeface="ヒラギノ角ゴ Pro W3" pitchFamily="1" charset="-128"/>
                <a:cs typeface="Calibri" panose="020F0502020204030204" pitchFamily="34" charset="0"/>
              </a:rPr>
              <a:t>10.000 TL’dir</a:t>
            </a:r>
            <a:r>
              <a:rPr lang="tr-TR" sz="1907" dirty="0">
                <a:solidFill>
                  <a:srgbClr val="020202"/>
                </a:solidFill>
                <a:latin typeface="Calibri" pitchFamily="34" charset="0"/>
                <a:ea typeface="ヒラギノ角ゴ Pro W3" pitchFamily="1" charset="-128"/>
                <a:cs typeface="Calibri" panose="020F0502020204030204" pitchFamily="34" charset="0"/>
              </a:rPr>
              <a:t>.  </a:t>
            </a:r>
          </a:p>
          <a:p>
            <a:pPr marL="363289" algn="just" defTabSz="917783" fontAlgn="base">
              <a:lnSpc>
                <a:spcPct val="150000"/>
              </a:lnSpc>
              <a:spcBef>
                <a:spcPct val="0"/>
              </a:spcBef>
              <a:spcAft>
                <a:spcPct val="0"/>
              </a:spcAft>
            </a:pPr>
            <a:r>
              <a:rPr lang="tr-TR" sz="1907" dirty="0">
                <a:solidFill>
                  <a:srgbClr val="020202"/>
                </a:solidFill>
                <a:latin typeface="Calibri" pitchFamily="34" charset="0"/>
                <a:ea typeface="ヒラギノ角ゴ Pro W3" pitchFamily="1" charset="-128"/>
                <a:cs typeface="Calibri" panose="020F0502020204030204" pitchFamily="34" charset="0"/>
              </a:rPr>
              <a:t>Destek oranı </a:t>
            </a:r>
            <a:r>
              <a:rPr lang="tr-TR" sz="1907" b="1" dirty="0">
                <a:solidFill>
                  <a:srgbClr val="020202"/>
                </a:solidFill>
                <a:latin typeface="Calibri" pitchFamily="34" charset="0"/>
                <a:ea typeface="ヒラギノ角ゴ Pro W3" pitchFamily="1" charset="-128"/>
                <a:cs typeface="Calibri" panose="020F0502020204030204" pitchFamily="34" charset="0"/>
              </a:rPr>
              <a:t>%60 </a:t>
            </a:r>
            <a:r>
              <a:rPr lang="tr-TR" sz="1907" dirty="0">
                <a:solidFill>
                  <a:srgbClr val="020202"/>
                </a:solidFill>
                <a:latin typeface="Calibri" pitchFamily="34" charset="0"/>
                <a:ea typeface="ヒラギノ角ゴ Pro W3" pitchFamily="1" charset="-128"/>
                <a:cs typeface="Calibri" panose="020F0502020204030204" pitchFamily="34" charset="0"/>
              </a:rPr>
              <a:t>olup</a:t>
            </a:r>
            <a:r>
              <a:rPr lang="tr-TR" sz="1907" b="1" dirty="0">
                <a:solidFill>
                  <a:srgbClr val="020202"/>
                </a:solidFill>
                <a:latin typeface="Calibri" pitchFamily="34" charset="0"/>
                <a:ea typeface="ヒラギノ角ゴ Pro W3" pitchFamily="1" charset="-128"/>
                <a:cs typeface="Calibri" panose="020F0502020204030204" pitchFamily="34" charset="0"/>
              </a:rPr>
              <a:t> </a:t>
            </a:r>
            <a:r>
              <a:rPr lang="tr-TR" sz="1907" dirty="0" err="1">
                <a:solidFill>
                  <a:srgbClr val="020202"/>
                </a:solidFill>
                <a:latin typeface="Calibri" pitchFamily="34" charset="0"/>
                <a:ea typeface="ヒラギノ角ゴ Pro W3" pitchFamily="1" charset="-128"/>
                <a:cs typeface="Calibri" panose="020F0502020204030204" pitchFamily="34" charset="0"/>
              </a:rPr>
              <a:t>TÜRKPATENT’ten</a:t>
            </a:r>
            <a:r>
              <a:rPr lang="tr-TR" sz="1907" dirty="0">
                <a:solidFill>
                  <a:srgbClr val="020202"/>
                </a:solidFill>
                <a:latin typeface="Calibri" pitchFamily="34" charset="0"/>
                <a:ea typeface="ヒラギノ角ゴ Pro W3" pitchFamily="1" charset="-128"/>
                <a:cs typeface="Calibri" panose="020F0502020204030204" pitchFamily="34" charset="0"/>
              </a:rPr>
              <a:t> alınacak belgeler </a:t>
            </a:r>
            <a:r>
              <a:rPr lang="tr-TR" sz="1907" b="1" dirty="0">
                <a:solidFill>
                  <a:srgbClr val="020202"/>
                </a:solidFill>
                <a:latin typeface="Calibri" pitchFamily="34" charset="0"/>
                <a:ea typeface="ヒラギノ角ゴ Pro W3" pitchFamily="1" charset="-128"/>
                <a:cs typeface="Calibri" panose="020F0502020204030204" pitchFamily="34" charset="0"/>
              </a:rPr>
              <a:t>%80</a:t>
            </a:r>
            <a:r>
              <a:rPr lang="tr-TR" sz="1907" dirty="0">
                <a:solidFill>
                  <a:srgbClr val="020202"/>
                </a:solidFill>
                <a:latin typeface="Calibri" pitchFamily="34" charset="0"/>
                <a:ea typeface="ヒラギノ角ゴ Pro W3" pitchFamily="1" charset="-128"/>
                <a:cs typeface="Calibri" panose="020F0502020204030204" pitchFamily="34" charset="0"/>
              </a:rPr>
              <a:t> oranında desteklenir.  </a:t>
            </a:r>
          </a:p>
          <a:p>
            <a:pPr marL="363289" algn="just" defTabSz="917783" fontAlgn="base">
              <a:lnSpc>
                <a:spcPct val="150000"/>
              </a:lnSpc>
              <a:spcBef>
                <a:spcPct val="0"/>
              </a:spcBef>
              <a:spcAft>
                <a:spcPct val="0"/>
              </a:spcAft>
            </a:pPr>
            <a:r>
              <a:rPr lang="tr-TR" sz="1907" dirty="0">
                <a:solidFill>
                  <a:srgbClr val="020202"/>
                </a:solidFill>
                <a:latin typeface="Calibri" pitchFamily="34" charset="0"/>
                <a:ea typeface="ヒラギノ角ゴ Pro W3" pitchFamily="1" charset="-128"/>
                <a:cs typeface="Calibri" panose="020F0502020204030204" pitchFamily="34" charset="0"/>
              </a:rPr>
              <a:t>Desteğinin üst limiti </a:t>
            </a:r>
            <a:r>
              <a:rPr lang="tr-TR" sz="1907" b="1" dirty="0">
                <a:solidFill>
                  <a:srgbClr val="020202"/>
                </a:solidFill>
                <a:latin typeface="Calibri" pitchFamily="34" charset="0"/>
                <a:ea typeface="ヒラギノ角ゴ Pro W3" pitchFamily="1" charset="-128"/>
                <a:cs typeface="Calibri" panose="020F0502020204030204" pitchFamily="34" charset="0"/>
              </a:rPr>
              <a:t>50.000  TL</a:t>
            </a:r>
            <a:r>
              <a:rPr lang="tr-TR" sz="1907" dirty="0">
                <a:solidFill>
                  <a:srgbClr val="020202"/>
                </a:solidFill>
                <a:latin typeface="Calibri" pitchFamily="34" charset="0"/>
                <a:ea typeface="ヒラギノ角ゴ Pro W3" pitchFamily="1" charset="-128"/>
                <a:cs typeface="Calibri" panose="020F0502020204030204" pitchFamily="34" charset="0"/>
              </a:rPr>
              <a:t>’dir.</a:t>
            </a:r>
          </a:p>
        </p:txBody>
      </p:sp>
    </p:spTree>
    <p:extLst>
      <p:ext uri="{BB962C8B-B14F-4D97-AF65-F5344CB8AC3E}">
        <p14:creationId xmlns:p14="http://schemas.microsoft.com/office/powerpoint/2010/main" val="2315513526"/>
      </p:ext>
    </p:extLst>
  </p:cSld>
  <p:clrMapOvr>
    <a:masterClrMapping/>
  </p:clrMapOvr>
  <p:transition spd="slow">
    <p:push di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Stripes_2"/>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24.xml><?xml version="1.0" encoding="utf-8"?>
<p:tagLst xmlns:a="http://schemas.openxmlformats.org/drawingml/2006/main" xmlns:r="http://schemas.openxmlformats.org/officeDocument/2006/relationships" xmlns:p="http://schemas.openxmlformats.org/presentationml/2006/main">
  <p:tag name="POWER_USER_ID_TEMPLATES" val="Before_after"/>
</p:tagLst>
</file>

<file path=ppt/tags/tag125.xml><?xml version="1.0" encoding="utf-8"?>
<p:tagLst xmlns:a="http://schemas.openxmlformats.org/drawingml/2006/main" xmlns:r="http://schemas.openxmlformats.org/officeDocument/2006/relationships" xmlns:p="http://schemas.openxmlformats.org/presentationml/2006/main">
  <p:tag name="POWER_USER_ID_TEMPLATES" val="Animations_3"/>
</p:tagLst>
</file>

<file path=ppt/tags/tag126.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heck-mark"/>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heck-mark"/>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heck-mark"/>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133.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134.xml><?xml version="1.0" encoding="utf-8"?>
<p:tagLst xmlns:a="http://schemas.openxmlformats.org/drawingml/2006/main" xmlns:r="http://schemas.openxmlformats.org/officeDocument/2006/relationships" xmlns:p="http://schemas.openxmlformats.org/presentationml/2006/main">
  <p:tag name="POWER_USER_ID_TEMPLATES" val="Customer_journey_2"/>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142.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143.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144.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145.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146.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147.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148.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149.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150.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51.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52.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53.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54.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5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7.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5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5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160.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161.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162.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16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6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6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6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6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6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6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17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7.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78.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79.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180.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81.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82.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83.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84.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85.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86.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87.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88.xml><?xml version="1.0" encoding="utf-8"?>
<p:tagLst xmlns:a="http://schemas.openxmlformats.org/drawingml/2006/main" xmlns:r="http://schemas.openxmlformats.org/officeDocument/2006/relationships" xmlns:p="http://schemas.openxmlformats.org/presentationml/2006/main">
  <p:tag name="POWER_USER_ID_TEMPLATES" val="Arrow_3"/>
</p:tagLst>
</file>

<file path=ppt/tags/tag18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190.xml><?xml version="1.0" encoding="utf-8"?>
<p:tagLst xmlns:a="http://schemas.openxmlformats.org/drawingml/2006/main" xmlns:r="http://schemas.openxmlformats.org/officeDocument/2006/relationships" xmlns:p="http://schemas.openxmlformats.org/presentationml/2006/main">
  <p:tag name="POWER_USER_TAGS_ICONS" val="running"/>
</p:tagLst>
</file>

<file path=ppt/tags/tag191.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192.xml><?xml version="1.0" encoding="utf-8"?>
<p:tagLst xmlns:a="http://schemas.openxmlformats.org/drawingml/2006/main" xmlns:r="http://schemas.openxmlformats.org/officeDocument/2006/relationships"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193.xml><?xml version="1.0" encoding="utf-8"?>
<p:tagLst xmlns:a="http://schemas.openxmlformats.org/drawingml/2006/main" xmlns:r="http://schemas.openxmlformats.org/officeDocument/2006/relationships" xmlns:p="http://schemas.openxmlformats.org/presentationml/2006/main">
  <p:tag name="POWER_USER_TAGS_ICONS" val="running"/>
</p:tagLst>
</file>

<file path=ppt/tags/tag194.xml><?xml version="1.0" encoding="utf-8"?>
<p:tagLst xmlns:a="http://schemas.openxmlformats.org/drawingml/2006/main" xmlns:r="http://schemas.openxmlformats.org/officeDocument/2006/relationships" xmlns:p="http://schemas.openxmlformats.org/presentationml/2006/main">
  <p:tag name="POWER_USER_TAGS_ICONS" val="running"/>
</p:tagLst>
</file>

<file path=ppt/tags/tag19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9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9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9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9.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200.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01.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02.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03.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04.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0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06.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07.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08.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09.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2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2.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21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5.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216.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17.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1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19.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220.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21.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22.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23.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24.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25.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26.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2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2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2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23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4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41.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242.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243.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244.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245.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246.xml><?xml version="1.0" encoding="utf-8"?>
<p:tagLst xmlns:a="http://schemas.openxmlformats.org/drawingml/2006/main" xmlns:r="http://schemas.openxmlformats.org/officeDocument/2006/relationships" xmlns:p="http://schemas.openxmlformats.org/presentationml/2006/main">
  <p:tag name="POWER_USER_ID_TEMPLATES" val="Steps_5"/>
</p:tagLst>
</file>

<file path=ppt/tags/tag247.xml><?xml version="1.0" encoding="utf-8"?>
<p:tagLst xmlns:a="http://schemas.openxmlformats.org/drawingml/2006/main" xmlns:r="http://schemas.openxmlformats.org/officeDocument/2006/relationships" xmlns:p="http://schemas.openxmlformats.org/presentationml/2006/main">
  <p:tag name="POWER_USER_ID_TEMPLATES" val="Project_phases_3"/>
</p:tagLst>
</file>

<file path=ppt/tags/tag248.xml><?xml version="1.0" encoding="utf-8"?>
<p:tagLst xmlns:a="http://schemas.openxmlformats.org/drawingml/2006/main" xmlns:r="http://schemas.openxmlformats.org/officeDocument/2006/relationships" xmlns:p="http://schemas.openxmlformats.org/presentationml/2006/main">
  <p:tag name="POWER_USER_TAGS_ICONS" val="forklift_POWER_USER_SEPARATOR_ICONS_factory_POWER_USER_SEPARATOR_ICONS_industry_POWER_USER_SEPARATOR_ICONS_machine_POWER_USER_SEPARATOR_ICONS_worker"/>
</p:tagLst>
</file>

<file path=ppt/tags/tag249.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50.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251.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252.xml><?xml version="1.0" encoding="utf-8"?>
<p:tagLst xmlns:a="http://schemas.openxmlformats.org/drawingml/2006/main" xmlns:r="http://schemas.openxmlformats.org/officeDocument/2006/relationships" xmlns:p="http://schemas.openxmlformats.org/presentationml/2006/main">
  <p:tag name="POWER_USER_TAGS_ICONS" val="brain_POWER_USER_SEPARATOR_ICONS_doctor_POWER_USER_SEPARATOR_ICONS_health_POWER_USER_SEPARATOR_ICONS_hospital"/>
</p:tagLst>
</file>

<file path=ppt/tags/tag253.xml><?xml version="1.0" encoding="utf-8"?>
<p:tagLst xmlns:a="http://schemas.openxmlformats.org/drawingml/2006/main" xmlns:r="http://schemas.openxmlformats.org/officeDocument/2006/relationships" xmlns:p="http://schemas.openxmlformats.org/presentationml/2006/main">
  <p:tag name="POWER_USER_TAGS_ICONS" val="business people"/>
</p:tagLst>
</file>

<file path=ppt/tags/tag254.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255.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256.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257.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258.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259.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60.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261.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262.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263.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264.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65.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66.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67.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68.xml><?xml version="1.0" encoding="utf-8"?>
<p:tagLst xmlns:a="http://schemas.openxmlformats.org/drawingml/2006/main" xmlns:r="http://schemas.openxmlformats.org/officeDocument/2006/relationships" xmlns:p="http://schemas.openxmlformats.org/presentationml/2006/main">
  <p:tag name="POWER_USER_TAGS_ICONS" val="forklift_POWER_USER_SEPARATOR_ICONS_factory_POWER_USER_SEPARATOR_ICONS_industry_POWER_USER_SEPARATOR_ICONS_machine_POWER_USER_SEPARATOR_ICONS_worker"/>
</p:tagLst>
</file>

<file path=ppt/tags/tag269.xml><?xml version="1.0" encoding="utf-8"?>
<p:tagLst xmlns:a="http://schemas.openxmlformats.org/drawingml/2006/main" xmlns:r="http://schemas.openxmlformats.org/officeDocument/2006/relationships" xmlns:p="http://schemas.openxmlformats.org/presentationml/2006/main">
  <p:tag name="POWER_USER_TAGS_ICONS" val="forklift_POWER_USER_SEPARATOR_ICONS_factory_POWER_USER_SEPARATOR_ICONS_industry_POWER_USER_SEPARATOR_ICONS_machine_POWER_USER_SEPARATOR_ICONS_worker"/>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70.xml><?xml version="1.0" encoding="utf-8"?>
<p:tagLst xmlns:a="http://schemas.openxmlformats.org/drawingml/2006/main" xmlns:r="http://schemas.openxmlformats.org/officeDocument/2006/relationships" xmlns:p="http://schemas.openxmlformats.org/presentationml/2006/main">
  <p:tag name="POWER_USER_ID_TEMPLATES" val="Customer_journey_2"/>
</p:tagLst>
</file>

<file path=ppt/tags/tag27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3.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27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7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6.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277.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7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9.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8.xml><?xml version="1.0" encoding="utf-8"?>
<p:tagLst xmlns:a="http://schemas.openxmlformats.org/drawingml/2006/main" xmlns:r="http://schemas.openxmlformats.org/officeDocument/2006/relationships" xmlns:p="http://schemas.openxmlformats.org/presentationml/2006/main">
  <p:tag name="POWER_USER_ID_TEMPLATES" val="Chevrons_with_icons_2"/>
</p:tagLst>
</file>

<file path=ppt/tags/tag280.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81.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82.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83.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84.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8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86.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87.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88.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89.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download_POWER_USER_SEPARATOR_ICONS_cloud_POWER_USER_SEPARATOR_ICONS_cloud-download_POWER_USER_SEPARATOR_ICONS_technology"/>
</p:tagLst>
</file>

<file path=ppt/tags/tag290.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91.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92.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93.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94.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95.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96.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97.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9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99.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00.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301.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302.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303.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30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0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0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0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0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0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download_POWER_USER_SEPARATOR_ICONS_cloud_POWER_USER_SEPARATOR_ICONS_cloud-download_POWER_USER_SEPARATOR_ICONS_technology"/>
</p:tagLst>
</file>

<file path=ppt/tags/tag31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1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1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1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1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1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1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1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18.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19.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download_POWER_USER_SEPARATOR_ICONS_cloud_POWER_USER_SEPARATOR_ICONS_cloud-download_POWER_USER_SEPARATOR_ICONS_technology"/>
</p:tagLst>
</file>

<file path=ppt/tags/tag320.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21.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22.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23.xml><?xml version="1.0" encoding="utf-8"?>
<p:tagLst xmlns:a="http://schemas.openxmlformats.org/drawingml/2006/main" xmlns:r="http://schemas.openxmlformats.org/officeDocument/2006/relationships" xmlns:p="http://schemas.openxmlformats.org/presentationml/2006/main">
  <p:tag name="POWER_USER_TAGS_ICONS" val="battery*energy*electricity*power"/>
</p:tagLst>
</file>

<file path=ppt/tags/tag324.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rchery_POWER_USER_SEPARATOR_ICONS_on-target_POWER_USER_SEPARATOR_ICONS_relevant_POWER_USER_SEPARATOR_ICONS_target-shooting"/>
</p:tagLst>
</file>

<file path=ppt/tags/tag32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community_POWER_USER_SEPARATOR_ICONS_crowd_POWER_USER_SEPARATOR_ICONS_group_POWER_USER_SEPARATOR_ICONS_internet_POWER_USER_SEPARATOR_ICONS_online_POWER_USER_SEPARATOR_ICONS_people_POWER_USER_SEPARATOR_ICONS_question_POWER_USER_SEPARATOR_ICONS_solution"/>
</p:tagLst>
</file>

<file path=ppt/tags/tag32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2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xml><?xml version="1.0" encoding="utf-8"?>
<p:tagLst xmlns:a="http://schemas.openxmlformats.org/drawingml/2006/main" xmlns:r="http://schemas.openxmlformats.org/officeDocument/2006/relationships" xmlns:p="http://schemas.openxmlformats.org/presentationml/2006/main">
  <p:tag name="POWER_USER_ID_TEMPLATES" val="Customer_journey_2"/>
</p:tagLst>
</file>

<file path=ppt/tags/tag3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3.xml><?xml version="1.0" encoding="utf-8"?>
<p:tagLst xmlns:a="http://schemas.openxmlformats.org/drawingml/2006/main" xmlns:r="http://schemas.openxmlformats.org/officeDocument/2006/relationships" xmlns:p="http://schemas.openxmlformats.org/presentationml/2006/main">
  <p:tag name="POWER_USER_ID_TEMPLATES" val="Flags"/>
</p:tagLst>
</file>

<file path=ppt/tags/tag334.xml><?xml version="1.0" encoding="utf-8"?>
<p:tagLst xmlns:a="http://schemas.openxmlformats.org/drawingml/2006/main" xmlns:r="http://schemas.openxmlformats.org/officeDocument/2006/relationships" xmlns:p="http://schemas.openxmlformats.org/presentationml/2006/main">
  <p:tag name="POWER_USER_TAGS_ICONS" val="industrial-press_POWER_USER_SEPARATOR_ICONS_factory_POWER_USER_SEPARATOR_ICONS_industrial_POWER_USER_SEPARATOR_ICONS_industry_POWER_USER_SEPARATOR_ICONS_press_POWER_USER_SEPARATOR_ICONS_production"/>
</p:tagLst>
</file>

<file path=ppt/tags/tag3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3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39.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40.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341.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342.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343.xml><?xml version="1.0" encoding="utf-8"?>
<p:tagLst xmlns:a="http://schemas.openxmlformats.org/drawingml/2006/main" xmlns:r="http://schemas.openxmlformats.org/officeDocument/2006/relationships" xmlns:p="http://schemas.openxmlformats.org/presentationml/2006/main">
  <p:tag name="POWER_USER_TAGS_ICONS" val="industrial-press_POWER_USER_SEPARATOR_ICONS_factory_POWER_USER_SEPARATOR_ICONS_industrial_POWER_USER_SEPARATOR_ICONS_industry_POWER_USER_SEPARATOR_ICONS_press_POWER_USER_SEPARATOR_ICONS_production"/>
</p:tagLst>
</file>

<file path=ppt/tags/tag344.xml><?xml version="1.0" encoding="utf-8"?>
<p:tagLst xmlns:a="http://schemas.openxmlformats.org/drawingml/2006/main" xmlns:r="http://schemas.openxmlformats.org/officeDocument/2006/relationships" xmlns:p="http://schemas.openxmlformats.org/presentationml/2006/main">
  <p:tag name="POWER_USER_TAGS_ICONS" val="industrial-press_POWER_USER_SEPARATOR_ICONS_factory_POWER_USER_SEPARATOR_ICONS_industrial_POWER_USER_SEPARATOR_ICONS_industry_POWER_USER_SEPARATOR_ICONS_press_POWER_USER_SEPARATOR_ICONS_production"/>
</p:tagLst>
</file>

<file path=ppt/tags/tag345.xml><?xml version="1.0" encoding="utf-8"?>
<p:tagLst xmlns:a="http://schemas.openxmlformats.org/drawingml/2006/main" xmlns:r="http://schemas.openxmlformats.org/officeDocument/2006/relationships" xmlns:p="http://schemas.openxmlformats.org/presentationml/2006/main">
  <p:tag name="POWER_USER_TAGS_ICONS" val="industrial-press_POWER_USER_SEPARATOR_ICONS_factory_POWER_USER_SEPARATOR_ICONS_industrial_POWER_USER_SEPARATOR_ICONS_industry_POWER_USER_SEPARATOR_ICONS_press_POWER_USER_SEPARATOR_ICONS_production"/>
</p:tagLst>
</file>

<file path=ppt/tags/tag346.xml><?xml version="1.0" encoding="utf-8"?>
<p:tagLst xmlns:a="http://schemas.openxmlformats.org/drawingml/2006/main" xmlns:r="http://schemas.openxmlformats.org/officeDocument/2006/relationships" xmlns:p="http://schemas.openxmlformats.org/presentationml/2006/main">
  <p:tag name="POWER_USER_TAGS_ICONS" val="industrial-press_POWER_USER_SEPARATOR_ICONS_factory_POWER_USER_SEPARATOR_ICONS_industrial_POWER_USER_SEPARATOR_ICONS_industry_POWER_USER_SEPARATOR_ICONS_press_POWER_USER_SEPARATOR_ICONS_production"/>
</p:tagLst>
</file>

<file path=ppt/tags/tag347.xml><?xml version="1.0" encoding="utf-8"?>
<p:tagLst xmlns:a="http://schemas.openxmlformats.org/drawingml/2006/main" xmlns:r="http://schemas.openxmlformats.org/officeDocument/2006/relationships" xmlns:p="http://schemas.openxmlformats.org/presentationml/2006/main">
  <p:tag name="POWER_USER_TAGS_ICONS" val="industrial-press_POWER_USER_SEPARATOR_ICONS_factory_POWER_USER_SEPARATOR_ICONS_industrial_POWER_USER_SEPARATOR_ICONS_industry_POWER_USER_SEPARATOR_ICONS_press_POWER_USER_SEPARATOR_ICONS_production"/>
</p:tagLst>
</file>

<file path=ppt/tags/tag348.xml><?xml version="1.0" encoding="utf-8"?>
<p:tagLst xmlns:a="http://schemas.openxmlformats.org/drawingml/2006/main" xmlns:r="http://schemas.openxmlformats.org/officeDocument/2006/relationships" xmlns:p="http://schemas.openxmlformats.org/presentationml/2006/main">
  <p:tag name="POWER_USER_TAGS_ICONS" val="industrial-press_POWER_USER_SEPARATOR_ICONS_factory_POWER_USER_SEPARATOR_ICONS_industrial_POWER_USER_SEPARATOR_ICONS_industry_POWER_USER_SEPARATOR_ICONS_press_POWER_USER_SEPARATOR_ICONS_production"/>
</p:tagLst>
</file>

<file path=ppt/tags/tag349.xml><?xml version="1.0" encoding="utf-8"?>
<p:tagLst xmlns:a="http://schemas.openxmlformats.org/drawingml/2006/main" xmlns:r="http://schemas.openxmlformats.org/officeDocument/2006/relationships" xmlns:p="http://schemas.openxmlformats.org/presentationml/2006/main">
  <p:tag name="POWER_USER_TAGS_ICONS" val="industrial-press_POWER_USER_SEPARATOR_ICONS_factory_POWER_USER_SEPARATOR_ICONS_industrial_POWER_USER_SEPARATOR_ICONS_industry_POWER_USER_SEPARATOR_ICONS_press_POWER_USER_SEPARATOR_ICONS_production"/>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350.xml><?xml version="1.0" encoding="utf-8"?>
<p:tagLst xmlns:a="http://schemas.openxmlformats.org/drawingml/2006/main" xmlns:r="http://schemas.openxmlformats.org/officeDocument/2006/relationships" xmlns:p="http://schemas.openxmlformats.org/presentationml/2006/main">
  <p:tag name="POWER_USER_TAGS_ICONS" val="industrial-press_POWER_USER_SEPARATOR_ICONS_factory_POWER_USER_SEPARATOR_ICONS_industrial_POWER_USER_SEPARATOR_ICONS_industry_POWER_USER_SEPARATOR_ICONS_press_POWER_USER_SEPARATOR_ICONS_production"/>
</p:tagLst>
</file>

<file path=ppt/tags/tag351.xml><?xml version="1.0" encoding="utf-8"?>
<p:tagLst xmlns:a="http://schemas.openxmlformats.org/drawingml/2006/main" xmlns:r="http://schemas.openxmlformats.org/officeDocument/2006/relationships" xmlns:p="http://schemas.openxmlformats.org/presentationml/2006/main">
  <p:tag name="POWER_USER_TAGS_ICONS" val="industrial-press_POWER_USER_SEPARATOR_ICONS_factory_POWER_USER_SEPARATOR_ICONS_industrial_POWER_USER_SEPARATOR_ICONS_industry_POWER_USER_SEPARATOR_ICONS_press_POWER_USER_SEPARATOR_ICONS_production"/>
</p:tagLst>
</file>

<file path=ppt/tags/tag352.xml><?xml version="1.0" encoding="utf-8"?>
<p:tagLst xmlns:a="http://schemas.openxmlformats.org/drawingml/2006/main" xmlns:r="http://schemas.openxmlformats.org/officeDocument/2006/relationships" xmlns:p="http://schemas.openxmlformats.org/presentationml/2006/main">
  <p:tag name="POWER_USER_TAGS_ICONS" val="industrial-press_POWER_USER_SEPARATOR_ICONS_factory_POWER_USER_SEPARATOR_ICONS_industrial_POWER_USER_SEPARATOR_ICONS_industry_POWER_USER_SEPARATOR_ICONS_press_POWER_USER_SEPARATOR_ICONS_production"/>
</p:tagLst>
</file>

<file path=ppt/tags/tag353.xml><?xml version="1.0" encoding="utf-8"?>
<p:tagLst xmlns:a="http://schemas.openxmlformats.org/drawingml/2006/main" xmlns:r="http://schemas.openxmlformats.org/officeDocument/2006/relationships" xmlns:p="http://schemas.openxmlformats.org/presentationml/2006/main">
  <p:tag name="POWER_USER_ID_TEMPLATES" val="Customer_journey_2"/>
</p:tagLst>
</file>

<file path=ppt/tags/tag35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5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356.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5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58.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359.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360.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361.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62.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63.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64.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65.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66.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67.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68.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69.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370.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71.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72.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73.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374.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37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376.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377.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378.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37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380.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8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83.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384.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385.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386.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38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39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0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01.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402.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403.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404.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405.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406.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07.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08.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09.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10.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11.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robotics*robotisation*automation*industry*fabrication*factory*plant*productivity*mechanics*productivism"/>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Wifi*connectivity*network*Internet*antenna*wireless"/>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xml><?xml version="1.0" encoding="utf-8"?>
<p:tagLst xmlns:a="http://schemas.openxmlformats.org/drawingml/2006/main" xmlns:r="http://schemas.openxmlformats.org/officeDocument/2006/relationships" xmlns:p="http://schemas.openxmlformats.org/presentationml/2006/main">
  <p:tag name="POWER_USER_ID_TEMPLATES" val="Horizontal_text_frames_5"/>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86.xml><?xml version="1.0" encoding="utf-8"?>
<p:tagLst xmlns:a="http://schemas.openxmlformats.org/drawingml/2006/main" xmlns:r="http://schemas.openxmlformats.org/officeDocument/2006/relationships" xmlns:p="http://schemas.openxmlformats.org/presentationml/2006/main">
  <p:tag name="POWER_USER_ID_TEMPLATES" val="Customer_journey_2"/>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heme/theme1.xml><?xml version="1.0" encoding="utf-8"?>
<a:theme xmlns:a="http://schemas.openxmlformats.org/drawingml/2006/main" name="1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0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4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5_Ofis Teması">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6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7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1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2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4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1_Office Theme">
  <a:themeElements>
    <a:clrScheme name="Mark Zegulberg Blue Teal">
      <a:dk1>
        <a:srgbClr val="445469"/>
      </a:dk1>
      <a:lt1>
        <a:srgbClr val="F6F8F8"/>
      </a:lt1>
      <a:dk2>
        <a:srgbClr val="445469"/>
      </a:dk2>
      <a:lt2>
        <a:srgbClr val="FFFFFF"/>
      </a:lt2>
      <a:accent1>
        <a:srgbClr val="51C3CA"/>
      </a:accent1>
      <a:accent2>
        <a:srgbClr val="3CB2C3"/>
      </a:accent2>
      <a:accent3>
        <a:srgbClr val="1AA5BD"/>
      </a:accent3>
      <a:accent4>
        <a:srgbClr val="0097B7"/>
      </a:accent4>
      <a:accent5>
        <a:srgbClr val="0086AC"/>
      </a:accent5>
      <a:accent6>
        <a:srgbClr val="00759E"/>
      </a:accent6>
      <a:hlink>
        <a:srgbClr val="5B9BD5"/>
      </a:hlink>
      <a:folHlink>
        <a:srgbClr val="70AD47"/>
      </a:folHlink>
    </a:clrScheme>
    <a:fontScheme name="Custom 23">
      <a:majorFont>
        <a:latin typeface="Roboto Black"/>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5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ark Zegulberg Blue Teal">
      <a:dk1>
        <a:srgbClr val="445469"/>
      </a:dk1>
      <a:lt1>
        <a:srgbClr val="F6F8F8"/>
      </a:lt1>
      <a:dk2>
        <a:srgbClr val="445469"/>
      </a:dk2>
      <a:lt2>
        <a:srgbClr val="FFFFFF"/>
      </a:lt2>
      <a:accent1>
        <a:srgbClr val="51C3CA"/>
      </a:accent1>
      <a:accent2>
        <a:srgbClr val="3CB2C3"/>
      </a:accent2>
      <a:accent3>
        <a:srgbClr val="1AA5BD"/>
      </a:accent3>
      <a:accent4>
        <a:srgbClr val="0097B7"/>
      </a:accent4>
      <a:accent5>
        <a:srgbClr val="0086AC"/>
      </a:accent5>
      <a:accent6>
        <a:srgbClr val="00759E"/>
      </a:accent6>
      <a:hlink>
        <a:srgbClr val="5B9BD5"/>
      </a:hlink>
      <a:folHlink>
        <a:srgbClr val="70AD47"/>
      </a:folHlink>
    </a:clrScheme>
    <a:fontScheme name="Custom 23">
      <a:majorFont>
        <a:latin typeface="Roboto Black"/>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9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5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8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25</TotalTime>
  <Words>10361</Words>
  <Application>Microsoft Office PowerPoint</Application>
  <PresentationFormat>Geniş ekran</PresentationFormat>
  <Paragraphs>1953</Paragraphs>
  <Slides>120</Slides>
  <Notes>72</Notes>
  <HiddenSlides>0</HiddenSlides>
  <MMClips>0</MMClips>
  <ScaleCrop>false</ScaleCrop>
  <HeadingPairs>
    <vt:vector size="6" baseType="variant">
      <vt:variant>
        <vt:lpstr>Kullanılan Yazı Tipleri</vt:lpstr>
      </vt:variant>
      <vt:variant>
        <vt:i4>16</vt:i4>
      </vt:variant>
      <vt:variant>
        <vt:lpstr>Tema</vt:lpstr>
      </vt:variant>
      <vt:variant>
        <vt:i4>19</vt:i4>
      </vt:variant>
      <vt:variant>
        <vt:lpstr>Slayt Başlıkları</vt:lpstr>
      </vt:variant>
      <vt:variant>
        <vt:i4>120</vt:i4>
      </vt:variant>
    </vt:vector>
  </HeadingPairs>
  <TitlesOfParts>
    <vt:vector size="155" baseType="lpstr">
      <vt:lpstr>SimSun</vt:lpstr>
      <vt:lpstr>Arial</vt:lpstr>
      <vt:lpstr>Arial Tur</vt:lpstr>
      <vt:lpstr>AvenirNextCondensed-DemiBold</vt:lpstr>
      <vt:lpstr>BatangChe</vt:lpstr>
      <vt:lpstr>Calibri</vt:lpstr>
      <vt:lpstr>Calibri Light</vt:lpstr>
      <vt:lpstr>Frutiger 45 Light</vt:lpstr>
      <vt:lpstr>Frutiger 95 Ultra Black</vt:lpstr>
      <vt:lpstr>Roboto Black</vt:lpstr>
      <vt:lpstr>Roboto Light</vt:lpstr>
      <vt:lpstr>Segoe UI</vt:lpstr>
      <vt:lpstr>Times New Roman</vt:lpstr>
      <vt:lpstr>Verdana</vt:lpstr>
      <vt:lpstr>Wingdings</vt:lpstr>
      <vt:lpstr>ヒラギノ角ゴ Pro W3</vt:lpstr>
      <vt:lpstr>1_Ofis Teması</vt:lpstr>
      <vt:lpstr>Ofis Teması</vt:lpstr>
      <vt:lpstr>Office Theme</vt:lpstr>
      <vt:lpstr>2_Ofis Teması</vt:lpstr>
      <vt:lpstr>4_Ofis Teması</vt:lpstr>
      <vt:lpstr>3_Ofis Teması</vt:lpstr>
      <vt:lpstr>9_Ofis Teması</vt:lpstr>
      <vt:lpstr>15_kosgeb</vt:lpstr>
      <vt:lpstr>8_Ofis Teması</vt:lpstr>
      <vt:lpstr>10_Ofis Teması</vt:lpstr>
      <vt:lpstr>4_kosgeb</vt:lpstr>
      <vt:lpstr>5_Ofis Teması</vt:lpstr>
      <vt:lpstr>6_Ofis Teması</vt:lpstr>
      <vt:lpstr>7_Ofis Teması</vt:lpstr>
      <vt:lpstr>11_Ofis Teması</vt:lpstr>
      <vt:lpstr>12_Ofis Teması</vt:lpstr>
      <vt:lpstr>14_Ofis Teması</vt:lpstr>
      <vt:lpstr>1_Office Theme</vt:lpstr>
      <vt:lpstr>15_Ofis Teması</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 </vt:lpstr>
      <vt:lpstr>PowerPoint Sunusu</vt:lpstr>
      <vt:lpstr>Girişimcilik Eğitimi</vt:lpstr>
      <vt:lpstr>Girişimcilik Eğitimi</vt:lpstr>
      <vt:lpstr>Girişimcilik Eğitimi</vt:lpstr>
      <vt:lpstr>Geleneksel Girişimci Destek Programı</vt:lpstr>
      <vt:lpstr>İleri Girişimci Destek Programı</vt:lpstr>
      <vt:lpstr>İleri Girişimci Destek Programı</vt:lpstr>
      <vt:lpstr>İleri Girişimci Destek Programı</vt:lpstr>
      <vt:lpstr>Geleneksel/İleri Girişimci  Destek Programı</vt:lpstr>
      <vt:lpstr> </vt:lpstr>
      <vt:lpstr>İŞGEM/TEKMER Destek Programı</vt:lpstr>
      <vt:lpstr>İŞGEM/TEKMER Destek Programı</vt:lpstr>
      <vt:lpstr>İŞGEM Başvuru</vt:lpstr>
      <vt:lpstr>TEKMER Başvuru</vt:lpstr>
      <vt:lpstr>PowerPoint Sunusu</vt:lpstr>
      <vt:lpstr>PowerPoint Sunusu</vt:lpstr>
      <vt:lpstr>PowerPoint Sunusu</vt:lpstr>
      <vt:lpstr> </vt:lpstr>
      <vt:lpstr>PowerPoint Sunusu</vt:lpstr>
      <vt:lpstr>PowerPoint Sunusu</vt:lpstr>
      <vt:lpstr>PowerPoint Sunusu</vt:lpstr>
      <vt:lpstr>PowerPoint Sunusu</vt:lpstr>
      <vt:lpstr>PowerPoint Sunusu</vt:lpstr>
      <vt:lpstr> </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 </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 </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 </vt:lpstr>
      <vt:lpstr>PowerPoint Sunusu</vt:lpstr>
      <vt:lpstr>PowerPoint Sunusu</vt:lpstr>
      <vt:lpstr>PowerPoint Sunusu</vt:lpstr>
      <vt:lpstr>PowerPoint Sunusu</vt:lpstr>
      <vt:lpstr>Destek Tablosu</vt:lpstr>
      <vt:lpstr>Devam Eden Acil Destek Programları</vt:lpstr>
      <vt:lpstr>İş Akışı 1/2</vt:lpstr>
      <vt:lpstr>İş Akışı 2/2</vt:lpstr>
      <vt:lpstr>Süreler</vt:lpstr>
      <vt:lpstr>Protokol İmzalanan Bankalar</vt:lpstr>
      <vt:lpstr>Ödeme</vt:lpstr>
      <vt:lpstr>PowerPoint Sunusu</vt:lpstr>
      <vt:lpstr>PowerPoint Sunus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HASAN YILDIZ</dc:creator>
  <cp:lastModifiedBy>HASAN YILDIZ</cp:lastModifiedBy>
  <cp:revision>164</cp:revision>
  <cp:lastPrinted>2021-04-02T06:54:09Z</cp:lastPrinted>
  <dcterms:created xsi:type="dcterms:W3CDTF">2021-02-19T08:27:37Z</dcterms:created>
  <dcterms:modified xsi:type="dcterms:W3CDTF">2021-04-05T08:04:31Z</dcterms:modified>
</cp:coreProperties>
</file>